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 id="2147483892" r:id="rId5"/>
  </p:sldMasterIdLst>
  <p:notesMasterIdLst>
    <p:notesMasterId r:id="rId14"/>
  </p:notesMasterIdLst>
  <p:handoutMasterIdLst>
    <p:handoutMasterId r:id="rId15"/>
  </p:handoutMasterIdLst>
  <p:sldIdLst>
    <p:sldId id="322" r:id="rId6"/>
    <p:sldId id="257" r:id="rId7"/>
    <p:sldId id="278" r:id="rId8"/>
    <p:sldId id="279" r:id="rId9"/>
    <p:sldId id="280" r:id="rId10"/>
    <p:sldId id="281" r:id="rId11"/>
    <p:sldId id="282" r:id="rId12"/>
    <p:sldId id="313" r:id="rId13"/>
  </p:sldIdLst>
  <p:sldSz cx="12198350" cy="6858000"/>
  <p:notesSz cx="6950075" cy="9236075"/>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4C4CD"/>
    <a:srgbClr val="747480"/>
    <a:srgbClr val="FFE600"/>
    <a:srgbClr val="2E2E38"/>
    <a:srgbClr val="808080"/>
    <a:srgbClr val="000000"/>
    <a:srgbClr val="FF9A91"/>
    <a:srgbClr val="FF00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40F86D-93BE-452A-8CDE-BF1BEBB377E0}" v="2" dt="2020-10-09T18:57:53.1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4" autoAdjust="0"/>
    <p:restoredTop sz="95013" autoAdjust="0"/>
  </p:normalViewPr>
  <p:slideViewPr>
    <p:cSldViewPr snapToGrid="0" snapToObjects="1" showGuides="1">
      <p:cViewPr varScale="1">
        <p:scale>
          <a:sx n="68" d="100"/>
          <a:sy n="68" d="100"/>
        </p:scale>
        <p:origin x="540" y="48"/>
      </p:cViewPr>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bg1"/>
                </a:solidFill>
                <a:latin typeface="+mn-lt"/>
                <a:ea typeface="+mn-ea"/>
                <a:cs typeface="+mn-cs"/>
              </a:defRPr>
            </a:pPr>
            <a:r>
              <a:rPr lang="en-US" dirty="0"/>
              <a:t>Cases (in million)</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bg1"/>
              </a:solidFill>
              <a:latin typeface="+mn-lt"/>
              <a:ea typeface="+mn-ea"/>
              <a:cs typeface="+mn-cs"/>
            </a:defRPr>
          </a:pPr>
          <a:endParaRPr lang="en-US"/>
        </a:p>
      </c:txPr>
    </c:title>
    <c:autoTitleDeleted val="0"/>
    <c:plotArea>
      <c:layout/>
      <c:barChart>
        <c:barDir val="bar"/>
        <c:grouping val="clustered"/>
        <c:varyColors val="0"/>
        <c:ser>
          <c:idx val="1"/>
          <c:order val="0"/>
          <c:tx>
            <c:strRef>
              <c:f>Sheet1!$B$1</c:f>
              <c:strCache>
                <c:ptCount val="1"/>
                <c:pt idx="0">
                  <c:v>Cases</c:v>
                </c:pt>
              </c:strCache>
            </c:strRef>
          </c:tx>
          <c:spPr>
            <a:solidFill>
              <a:schemeClr val="accent5"/>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taly</c:v>
                </c:pt>
                <c:pt idx="1">
                  <c:v>Iran</c:v>
                </c:pt>
                <c:pt idx="2">
                  <c:v>United Kingdom</c:v>
                </c:pt>
                <c:pt idx="3">
                  <c:v>France</c:v>
                </c:pt>
                <c:pt idx="4">
                  <c:v>Mexico</c:v>
                </c:pt>
                <c:pt idx="5">
                  <c:v>Peru</c:v>
                </c:pt>
                <c:pt idx="6">
                  <c:v>Spain</c:v>
                </c:pt>
                <c:pt idx="7">
                  <c:v>Brazil</c:v>
                </c:pt>
                <c:pt idx="8">
                  <c:v>India</c:v>
                </c:pt>
                <c:pt idx="9">
                  <c:v>US</c:v>
                </c:pt>
              </c:strCache>
            </c:strRef>
          </c:cat>
          <c:val>
            <c:numRef>
              <c:f>Sheet1!$B$2:$B$11</c:f>
              <c:numCache>
                <c:formatCode>0.0</c:formatCode>
                <c:ptCount val="10"/>
                <c:pt idx="0">
                  <c:v>0.33394000000000001</c:v>
                </c:pt>
                <c:pt idx="1">
                  <c:v>0.483844</c:v>
                </c:pt>
                <c:pt idx="2">
                  <c:v>0.54695199999999999</c:v>
                </c:pt>
                <c:pt idx="3">
                  <c:v>0.69360299999999997</c:v>
                </c:pt>
                <c:pt idx="4">
                  <c:v>0.79918800000000001</c:v>
                </c:pt>
                <c:pt idx="5">
                  <c:v>0.83292900000000003</c:v>
                </c:pt>
                <c:pt idx="6">
                  <c:v>0.83590100000000001</c:v>
                </c:pt>
                <c:pt idx="7">
                  <c:v>5.0006940000000002</c:v>
                </c:pt>
                <c:pt idx="8">
                  <c:v>6.7571310000000002</c:v>
                </c:pt>
                <c:pt idx="9">
                  <c:v>7.5496819999999998</c:v>
                </c:pt>
              </c:numCache>
            </c:numRef>
          </c:val>
          <c:extLst>
            <c:ext xmlns:c16="http://schemas.microsoft.com/office/drawing/2014/chart" uri="{C3380CC4-5D6E-409C-BE32-E72D297353CC}">
              <c16:uniqueId val="{00000001-E5A1-4839-9B35-7C9986529E18}"/>
            </c:ext>
          </c:extLst>
        </c:ser>
        <c:dLbls>
          <c:dLblPos val="outEnd"/>
          <c:showLegendKey val="0"/>
          <c:showVal val="1"/>
          <c:showCatName val="0"/>
          <c:showSerName val="0"/>
          <c:showPercent val="0"/>
          <c:showBubbleSize val="0"/>
        </c:dLbls>
        <c:gapWidth val="80"/>
        <c:axId val="761412960"/>
        <c:axId val="761410664"/>
      </c:barChart>
      <c:valAx>
        <c:axId val="761410664"/>
        <c:scaling>
          <c:orientation val="minMax"/>
        </c:scaling>
        <c:delete val="1"/>
        <c:axPos val="b"/>
        <c:numFmt formatCode="0.0" sourceLinked="1"/>
        <c:majorTickMark val="none"/>
        <c:minorTickMark val="none"/>
        <c:tickLblPos val="nextTo"/>
        <c:crossAx val="761412960"/>
        <c:crosses val="autoZero"/>
        <c:crossBetween val="between"/>
      </c:valAx>
      <c:catAx>
        <c:axId val="761412960"/>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76141066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bg1"/>
                </a:solidFill>
                <a:latin typeface="+mn-lt"/>
                <a:ea typeface="+mn-ea"/>
                <a:cs typeface="+mn-cs"/>
              </a:defRPr>
            </a:pPr>
            <a:r>
              <a:rPr lang="en-US" dirty="0"/>
              <a:t>Deaths (in ‘000s)</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bg1"/>
              </a:solidFill>
              <a:latin typeface="+mn-lt"/>
              <a:ea typeface="+mn-ea"/>
              <a:cs typeface="+mn-cs"/>
            </a:defRPr>
          </a:pPr>
          <a:endParaRPr lang="en-US"/>
        </a:p>
      </c:txPr>
    </c:title>
    <c:autoTitleDeleted val="0"/>
    <c:plotArea>
      <c:layout/>
      <c:barChart>
        <c:barDir val="bar"/>
        <c:grouping val="clustered"/>
        <c:varyColors val="0"/>
        <c:ser>
          <c:idx val="1"/>
          <c:order val="0"/>
          <c:tx>
            <c:strRef>
              <c:f>Sheet1!$C$1</c:f>
              <c:strCache>
                <c:ptCount val="1"/>
                <c:pt idx="0">
                  <c:v>Deaths</c:v>
                </c:pt>
              </c:strCache>
            </c:strRef>
          </c:tx>
          <c:spPr>
            <a:solidFill>
              <a:schemeClr val="accent5"/>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ran</c:v>
                </c:pt>
                <c:pt idx="1">
                  <c:v>France</c:v>
                </c:pt>
                <c:pt idx="2">
                  <c:v>Spain</c:v>
                </c:pt>
                <c:pt idx="3">
                  <c:v>Peru</c:v>
                </c:pt>
                <c:pt idx="4">
                  <c:v>Italy</c:v>
                </c:pt>
                <c:pt idx="5">
                  <c:v>United Kingdom</c:v>
                </c:pt>
                <c:pt idx="6">
                  <c:v>Mexico</c:v>
                </c:pt>
                <c:pt idx="7">
                  <c:v>India</c:v>
                </c:pt>
                <c:pt idx="8">
                  <c:v>Brazil</c:v>
                </c:pt>
                <c:pt idx="9">
                  <c:v>US</c:v>
                </c:pt>
              </c:strCache>
            </c:strRef>
          </c:cat>
          <c:val>
            <c:numRef>
              <c:f>Sheet1!$C$2:$C$11</c:f>
              <c:numCache>
                <c:formatCode>0.0</c:formatCode>
                <c:ptCount val="10"/>
                <c:pt idx="0">
                  <c:v>27.658000000000001</c:v>
                </c:pt>
                <c:pt idx="1">
                  <c:v>32.463000000000001</c:v>
                </c:pt>
                <c:pt idx="2">
                  <c:v>32.561999999999998</c:v>
                </c:pt>
                <c:pt idx="3">
                  <c:v>32.914000000000001</c:v>
                </c:pt>
                <c:pt idx="4">
                  <c:v>36.061</c:v>
                </c:pt>
                <c:pt idx="5">
                  <c:v>42.604999999999997</c:v>
                </c:pt>
                <c:pt idx="6">
                  <c:v>82.725999999999999</c:v>
                </c:pt>
                <c:pt idx="7">
                  <c:v>104.55500000000001</c:v>
                </c:pt>
                <c:pt idx="8">
                  <c:v>148.22800000000001</c:v>
                </c:pt>
                <c:pt idx="9">
                  <c:v>211.80099999999999</c:v>
                </c:pt>
              </c:numCache>
            </c:numRef>
          </c:val>
          <c:extLst>
            <c:ext xmlns:c16="http://schemas.microsoft.com/office/drawing/2014/chart" uri="{C3380CC4-5D6E-409C-BE32-E72D297353CC}">
              <c16:uniqueId val="{00000001-E5A1-4839-9B35-7C9986529E18}"/>
            </c:ext>
          </c:extLst>
        </c:ser>
        <c:dLbls>
          <c:showLegendKey val="0"/>
          <c:showVal val="0"/>
          <c:showCatName val="0"/>
          <c:showSerName val="0"/>
          <c:showPercent val="0"/>
          <c:showBubbleSize val="0"/>
        </c:dLbls>
        <c:gapWidth val="80"/>
        <c:axId val="761412960"/>
        <c:axId val="761410664"/>
      </c:barChart>
      <c:valAx>
        <c:axId val="761410664"/>
        <c:scaling>
          <c:orientation val="minMax"/>
        </c:scaling>
        <c:delete val="1"/>
        <c:axPos val="b"/>
        <c:numFmt formatCode="0.0" sourceLinked="1"/>
        <c:majorTickMark val="none"/>
        <c:minorTickMark val="none"/>
        <c:tickLblPos val="nextTo"/>
        <c:crossAx val="761412960"/>
        <c:crosses val="autoZero"/>
        <c:crossBetween val="between"/>
      </c:valAx>
      <c:catAx>
        <c:axId val="761412960"/>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76141066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bg1"/>
                </a:solidFill>
                <a:latin typeface="+mn-lt"/>
                <a:ea typeface="+mn-ea"/>
                <a:cs typeface="+mn-cs"/>
              </a:defRPr>
            </a:pPr>
            <a:r>
              <a:rPr lang="en-US" dirty="0"/>
              <a:t>Cumulative cases</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bg1"/>
              </a:solidFill>
              <a:latin typeface="+mn-lt"/>
              <a:ea typeface="+mn-ea"/>
              <a:cs typeface="+mn-cs"/>
            </a:defRPr>
          </a:pPr>
          <a:endParaRPr lang="en-US"/>
        </a:p>
      </c:txPr>
    </c:title>
    <c:autoTitleDeleted val="0"/>
    <c:plotArea>
      <c:layout/>
      <c:barChart>
        <c:barDir val="bar"/>
        <c:grouping val="clustered"/>
        <c:varyColors val="0"/>
        <c:ser>
          <c:idx val="1"/>
          <c:order val="0"/>
          <c:tx>
            <c:strRef>
              <c:f>Sheet1!$B$1</c:f>
              <c:strCache>
                <c:ptCount val="1"/>
                <c:pt idx="0">
                  <c:v>Cases</c:v>
                </c:pt>
              </c:strCache>
            </c:strRef>
          </c:tx>
          <c:spPr>
            <a:solidFill>
              <a:schemeClr val="accent5"/>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unisia</c:v>
                </c:pt>
                <c:pt idx="1">
                  <c:v>Libya</c:v>
                </c:pt>
                <c:pt idx="2">
                  <c:v>Kenya</c:v>
                </c:pt>
                <c:pt idx="3">
                  <c:v>Ghana</c:v>
                </c:pt>
                <c:pt idx="4">
                  <c:v>Algeria</c:v>
                </c:pt>
                <c:pt idx="5">
                  <c:v>Nigeria</c:v>
                </c:pt>
                <c:pt idx="6">
                  <c:v>Ethiopia</c:v>
                </c:pt>
                <c:pt idx="7">
                  <c:v>Egypt</c:v>
                </c:pt>
                <c:pt idx="8">
                  <c:v>Morocco</c:v>
                </c:pt>
                <c:pt idx="9">
                  <c:v>South Africa</c:v>
                </c:pt>
              </c:strCache>
            </c:strRef>
          </c:cat>
          <c:val>
            <c:numRef>
              <c:f>Sheet1!$B$2:$B$11</c:f>
              <c:numCache>
                <c:formatCode>General</c:formatCode>
                <c:ptCount val="10"/>
                <c:pt idx="0">
                  <c:v>23453</c:v>
                </c:pt>
                <c:pt idx="1">
                  <c:v>38468</c:v>
                </c:pt>
                <c:pt idx="2">
                  <c:v>39586</c:v>
                </c:pt>
                <c:pt idx="3">
                  <c:v>46829</c:v>
                </c:pt>
                <c:pt idx="4">
                  <c:v>52399</c:v>
                </c:pt>
                <c:pt idx="5">
                  <c:v>59583</c:v>
                </c:pt>
                <c:pt idx="6">
                  <c:v>80003</c:v>
                </c:pt>
                <c:pt idx="7">
                  <c:v>103902</c:v>
                </c:pt>
                <c:pt idx="8">
                  <c:v>137248</c:v>
                </c:pt>
                <c:pt idx="9">
                  <c:v>683242</c:v>
                </c:pt>
              </c:numCache>
            </c:numRef>
          </c:val>
          <c:extLst>
            <c:ext xmlns:c16="http://schemas.microsoft.com/office/drawing/2014/chart" uri="{C3380CC4-5D6E-409C-BE32-E72D297353CC}">
              <c16:uniqueId val="{00000001-E5A1-4839-9B35-7C9986529E18}"/>
            </c:ext>
          </c:extLst>
        </c:ser>
        <c:dLbls>
          <c:dLblPos val="outEnd"/>
          <c:showLegendKey val="0"/>
          <c:showVal val="1"/>
          <c:showCatName val="0"/>
          <c:showSerName val="0"/>
          <c:showPercent val="0"/>
          <c:showBubbleSize val="0"/>
        </c:dLbls>
        <c:gapWidth val="80"/>
        <c:axId val="761412960"/>
        <c:axId val="761410664"/>
      </c:barChart>
      <c:valAx>
        <c:axId val="761410664"/>
        <c:scaling>
          <c:orientation val="minMax"/>
        </c:scaling>
        <c:delete val="1"/>
        <c:axPos val="b"/>
        <c:numFmt formatCode="General" sourceLinked="1"/>
        <c:majorTickMark val="none"/>
        <c:minorTickMark val="none"/>
        <c:tickLblPos val="nextTo"/>
        <c:crossAx val="761412960"/>
        <c:crosses val="autoZero"/>
        <c:crossBetween val="between"/>
      </c:valAx>
      <c:catAx>
        <c:axId val="761412960"/>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76141066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bg1"/>
                </a:solidFill>
                <a:latin typeface="+mn-lt"/>
                <a:ea typeface="+mn-ea"/>
                <a:cs typeface="+mn-cs"/>
              </a:defRPr>
            </a:pPr>
            <a:r>
              <a:rPr lang="en-US" dirty="0"/>
              <a:t>Total deaths</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bg1"/>
              </a:solidFill>
              <a:latin typeface="+mn-lt"/>
              <a:ea typeface="+mn-ea"/>
              <a:cs typeface="+mn-cs"/>
            </a:defRPr>
          </a:pPr>
          <a:endParaRPr lang="en-US"/>
        </a:p>
      </c:txPr>
    </c:title>
    <c:autoTitleDeleted val="0"/>
    <c:plotArea>
      <c:layout/>
      <c:barChart>
        <c:barDir val="bar"/>
        <c:grouping val="clustered"/>
        <c:varyColors val="0"/>
        <c:ser>
          <c:idx val="1"/>
          <c:order val="0"/>
          <c:tx>
            <c:strRef>
              <c:f>Sheet1!$B$1</c:f>
              <c:strCache>
                <c:ptCount val="1"/>
                <c:pt idx="0">
                  <c:v>Deaths</c:v>
                </c:pt>
              </c:strCache>
            </c:strRef>
          </c:tx>
          <c:spPr>
            <a:solidFill>
              <a:schemeClr val="accent5"/>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Cameroon</c:v>
                </c:pt>
                <c:pt idx="1">
                  <c:v>Libya</c:v>
                </c:pt>
                <c:pt idx="2">
                  <c:v>Kenya</c:v>
                </c:pt>
                <c:pt idx="3">
                  <c:v>Sudan</c:v>
                </c:pt>
                <c:pt idx="4">
                  <c:v>Nigeria</c:v>
                </c:pt>
                <c:pt idx="5">
                  <c:v>Ethiopia</c:v>
                </c:pt>
                <c:pt idx="6">
                  <c:v>Algeria</c:v>
                </c:pt>
                <c:pt idx="7">
                  <c:v>Morocco</c:v>
                </c:pt>
                <c:pt idx="8">
                  <c:v>Egypt</c:v>
                </c:pt>
                <c:pt idx="9">
                  <c:v>South Africa</c:v>
                </c:pt>
              </c:strCache>
            </c:strRef>
          </c:cat>
          <c:val>
            <c:numRef>
              <c:f>Sheet1!$B$2:$B$11</c:f>
              <c:numCache>
                <c:formatCode>General</c:formatCode>
                <c:ptCount val="10"/>
                <c:pt idx="0">
                  <c:v>420</c:v>
                </c:pt>
                <c:pt idx="1">
                  <c:v>602</c:v>
                </c:pt>
                <c:pt idx="2">
                  <c:v>743</c:v>
                </c:pt>
                <c:pt idx="3">
                  <c:v>836</c:v>
                </c:pt>
                <c:pt idx="4">
                  <c:v>1113</c:v>
                </c:pt>
                <c:pt idx="5">
                  <c:v>1238</c:v>
                </c:pt>
                <c:pt idx="6">
                  <c:v>1773</c:v>
                </c:pt>
                <c:pt idx="7">
                  <c:v>2410</c:v>
                </c:pt>
                <c:pt idx="8">
                  <c:v>6001</c:v>
                </c:pt>
                <c:pt idx="9">
                  <c:v>17103</c:v>
                </c:pt>
              </c:numCache>
            </c:numRef>
          </c:val>
          <c:extLst>
            <c:ext xmlns:c16="http://schemas.microsoft.com/office/drawing/2014/chart" uri="{C3380CC4-5D6E-409C-BE32-E72D297353CC}">
              <c16:uniqueId val="{00000001-E5A1-4839-9B35-7C9986529E18}"/>
            </c:ext>
          </c:extLst>
        </c:ser>
        <c:dLbls>
          <c:dLblPos val="outEnd"/>
          <c:showLegendKey val="0"/>
          <c:showVal val="1"/>
          <c:showCatName val="0"/>
          <c:showSerName val="0"/>
          <c:showPercent val="0"/>
          <c:showBubbleSize val="0"/>
        </c:dLbls>
        <c:gapWidth val="80"/>
        <c:axId val="761412960"/>
        <c:axId val="761410664"/>
      </c:barChart>
      <c:valAx>
        <c:axId val="761410664"/>
        <c:scaling>
          <c:orientation val="minMax"/>
        </c:scaling>
        <c:delete val="1"/>
        <c:axPos val="b"/>
        <c:numFmt formatCode="General" sourceLinked="1"/>
        <c:majorTickMark val="none"/>
        <c:minorTickMark val="none"/>
        <c:tickLblPos val="nextTo"/>
        <c:crossAx val="761412960"/>
        <c:crosses val="autoZero"/>
        <c:crossBetween val="between"/>
      </c:valAx>
      <c:catAx>
        <c:axId val="761412960"/>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76141066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09/10/2020</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09/10/2020</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1723661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31007661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9 October 2020</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5805246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9 October 2020</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9 October 2020</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9 October 2020</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9 October 2020</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379389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9 October 2020</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9 October 2020</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9 October 2020</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9 October 2020</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8948674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9 October 2020</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9 October 2020</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9 October 2020</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992367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919585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822270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9 October 2020</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9062807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9 October 2020</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1595167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9 October 2020</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6682872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a:t>Click icon to add picture</a:t>
            </a:r>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9 October 2020</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020724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9 October 2020</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9 October 2020</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99396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9 October 2020</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460343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9 October 2020</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8897971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9 October 2020</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0850839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9 October 2020</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703271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9 October 2020</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1027327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9 October 2020</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3824980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9 October 2020</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528808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9 October 2020</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131181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7801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9 October 2020</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3655470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4_Cover alterna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FAD016-251F-45E4-845F-710041EABCB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3165" r="9501"/>
          <a:stretch/>
        </p:blipFill>
        <p:spPr>
          <a:xfrm>
            <a:off x="0" y="0"/>
            <a:ext cx="12198350" cy="6861084"/>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608013"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885402" y="1954221"/>
            <a:ext cx="4328932" cy="979702"/>
          </a:xfrm>
        </p:spPr>
        <p:txBody>
          <a:bodyPr/>
          <a:lstStyle>
            <a:lvl1pPr>
              <a:defRPr sz="3000" b="0">
                <a:solidFill>
                  <a:srgbClr val="2E2E38"/>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885402" y="3429000"/>
            <a:ext cx="4328932" cy="246221"/>
          </a:xfrm>
        </p:spPr>
        <p:txBody>
          <a:bodyPr>
            <a:noAutofit/>
          </a:bodyPr>
          <a:lstStyle>
            <a:lvl1pPr marL="0" indent="0" algn="l">
              <a:spcAft>
                <a:spcPts val="1200"/>
              </a:spcAft>
              <a:buNone/>
              <a:defRPr sz="1600">
                <a:solidFill>
                  <a:srgbClr val="2E2E38"/>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479213" y="5709060"/>
            <a:ext cx="812210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608013" y="5605200"/>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479213" y="6019189"/>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479213"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608012" y="5914642"/>
            <a:ext cx="576000" cy="576000"/>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black">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black">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black">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38503883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9 October 2020</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9 October 2020</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9 October 2020</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9 October 2020</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fld id="{9166D130-B426-4A46-85E5-B0049A4DA5C7}" type="datetime3">
              <a:rPr lang="en-US" smtClean="0"/>
              <a:t>9 October 2020</a:t>
            </a:fld>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9 October 2020</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9 October 2020</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fld id="{BBFBFE83-FB75-47BB-81F0-F0FF13E5BA5A}" type="datetime3">
              <a:rPr lang="en-US" smtClean="0"/>
              <a:t>9 October 2020</a:t>
            </a:fld>
            <a:endParaRPr lang="en-IN" dirty="0"/>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9 October 2020</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9 October 2020</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4C1DA39D-5D13-4872-BC0A-CB8AB5BA72E1}"/>
              </a:ext>
            </a:extLst>
          </p:cNvPr>
          <p:cNvSpPr>
            <a:spLocks noGrp="1"/>
          </p:cNvSpPr>
          <p:nvPr>
            <p:ph type="dt" sz="half" idx="19"/>
          </p:nvPr>
        </p:nvSpPr>
        <p:spPr>
          <a:xfrm>
            <a:off x="1428928" y="6471244"/>
            <a:ext cx="1191258" cy="180000"/>
          </a:xfrm>
        </p:spPr>
        <p:txBody>
          <a:bodyPr/>
          <a:lstStyle>
            <a:lvl1pPr>
              <a:defRPr>
                <a:solidFill>
                  <a:schemeClr val="tx1"/>
                </a:solidFill>
              </a:defRPr>
            </a:lvl1pPr>
          </a:lstStyle>
          <a:p>
            <a:fld id="{86AD1DFC-053D-4B86-B715-9C611EC38679}" type="datetime3">
              <a:rPr lang="en-US" smtClean="0"/>
              <a:pPr/>
              <a:t>9 October 2020</a:t>
            </a:fld>
            <a:endParaRPr lang="en-US" dirty="0"/>
          </a:p>
        </p:txBody>
      </p:sp>
      <p:sp>
        <p:nvSpPr>
          <p:cNvPr id="3" name="Footer Placeholder 3">
            <a:extLst>
              <a:ext uri="{FF2B5EF4-FFF2-40B4-BE49-F238E27FC236}">
                <a16:creationId xmlns:a16="http://schemas.microsoft.com/office/drawing/2014/main" id="{C6805F9C-AE33-484C-B4D0-CAEB9CD9CE08}"/>
              </a:ext>
            </a:extLst>
          </p:cNvPr>
          <p:cNvSpPr>
            <a:spLocks noGrp="1"/>
          </p:cNvSpPr>
          <p:nvPr>
            <p:ph type="ftr" sz="quarter" idx="20"/>
          </p:nvPr>
        </p:nvSpPr>
        <p:spPr>
          <a:xfrm>
            <a:off x="3239188" y="6471244"/>
            <a:ext cx="3086100" cy="180000"/>
          </a:xfrm>
        </p:spPr>
        <p:txBody>
          <a:bodyPr/>
          <a:lstStyle>
            <a:lvl1pPr>
              <a:defRPr>
                <a:solidFill>
                  <a:schemeClr val="tx1"/>
                </a:solidFill>
              </a:defRPr>
            </a:lvl1pPr>
          </a:lstStyle>
          <a:p>
            <a:r>
              <a:rPr lang="en-IN" dirty="0"/>
              <a:t>Presentation title</a:t>
            </a:r>
          </a:p>
        </p:txBody>
      </p:sp>
      <p:sp>
        <p:nvSpPr>
          <p:cNvPr id="4" name="Slide Number Placeholder 5">
            <a:extLst>
              <a:ext uri="{FF2B5EF4-FFF2-40B4-BE49-F238E27FC236}">
                <a16:creationId xmlns:a16="http://schemas.microsoft.com/office/drawing/2014/main" id="{12804EB2-F7DB-4D56-A6D4-7706480DB272}"/>
              </a:ext>
            </a:extLst>
          </p:cNvPr>
          <p:cNvSpPr>
            <a:spLocks noGrp="1"/>
          </p:cNvSpPr>
          <p:nvPr>
            <p:ph type="sldNum" sz="quarter" idx="21"/>
          </p:nvPr>
        </p:nvSpPr>
        <p:spPr>
          <a:xfrm>
            <a:off x="617221" y="6471244"/>
            <a:ext cx="663066" cy="180000"/>
          </a:xfrm>
        </p:spPr>
        <p:txBody>
          <a:bodyPr/>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fld id="{32C4D46D-36B7-425F-AEB7-676F0E436ACC}" type="datetime3">
              <a:rPr lang="en-US" smtClean="0"/>
              <a:t>9 October 2020</a:t>
            </a:fld>
            <a:endParaRPr lang="en-IN" dirty="0"/>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fld id="{C9683591-978A-463D-B9B3-9852A288C9B6}" type="datetime3">
              <a:rPr lang="en-US" smtClean="0"/>
              <a:t>9 October 2020</a:t>
            </a:fld>
            <a:endParaRPr lang="en-IN" dirty="0"/>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fld id="{FE6CAE4F-17A3-4837-8418-FB6AD56A8907}" type="datetime3">
              <a:rPr lang="en-US" smtClean="0"/>
              <a:t>9 October 2020</a:t>
            </a:fld>
            <a:endParaRPr lang="en-IN" dirty="0"/>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954644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a:t>Click icon to add picture</a:t>
            </a:r>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9 October 2020</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31381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9 October 2020</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9 October 2020</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9 October 2020</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9 October 2020</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9 October 2020</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9 October 2020</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9 October 2020</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9 October 2020</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Presentation title</a:t>
            </a:r>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tags" Target="../tags/tag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vmlDrawing" Target="../drawings/vmlDrawing2.v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heme" Target="../theme/theme2.xml"/><Relationship Id="rId37" Type="http://schemas.openxmlformats.org/officeDocument/2006/relationships/image" Target="../media/image1.emf"/><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oleObject" Target="../embeddings/oleObject2.bin"/><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50D3B4-5F84-4454-92AA-5BDFEFAFCE0B}"/>
              </a:ext>
            </a:extLst>
          </p:cNvPr>
          <p:cNvGraphicFramePr>
            <a:graphicFrameLocks noChangeAspect="1"/>
          </p:cNvGraphicFramePr>
          <p:nvPr userDrawn="1">
            <p:custDataLst>
              <p:tags r:id="rId53"/>
            </p:custDataLst>
            <p:extLst>
              <p:ext uri="{D42A27DB-BD31-4B8C-83A1-F6EECF244321}">
                <p14:modId xmlns:p14="http://schemas.microsoft.com/office/powerpoint/2010/main" val="125287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5" imgW="622" imgH="623" progId="TCLayout.ActiveDocument.1">
                  <p:embed/>
                </p:oleObj>
              </mc:Choice>
              <mc:Fallback>
                <p:oleObj name="think-cell Slide" r:id="rId55" imgW="622" imgH="623" progId="TCLayout.ActiveDocument.1">
                  <p:embed/>
                  <p:pic>
                    <p:nvPicPr>
                      <p:cNvPr id="5" name="Object 4" hidden="1">
                        <a:extLst>
                          <a:ext uri="{FF2B5EF4-FFF2-40B4-BE49-F238E27FC236}">
                            <a16:creationId xmlns:a16="http://schemas.microsoft.com/office/drawing/2014/main" id="{1E50D3B4-5F84-4454-92AA-5BDFEFAFCE0B}"/>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47991D-2609-4D30-A4EE-96844BC66FFF}"/>
              </a:ext>
            </a:extLst>
          </p:cNvPr>
          <p:cNvSpPr/>
          <p:nvPr userDrawn="1">
            <p:custDataLst>
              <p:tags r:id="rId54"/>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9 October 2020</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Presentation title</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90" r:id="rId1"/>
    <p:sldLayoutId id="2147483825" r:id="rId2"/>
    <p:sldLayoutId id="2147483826" r:id="rId3"/>
    <p:sldLayoutId id="2147483827" r:id="rId4"/>
    <p:sldLayoutId id="2147483875" r:id="rId5"/>
    <p:sldLayoutId id="2147483873" r:id="rId6"/>
    <p:sldLayoutId id="2147483872" r:id="rId7"/>
    <p:sldLayoutId id="2147483828" r:id="rId8"/>
    <p:sldLayoutId id="2147483877" r:id="rId9"/>
    <p:sldLayoutId id="2147483876" r:id="rId10"/>
    <p:sldLayoutId id="2147483871" r:id="rId11"/>
    <p:sldLayoutId id="2147483829" r:id="rId12"/>
    <p:sldLayoutId id="2147483923" r:id="rId13"/>
    <p:sldLayoutId id="2147483921"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74" r:id="rId24"/>
    <p:sldLayoutId id="2147483839" r:id="rId25"/>
    <p:sldLayoutId id="2147483925" r:id="rId26"/>
    <p:sldLayoutId id="2147483926" r:id="rId27"/>
    <p:sldLayoutId id="2147483840" r:id="rId28"/>
    <p:sldLayoutId id="2147483947" r:id="rId29"/>
    <p:sldLayoutId id="2147483948" r:id="rId30"/>
    <p:sldLayoutId id="2147483949" r:id="rId31"/>
    <p:sldLayoutId id="2147483950" r:id="rId32"/>
    <p:sldLayoutId id="2147483951" r:id="rId33"/>
    <p:sldLayoutId id="2147483952" r:id="rId34"/>
    <p:sldLayoutId id="2147483953" r:id="rId35"/>
    <p:sldLayoutId id="2147483954" r:id="rId36"/>
    <p:sldLayoutId id="2147483955" r:id="rId37"/>
    <p:sldLayoutId id="2147483956" r:id="rId38"/>
    <p:sldLayoutId id="2147483957" r:id="rId39"/>
    <p:sldLayoutId id="2147483958" r:id="rId40"/>
    <p:sldLayoutId id="2147483959" r:id="rId41"/>
    <p:sldLayoutId id="2147483960" r:id="rId42"/>
    <p:sldLayoutId id="2147483961" r:id="rId43"/>
    <p:sldLayoutId id="2147483962" r:id="rId44"/>
    <p:sldLayoutId id="2147483963" r:id="rId45"/>
    <p:sldLayoutId id="2147483964" r:id="rId46"/>
    <p:sldLayoutId id="2147483965" r:id="rId47"/>
    <p:sldLayoutId id="2147483966" r:id="rId48"/>
    <p:sldLayoutId id="2147483967" r:id="rId49"/>
    <p:sldLayoutId id="2147483968" r:id="rId5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982F39-D037-44DC-AEAC-06CB6524F952}"/>
              </a:ext>
            </a:extLst>
          </p:cNvPr>
          <p:cNvGraphicFramePr>
            <a:graphicFrameLocks noChangeAspect="1"/>
          </p:cNvGraphicFramePr>
          <p:nvPr userDrawn="1">
            <p:custDataLst>
              <p:tags r:id="rId34"/>
            </p:custDataLst>
            <p:extLst>
              <p:ext uri="{D42A27DB-BD31-4B8C-83A1-F6EECF244321}">
                <p14:modId xmlns:p14="http://schemas.microsoft.com/office/powerpoint/2010/main" val="3878115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36" imgW="622" imgH="623" progId="TCLayout.ActiveDocument.1">
                  <p:embed/>
                </p:oleObj>
              </mc:Choice>
              <mc:Fallback>
                <p:oleObj name="think-cell Slide" r:id="rId36" imgW="622" imgH="623" progId="TCLayout.ActiveDocument.1">
                  <p:embed/>
                  <p:pic>
                    <p:nvPicPr>
                      <p:cNvPr id="5" name="Object 4" hidden="1">
                        <a:extLst>
                          <a:ext uri="{FF2B5EF4-FFF2-40B4-BE49-F238E27FC236}">
                            <a16:creationId xmlns:a16="http://schemas.microsoft.com/office/drawing/2014/main" id="{7E982F39-D037-44DC-AEAC-06CB6524F952}"/>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FC677D8-7A6A-45CB-AC48-72B7629B89D4}"/>
              </a:ext>
            </a:extLst>
          </p:cNvPr>
          <p:cNvSpPr/>
          <p:nvPr userDrawn="1">
            <p:custDataLst>
              <p:tags r:id="rId35"/>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8" y="6471244"/>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9 October 2020</a:t>
            </a:fld>
            <a:endParaRPr lang="en-IN"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8" y="6471244"/>
            <a:ext cx="308610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a:t>Presentation title</a:t>
            </a:r>
            <a:endParaRPr lang="en-IN" dirty="0"/>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 id="2147483920" r:id="rId31"/>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1.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3.xml"/><Relationship Id="rId7" Type="http://schemas.openxmlformats.org/officeDocument/2006/relationships/chart" Target="../charts/chart1.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15.xml"/><Relationship Id="rId7" Type="http://schemas.openxmlformats.org/officeDocument/2006/relationships/chart" Target="../charts/chart3.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D87364-8EF4-4E07-B3BA-8F489EB027AC}"/>
              </a:ext>
            </a:extLst>
          </p:cNvPr>
          <p:cNvGraphicFramePr>
            <a:graphicFrameLocks noChangeAspect="1"/>
          </p:cNvGraphicFramePr>
          <p:nvPr>
            <p:custDataLst>
              <p:tags r:id="rId2"/>
            </p:custDataLst>
            <p:extLst>
              <p:ext uri="{D42A27DB-BD31-4B8C-83A1-F6EECF244321}">
                <p14:modId xmlns:p14="http://schemas.microsoft.com/office/powerpoint/2010/main" val="792958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622" imgH="623" progId="TCLayout.ActiveDocument.1">
                  <p:embed/>
                </p:oleObj>
              </mc:Choice>
              <mc:Fallback>
                <p:oleObj name="think-cell Slide" r:id="rId6" imgW="622" imgH="623" progId="TCLayout.ActiveDocument.1">
                  <p:embed/>
                  <p:pic>
                    <p:nvPicPr>
                      <p:cNvPr id="3" name="Object 2" hidden="1">
                        <a:extLst>
                          <a:ext uri="{FF2B5EF4-FFF2-40B4-BE49-F238E27FC236}">
                            <a16:creationId xmlns:a16="http://schemas.microsoft.com/office/drawing/2014/main" id="{F7D87364-8EF4-4E07-B3BA-8F489EB027A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FC9655-1A2B-49DF-B1EC-ABFFC4062651}"/>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000" b="1"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Title 1"/>
          <p:cNvSpPr>
            <a:spLocks noGrp="1"/>
          </p:cNvSpPr>
          <p:nvPr>
            <p:ph type="ctrTitle"/>
          </p:nvPr>
        </p:nvSpPr>
        <p:spPr/>
        <p:txBody>
          <a:bodyPr>
            <a:normAutofit fontScale="90000"/>
          </a:bodyPr>
          <a:lstStyle/>
          <a:p>
            <a:r>
              <a:rPr lang="en-US" b="1" dirty="0">
                <a:solidFill>
                  <a:schemeClr val="bg2"/>
                </a:solidFill>
              </a:rPr>
              <a:t>Global perspectives on COVID-19</a:t>
            </a:r>
            <a:br>
              <a:rPr lang="en-US" b="1" dirty="0">
                <a:solidFill>
                  <a:schemeClr val="bg2"/>
                </a:solidFill>
              </a:rPr>
            </a:br>
            <a:br>
              <a:rPr lang="en-US" b="1" dirty="0"/>
            </a:br>
            <a:r>
              <a:rPr lang="en-US" sz="2200" b="1" dirty="0">
                <a:solidFill>
                  <a:schemeClr val="bg2"/>
                </a:solidFill>
              </a:rPr>
              <a:t>Breaking the Vicious Cycle in Africa</a:t>
            </a:r>
            <a:br>
              <a:rPr lang="en-US" sz="2200" b="1" dirty="0">
                <a:solidFill>
                  <a:schemeClr val="bg2"/>
                </a:solidFill>
              </a:rPr>
            </a:br>
            <a:r>
              <a:rPr lang="en-US" sz="2200" b="1" dirty="0">
                <a:solidFill>
                  <a:schemeClr val="bg2"/>
                </a:solidFill>
              </a:rPr>
              <a:t>- Health Consequences</a:t>
            </a:r>
            <a:r>
              <a:rPr lang="en-US" sz="2200" b="1" dirty="0">
                <a:solidFill>
                  <a:srgbClr val="FF0000"/>
                </a:solidFill>
              </a:rPr>
              <a:t> </a:t>
            </a:r>
            <a:br>
              <a:rPr lang="en-US" sz="2200" b="1" dirty="0">
                <a:solidFill>
                  <a:schemeClr val="bg2"/>
                </a:solidFill>
              </a:rPr>
            </a:br>
            <a:r>
              <a:rPr lang="en-US" sz="2200" b="1" dirty="0">
                <a:solidFill>
                  <a:schemeClr val="bg2"/>
                </a:solidFill>
              </a:rPr>
              <a:t>- Economic Impact</a:t>
            </a:r>
            <a:br>
              <a:rPr lang="en-US" sz="2200" b="1" i="1" dirty="0"/>
            </a:br>
            <a:br>
              <a:rPr lang="en-US" sz="2200" b="1" i="1" dirty="0"/>
            </a:br>
            <a:endParaRPr lang="en-GB" sz="1800" i="1" dirty="0">
              <a:solidFill>
                <a:srgbClr val="2E2E38"/>
              </a:solidFill>
            </a:endParaRPr>
          </a:p>
        </p:txBody>
      </p:sp>
      <p:sp>
        <p:nvSpPr>
          <p:cNvPr id="13" name="TextBox 12">
            <a:extLst>
              <a:ext uri="{FF2B5EF4-FFF2-40B4-BE49-F238E27FC236}">
                <a16:creationId xmlns:a16="http://schemas.microsoft.com/office/drawing/2014/main" id="{BDEA020F-C348-42D4-B8AE-746F47BC6E07}"/>
              </a:ext>
            </a:extLst>
          </p:cNvPr>
          <p:cNvSpPr txBox="1"/>
          <p:nvPr/>
        </p:nvSpPr>
        <p:spPr>
          <a:xfrm>
            <a:off x="1183449" y="5962382"/>
            <a:ext cx="2141641" cy="369332"/>
          </a:xfrm>
          <a:prstGeom prst="rect">
            <a:avLst/>
          </a:prstGeom>
          <a:noFill/>
        </p:spPr>
        <p:txBody>
          <a:bodyPr wrap="square" lIns="0" tIns="0" rIns="0" bIns="0" rtlCol="0" anchor="t">
            <a:spAutoFit/>
          </a:bodyPr>
          <a:lstStyle/>
          <a:p>
            <a:pPr>
              <a:spcAft>
                <a:spcPts val="600"/>
              </a:spcAft>
              <a:buClr>
                <a:srgbClr val="27ACAA"/>
              </a:buClr>
              <a:buSzPct val="70000"/>
            </a:pPr>
            <a:r>
              <a:rPr lang="en-US" sz="1200" b="1" dirty="0">
                <a:solidFill>
                  <a:schemeClr val="bg1"/>
                </a:solidFill>
                <a:latin typeface="EYInterstate Light"/>
              </a:rPr>
              <a:t>Yele Aluko, MD, MBA</a:t>
            </a:r>
            <a:r>
              <a:rPr lang="en-US" sz="1200" b="1" dirty="0">
                <a:latin typeface="EYInterstate Light"/>
              </a:rPr>
              <a:t>BA</a:t>
            </a:r>
            <a:br>
              <a:rPr lang="en-US" sz="1200" dirty="0">
                <a:solidFill>
                  <a:prstClr val="white"/>
                </a:solidFill>
                <a:latin typeface="EYInterstate Light"/>
              </a:rPr>
            </a:br>
            <a:r>
              <a:rPr lang="en-US" sz="1200" b="1" dirty="0">
                <a:solidFill>
                  <a:schemeClr val="bg1"/>
                </a:solidFill>
                <a:latin typeface="EYInterstate"/>
              </a:rPr>
              <a:t>Chief Medical Officer</a:t>
            </a:r>
          </a:p>
        </p:txBody>
      </p:sp>
      <p:pic>
        <p:nvPicPr>
          <p:cNvPr id="14" name="Picture 13">
            <a:extLst>
              <a:ext uri="{FF2B5EF4-FFF2-40B4-BE49-F238E27FC236}">
                <a16:creationId xmlns:a16="http://schemas.microsoft.com/office/drawing/2014/main" id="{DC314379-DEA5-4415-9669-6564E75329E7}"/>
              </a:ext>
            </a:extLst>
          </p:cNvPr>
          <p:cNvPicPr>
            <a:picLocks/>
          </p:cNvPicPr>
          <p:nvPr/>
        </p:nvPicPr>
        <p:blipFill>
          <a:blip r:embed="rId8"/>
          <a:stretch>
            <a:fillRect/>
          </a:stretch>
        </p:blipFill>
        <p:spPr>
          <a:xfrm>
            <a:off x="671053" y="5962382"/>
            <a:ext cx="428631" cy="426139"/>
          </a:xfrm>
          <a:prstGeom prst="rect">
            <a:avLst/>
          </a:prstGeom>
        </p:spPr>
      </p:pic>
    </p:spTree>
    <p:extLst>
      <p:ext uri="{BB962C8B-B14F-4D97-AF65-F5344CB8AC3E}">
        <p14:creationId xmlns:p14="http://schemas.microsoft.com/office/powerpoint/2010/main" val="1364135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5FA8F14F-6D5F-43CA-848D-009335ECD9EF}"/>
              </a:ext>
            </a:extLst>
          </p:cNvPr>
          <p:cNvGraphicFramePr>
            <a:graphicFrameLocks noChangeAspect="1"/>
          </p:cNvGraphicFramePr>
          <p:nvPr>
            <p:custDataLst>
              <p:tags r:id="rId2"/>
            </p:custDataLst>
            <p:extLst>
              <p:ext uri="{D42A27DB-BD31-4B8C-83A1-F6EECF244321}">
                <p14:modId xmlns:p14="http://schemas.microsoft.com/office/powerpoint/2010/main" val="2106400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622" imgH="623" progId="TCLayout.ActiveDocument.1">
                  <p:embed/>
                </p:oleObj>
              </mc:Choice>
              <mc:Fallback>
                <p:oleObj name="think-cell Slide" r:id="rId6" imgW="622" imgH="623" progId="TCLayout.ActiveDocument.1">
                  <p:embed/>
                  <p:pic>
                    <p:nvPicPr>
                      <p:cNvPr id="17" name="Object 16" hidden="1">
                        <a:extLst>
                          <a:ext uri="{FF2B5EF4-FFF2-40B4-BE49-F238E27FC236}">
                            <a16:creationId xmlns:a16="http://schemas.microsoft.com/office/drawing/2014/main" id="{5FA8F14F-6D5F-43CA-848D-009335ECD9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F4F172F-F1B0-4552-AB75-A040BF3C32DA}"/>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GB"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GB" dirty="0"/>
              <a:t>My experience  </a:t>
            </a:r>
          </a:p>
        </p:txBody>
      </p:sp>
      <p:sp>
        <p:nvSpPr>
          <p:cNvPr id="6" name="Slide Number Placeholder 5">
            <a:extLst>
              <a:ext uri="{FF2B5EF4-FFF2-40B4-BE49-F238E27FC236}">
                <a16:creationId xmlns:a16="http://schemas.microsoft.com/office/drawing/2014/main" id="{E20DC7B1-48B6-41C5-9771-FF26563EEC73}"/>
              </a:ext>
            </a:extLst>
          </p:cNvPr>
          <p:cNvSpPr>
            <a:spLocks noGrp="1"/>
          </p:cNvSpPr>
          <p:nvPr>
            <p:ph type="sldNum" sz="quarter" idx="12"/>
          </p:nvPr>
        </p:nvSpPr>
        <p:spPr/>
        <p:txBody>
          <a:bodyPr/>
          <a:lstStyle/>
          <a:p>
            <a:r>
              <a:rPr lang="en-GB"/>
              <a:t>Page </a:t>
            </a:r>
            <a:fld id="{F1BC30E3-FFE5-4B91-AA19-87A149EBB9EE}" type="slidenum">
              <a:rPr smtClean="0"/>
              <a:pPr/>
              <a:t>2</a:t>
            </a:fld>
            <a:endParaRPr dirty="0"/>
          </a:p>
        </p:txBody>
      </p:sp>
      <p:sp>
        <p:nvSpPr>
          <p:cNvPr id="10" name="Rectangle 9">
            <a:extLst>
              <a:ext uri="{FF2B5EF4-FFF2-40B4-BE49-F238E27FC236}">
                <a16:creationId xmlns:a16="http://schemas.microsoft.com/office/drawing/2014/main" id="{FFAD3C51-321B-4138-980F-CFE36DDFC116}"/>
              </a:ext>
            </a:extLst>
          </p:cNvPr>
          <p:cNvSpPr/>
          <p:nvPr/>
        </p:nvSpPr>
        <p:spPr>
          <a:xfrm>
            <a:off x="4439285" y="1109375"/>
            <a:ext cx="3319779" cy="18288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nchorCtr="0"/>
          <a:lstStyle/>
          <a:p>
            <a:pPr algn="ctr"/>
            <a:endParaRPr lang="en-US" sz="2000" b="1" dirty="0">
              <a:solidFill>
                <a:schemeClr val="tx1"/>
              </a:solidFill>
            </a:endParaRPr>
          </a:p>
          <a:p>
            <a:pPr algn="ctr"/>
            <a:r>
              <a:rPr lang="en-US" sz="2000" b="1" dirty="0">
                <a:solidFill>
                  <a:schemeClr val="tx1"/>
                </a:solidFill>
              </a:rPr>
              <a:t>Currently 4 years Healthcare management Consultant </a:t>
            </a:r>
          </a:p>
          <a:p>
            <a:pPr algn="ctr"/>
            <a:r>
              <a:rPr lang="en-US" sz="2000" b="1" dirty="0">
                <a:solidFill>
                  <a:schemeClr val="tx1"/>
                </a:solidFill>
              </a:rPr>
              <a:t>Chief Medical Officer, EY</a:t>
            </a:r>
          </a:p>
        </p:txBody>
      </p:sp>
      <p:sp>
        <p:nvSpPr>
          <p:cNvPr id="11" name="Rectangle 10">
            <a:extLst>
              <a:ext uri="{FF2B5EF4-FFF2-40B4-BE49-F238E27FC236}">
                <a16:creationId xmlns:a16="http://schemas.microsoft.com/office/drawing/2014/main" id="{5920DE4B-7E42-47E2-974E-54A504B9AFC7}"/>
              </a:ext>
            </a:extLst>
          </p:cNvPr>
          <p:cNvSpPr/>
          <p:nvPr/>
        </p:nvSpPr>
        <p:spPr>
          <a:xfrm>
            <a:off x="7911464" y="1109375"/>
            <a:ext cx="3319779" cy="18288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000" b="1" dirty="0">
                <a:solidFill>
                  <a:schemeClr val="tx1"/>
                </a:solidFill>
              </a:rPr>
              <a:t>Member, EY Global COVID-19 pandemic response team</a:t>
            </a:r>
          </a:p>
        </p:txBody>
      </p:sp>
      <p:sp>
        <p:nvSpPr>
          <p:cNvPr id="12" name="Rectangle 11">
            <a:extLst>
              <a:ext uri="{FF2B5EF4-FFF2-40B4-BE49-F238E27FC236}">
                <a16:creationId xmlns:a16="http://schemas.microsoft.com/office/drawing/2014/main" id="{F7ADEA75-5AB7-4498-8CCD-D44E19D25F13}"/>
              </a:ext>
            </a:extLst>
          </p:cNvPr>
          <p:cNvSpPr/>
          <p:nvPr/>
        </p:nvSpPr>
        <p:spPr>
          <a:xfrm>
            <a:off x="959804" y="3090333"/>
            <a:ext cx="3319779" cy="18288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000" b="1" dirty="0">
                <a:solidFill>
                  <a:schemeClr val="tx1"/>
                </a:solidFill>
              </a:rPr>
              <a:t>Member, EY US COVID-19 business enterprise resiliency team  </a:t>
            </a:r>
          </a:p>
        </p:txBody>
      </p:sp>
      <p:sp>
        <p:nvSpPr>
          <p:cNvPr id="13" name="Rectangle 12">
            <a:extLst>
              <a:ext uri="{FF2B5EF4-FFF2-40B4-BE49-F238E27FC236}">
                <a16:creationId xmlns:a16="http://schemas.microsoft.com/office/drawing/2014/main" id="{C6EFEF7F-56A7-4EEB-AF4F-047CB00C2BC4}"/>
              </a:ext>
            </a:extLst>
          </p:cNvPr>
          <p:cNvSpPr/>
          <p:nvPr/>
        </p:nvSpPr>
        <p:spPr>
          <a:xfrm>
            <a:off x="4439285" y="3090333"/>
            <a:ext cx="3319779" cy="18288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000" b="1" dirty="0">
                <a:solidFill>
                  <a:schemeClr val="tx1"/>
                </a:solidFill>
              </a:rPr>
              <a:t>Leader, EY US COVID-19 Identify, Trace, Respond (ITR) Solution team</a:t>
            </a:r>
          </a:p>
        </p:txBody>
      </p:sp>
      <p:sp>
        <p:nvSpPr>
          <p:cNvPr id="14" name="Rectangle 13">
            <a:extLst>
              <a:ext uri="{FF2B5EF4-FFF2-40B4-BE49-F238E27FC236}">
                <a16:creationId xmlns:a16="http://schemas.microsoft.com/office/drawing/2014/main" id="{15E25DDE-A83F-42BA-8FB4-908FC7ED3D21}"/>
              </a:ext>
            </a:extLst>
          </p:cNvPr>
          <p:cNvSpPr/>
          <p:nvPr/>
        </p:nvSpPr>
        <p:spPr>
          <a:xfrm>
            <a:off x="7918766" y="3090333"/>
            <a:ext cx="3319779" cy="18288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000" b="1" dirty="0">
                <a:solidFill>
                  <a:schemeClr val="tx1"/>
                </a:solidFill>
              </a:rPr>
              <a:t>Authored EY’s Point View on </a:t>
            </a:r>
          </a:p>
          <a:p>
            <a:pPr algn="ctr"/>
            <a:r>
              <a:rPr lang="en-US" sz="2000" b="1" dirty="0">
                <a:solidFill>
                  <a:schemeClr val="tx1"/>
                </a:solidFill>
              </a:rPr>
              <a:t>COVID-19 workplace diagnostic testing strategies</a:t>
            </a:r>
          </a:p>
          <a:p>
            <a:pPr algn="ctr"/>
            <a:r>
              <a:rPr lang="en-US" sz="2000" b="1" dirty="0">
                <a:solidFill>
                  <a:schemeClr val="tx1"/>
                </a:solidFill>
              </a:rPr>
              <a:t> </a:t>
            </a:r>
          </a:p>
        </p:txBody>
      </p:sp>
      <p:sp>
        <p:nvSpPr>
          <p:cNvPr id="18" name="Rectangle 17">
            <a:extLst>
              <a:ext uri="{FF2B5EF4-FFF2-40B4-BE49-F238E27FC236}">
                <a16:creationId xmlns:a16="http://schemas.microsoft.com/office/drawing/2014/main" id="{FD91FB69-56C4-4808-B67F-1A672CFA4C5F}"/>
              </a:ext>
            </a:extLst>
          </p:cNvPr>
          <p:cNvSpPr/>
          <p:nvPr/>
        </p:nvSpPr>
        <p:spPr>
          <a:xfrm>
            <a:off x="959803" y="1109375"/>
            <a:ext cx="3319779" cy="18288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nchorCtr="0"/>
          <a:lstStyle/>
          <a:p>
            <a:pPr algn="ctr"/>
            <a:endParaRPr lang="en-US" sz="2000" b="1" dirty="0">
              <a:solidFill>
                <a:schemeClr val="tx1"/>
              </a:solidFill>
            </a:endParaRPr>
          </a:p>
          <a:p>
            <a:pPr algn="ctr"/>
            <a:r>
              <a:rPr lang="en-US" sz="2000" b="1" dirty="0">
                <a:solidFill>
                  <a:schemeClr val="tx1"/>
                </a:solidFill>
              </a:rPr>
              <a:t>25 years practicing Interventional Cardiologist, Physician Executiv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B48812BF-4347-417C-B5E6-91196EC972AD}"/>
              </a:ext>
            </a:extLst>
          </p:cNvPr>
          <p:cNvGraphicFramePr>
            <a:graphicFrameLocks noChangeAspect="1"/>
          </p:cNvGraphicFramePr>
          <p:nvPr>
            <p:custDataLst>
              <p:tags r:id="rId2"/>
            </p:custDataLst>
            <p:extLst>
              <p:ext uri="{D42A27DB-BD31-4B8C-83A1-F6EECF244321}">
                <p14:modId xmlns:p14="http://schemas.microsoft.com/office/powerpoint/2010/main" val="3261409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622" imgH="623" progId="TCLayout.ActiveDocument.1">
                  <p:embed/>
                </p:oleObj>
              </mc:Choice>
              <mc:Fallback>
                <p:oleObj name="think-cell Slide" r:id="rId5" imgW="622" imgH="623" progId="TCLayout.ActiveDocument.1">
                  <p:embed/>
                  <p:pic>
                    <p:nvPicPr>
                      <p:cNvPr id="15" name="Object 14" hidden="1">
                        <a:extLst>
                          <a:ext uri="{FF2B5EF4-FFF2-40B4-BE49-F238E27FC236}">
                            <a16:creationId xmlns:a16="http://schemas.microsoft.com/office/drawing/2014/main" id="{B48812BF-4347-417C-B5E6-91196EC972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E8760B7A-B261-41FB-BAF9-D7F8A23160D6}"/>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DC655C42-339D-48AB-88A6-15EAB74FF8C7}"/>
              </a:ext>
            </a:extLst>
          </p:cNvPr>
          <p:cNvSpPr>
            <a:spLocks noGrp="1"/>
          </p:cNvSpPr>
          <p:nvPr>
            <p:ph type="title"/>
          </p:nvPr>
        </p:nvSpPr>
        <p:spPr/>
        <p:txBody>
          <a:bodyPr/>
          <a:lstStyle/>
          <a:p>
            <a:r>
              <a:rPr lang="en-US" dirty="0"/>
              <a:t>COVID-19 has placed significant pressure on global economies and health systems</a:t>
            </a:r>
            <a:endParaRPr lang="en-US" strike="sngStrike" dirty="0"/>
          </a:p>
        </p:txBody>
      </p:sp>
      <p:sp>
        <p:nvSpPr>
          <p:cNvPr id="5" name="Slide Number Placeholder 4">
            <a:extLst>
              <a:ext uri="{FF2B5EF4-FFF2-40B4-BE49-F238E27FC236}">
                <a16:creationId xmlns:a16="http://schemas.microsoft.com/office/drawing/2014/main" id="{9EFAAE84-0723-4A66-8A1C-3065380F0782}"/>
              </a:ext>
            </a:extLst>
          </p:cNvPr>
          <p:cNvSpPr>
            <a:spLocks noGrp="1"/>
          </p:cNvSpPr>
          <p:nvPr>
            <p:ph type="sldNum" sz="quarter" idx="12"/>
          </p:nvPr>
        </p:nvSpPr>
        <p:spPr/>
        <p:txBody>
          <a:bodyPr/>
          <a:lstStyle/>
          <a:p>
            <a:r>
              <a:rPr lang="en-GB"/>
              <a:t>Page </a:t>
            </a:r>
            <a:fld id="{F1BC30E3-FFE5-4B91-AA19-87A149EBB9EE}" type="slidenum">
              <a:rPr smtClean="0"/>
              <a:pPr/>
              <a:t>3</a:t>
            </a:fld>
            <a:endParaRPr dirty="0"/>
          </a:p>
        </p:txBody>
      </p:sp>
      <p:grpSp>
        <p:nvGrpSpPr>
          <p:cNvPr id="9" name="Group 8">
            <a:extLst>
              <a:ext uri="{FF2B5EF4-FFF2-40B4-BE49-F238E27FC236}">
                <a16:creationId xmlns:a16="http://schemas.microsoft.com/office/drawing/2014/main" id="{2846CAF5-60D2-45FC-AFC6-B014F3BF53A6}"/>
              </a:ext>
            </a:extLst>
          </p:cNvPr>
          <p:cNvGrpSpPr/>
          <p:nvPr/>
        </p:nvGrpSpPr>
        <p:grpSpPr>
          <a:xfrm>
            <a:off x="2517776" y="1062086"/>
            <a:ext cx="8026400" cy="5166046"/>
            <a:chOff x="2024557" y="1155011"/>
            <a:chExt cx="8026400" cy="5166046"/>
          </a:xfrm>
        </p:grpSpPr>
        <p:pic>
          <p:nvPicPr>
            <p:cNvPr id="7" name="Picture 6">
              <a:extLst>
                <a:ext uri="{FF2B5EF4-FFF2-40B4-BE49-F238E27FC236}">
                  <a16:creationId xmlns:a16="http://schemas.microsoft.com/office/drawing/2014/main" id="{A8858D33-0BE8-4340-B905-5EE46DCA3DCE}"/>
                </a:ext>
              </a:extLst>
            </p:cNvPr>
            <p:cNvPicPr>
              <a:picLocks noChangeAspect="1"/>
            </p:cNvPicPr>
            <p:nvPr/>
          </p:nvPicPr>
          <p:blipFill rotWithShape="1">
            <a:blip r:embed="rId7"/>
            <a:srcRect l="16710" t="28395" r="32040" b="12963"/>
            <a:stretch/>
          </p:blipFill>
          <p:spPr>
            <a:xfrm>
              <a:off x="2024557" y="1155011"/>
              <a:ext cx="8026400" cy="5166046"/>
            </a:xfrm>
            <a:prstGeom prst="rect">
              <a:avLst/>
            </a:prstGeom>
          </p:spPr>
        </p:pic>
        <p:sp>
          <p:nvSpPr>
            <p:cNvPr id="8" name="TextBox 7">
              <a:extLst>
                <a:ext uri="{FF2B5EF4-FFF2-40B4-BE49-F238E27FC236}">
                  <a16:creationId xmlns:a16="http://schemas.microsoft.com/office/drawing/2014/main" id="{82AA2FAE-A759-4E2D-B83D-8B613C19D407}"/>
                </a:ext>
              </a:extLst>
            </p:cNvPr>
            <p:cNvSpPr txBox="1"/>
            <p:nvPr/>
          </p:nvSpPr>
          <p:spPr>
            <a:xfrm flipH="1">
              <a:off x="3647617" y="1244600"/>
              <a:ext cx="4780281"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600" b="1" dirty="0">
                  <a:solidFill>
                    <a:schemeClr val="bg1"/>
                  </a:solidFill>
                  <a:latin typeface="EYInterstate" panose="02000503020000020004" pitchFamily="2" charset="0"/>
                </a:rPr>
                <a:t>COVID-19 cumulative cases across the world</a:t>
              </a:r>
            </a:p>
          </p:txBody>
        </p:sp>
      </p:grpSp>
      <p:sp>
        <p:nvSpPr>
          <p:cNvPr id="10" name="TextBox 9">
            <a:extLst>
              <a:ext uri="{FF2B5EF4-FFF2-40B4-BE49-F238E27FC236}">
                <a16:creationId xmlns:a16="http://schemas.microsoft.com/office/drawing/2014/main" id="{56BE3F49-22C4-4004-A49D-75121302DD66}"/>
              </a:ext>
            </a:extLst>
          </p:cNvPr>
          <p:cNvSpPr txBox="1"/>
          <p:nvPr/>
        </p:nvSpPr>
        <p:spPr>
          <a:xfrm>
            <a:off x="2892096" y="1943334"/>
            <a:ext cx="2165208" cy="1080296"/>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2800" dirty="0">
                <a:solidFill>
                  <a:schemeClr val="tx2"/>
                </a:solidFill>
              </a:rPr>
              <a:t>United States</a:t>
            </a:r>
          </a:p>
          <a:p>
            <a:pPr>
              <a:lnSpc>
                <a:spcPct val="85000"/>
              </a:lnSpc>
              <a:spcAft>
                <a:spcPts val="600"/>
              </a:spcAft>
              <a:buClr>
                <a:schemeClr val="accent2"/>
              </a:buClr>
              <a:buSzPct val="70000"/>
            </a:pPr>
            <a:r>
              <a:rPr lang="en-US" sz="2000" b="1" dirty="0">
                <a:solidFill>
                  <a:schemeClr val="bg1"/>
                </a:solidFill>
              </a:rPr>
              <a:t>7.6 million</a:t>
            </a:r>
          </a:p>
          <a:p>
            <a:pPr>
              <a:lnSpc>
                <a:spcPct val="85000"/>
              </a:lnSpc>
              <a:spcAft>
                <a:spcPts val="600"/>
              </a:spcAft>
              <a:buClr>
                <a:schemeClr val="accent2"/>
              </a:buClr>
              <a:buSzPct val="70000"/>
            </a:pPr>
            <a:r>
              <a:rPr lang="en-US" sz="2000" b="1" dirty="0">
                <a:solidFill>
                  <a:schemeClr val="bg1"/>
                </a:solidFill>
              </a:rPr>
              <a:t>212k</a:t>
            </a:r>
          </a:p>
        </p:txBody>
      </p:sp>
      <p:sp>
        <p:nvSpPr>
          <p:cNvPr id="11" name="TextBox 10">
            <a:extLst>
              <a:ext uri="{FF2B5EF4-FFF2-40B4-BE49-F238E27FC236}">
                <a16:creationId xmlns:a16="http://schemas.microsoft.com/office/drawing/2014/main" id="{E315BD59-3AC7-40A0-BA7A-24D8B52046BE}"/>
              </a:ext>
            </a:extLst>
          </p:cNvPr>
          <p:cNvSpPr txBox="1"/>
          <p:nvPr/>
        </p:nvSpPr>
        <p:spPr>
          <a:xfrm>
            <a:off x="7954813" y="2151635"/>
            <a:ext cx="1248740" cy="1080296"/>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2800" dirty="0">
                <a:solidFill>
                  <a:schemeClr val="tx2"/>
                </a:solidFill>
              </a:rPr>
              <a:t>India</a:t>
            </a:r>
          </a:p>
          <a:p>
            <a:pPr>
              <a:lnSpc>
                <a:spcPct val="85000"/>
              </a:lnSpc>
              <a:spcAft>
                <a:spcPts val="600"/>
              </a:spcAft>
              <a:buClr>
                <a:schemeClr val="accent2"/>
              </a:buClr>
              <a:buSzPct val="70000"/>
            </a:pPr>
            <a:r>
              <a:rPr lang="en-US" sz="2000" b="1" dirty="0">
                <a:solidFill>
                  <a:schemeClr val="bg1"/>
                </a:solidFill>
              </a:rPr>
              <a:t>6.8 million</a:t>
            </a:r>
          </a:p>
          <a:p>
            <a:pPr>
              <a:lnSpc>
                <a:spcPct val="85000"/>
              </a:lnSpc>
              <a:spcAft>
                <a:spcPts val="600"/>
              </a:spcAft>
              <a:buClr>
                <a:schemeClr val="accent2"/>
              </a:buClr>
              <a:buSzPct val="70000"/>
            </a:pPr>
            <a:r>
              <a:rPr lang="en-US" sz="2000" b="1" dirty="0">
                <a:solidFill>
                  <a:schemeClr val="bg1"/>
                </a:solidFill>
              </a:rPr>
              <a:t>105k</a:t>
            </a:r>
          </a:p>
        </p:txBody>
      </p:sp>
      <p:sp>
        <p:nvSpPr>
          <p:cNvPr id="12" name="TextBox 11">
            <a:extLst>
              <a:ext uri="{FF2B5EF4-FFF2-40B4-BE49-F238E27FC236}">
                <a16:creationId xmlns:a16="http://schemas.microsoft.com/office/drawing/2014/main" id="{7F25596A-2BB6-4274-AD38-EAAA8F86BE6D}"/>
              </a:ext>
            </a:extLst>
          </p:cNvPr>
          <p:cNvSpPr txBox="1"/>
          <p:nvPr/>
        </p:nvSpPr>
        <p:spPr>
          <a:xfrm>
            <a:off x="3955159" y="3893391"/>
            <a:ext cx="1009892" cy="1080296"/>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2800" dirty="0">
                <a:solidFill>
                  <a:schemeClr val="tx2"/>
                </a:solidFill>
              </a:rPr>
              <a:t>Brazil</a:t>
            </a:r>
          </a:p>
          <a:p>
            <a:pPr>
              <a:lnSpc>
                <a:spcPct val="85000"/>
              </a:lnSpc>
              <a:spcAft>
                <a:spcPts val="600"/>
              </a:spcAft>
              <a:buClr>
                <a:schemeClr val="accent2"/>
              </a:buClr>
              <a:buSzPct val="70000"/>
            </a:pPr>
            <a:r>
              <a:rPr lang="en-US" sz="2000" b="1" dirty="0">
                <a:solidFill>
                  <a:schemeClr val="bg1"/>
                </a:solidFill>
              </a:rPr>
              <a:t>5 million</a:t>
            </a:r>
          </a:p>
          <a:p>
            <a:pPr>
              <a:lnSpc>
                <a:spcPct val="85000"/>
              </a:lnSpc>
              <a:spcAft>
                <a:spcPts val="600"/>
              </a:spcAft>
              <a:buClr>
                <a:schemeClr val="accent2"/>
              </a:buClr>
              <a:buSzPct val="70000"/>
            </a:pPr>
            <a:r>
              <a:rPr lang="en-US" sz="2000" b="1" dirty="0">
                <a:solidFill>
                  <a:schemeClr val="bg1"/>
                </a:solidFill>
              </a:rPr>
              <a:t>148k</a:t>
            </a:r>
          </a:p>
        </p:txBody>
      </p:sp>
      <p:sp>
        <p:nvSpPr>
          <p:cNvPr id="13" name="TextBox 12">
            <a:extLst>
              <a:ext uri="{FF2B5EF4-FFF2-40B4-BE49-F238E27FC236}">
                <a16:creationId xmlns:a16="http://schemas.microsoft.com/office/drawing/2014/main" id="{CF503E01-9CF8-4989-B863-32E8153E43B9}"/>
              </a:ext>
            </a:extLst>
          </p:cNvPr>
          <p:cNvSpPr txBox="1"/>
          <p:nvPr/>
        </p:nvSpPr>
        <p:spPr>
          <a:xfrm>
            <a:off x="6443542" y="3657328"/>
            <a:ext cx="1248740" cy="1080296"/>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2800" dirty="0">
                <a:solidFill>
                  <a:schemeClr val="tx2"/>
                </a:solidFill>
              </a:rPr>
              <a:t>Africa</a:t>
            </a:r>
          </a:p>
          <a:p>
            <a:pPr>
              <a:lnSpc>
                <a:spcPct val="85000"/>
              </a:lnSpc>
              <a:spcAft>
                <a:spcPts val="600"/>
              </a:spcAft>
              <a:buClr>
                <a:schemeClr val="accent2"/>
              </a:buClr>
              <a:buSzPct val="70000"/>
            </a:pPr>
            <a:r>
              <a:rPr lang="en-US" sz="2000" b="1" dirty="0">
                <a:solidFill>
                  <a:schemeClr val="bg1"/>
                </a:solidFill>
              </a:rPr>
              <a:t>1.5 million</a:t>
            </a:r>
          </a:p>
          <a:p>
            <a:pPr>
              <a:lnSpc>
                <a:spcPct val="85000"/>
              </a:lnSpc>
              <a:spcAft>
                <a:spcPts val="600"/>
              </a:spcAft>
              <a:buClr>
                <a:schemeClr val="accent2"/>
              </a:buClr>
              <a:buSzPct val="70000"/>
            </a:pPr>
            <a:r>
              <a:rPr lang="en-US" sz="2000" b="1" dirty="0">
                <a:solidFill>
                  <a:schemeClr val="bg1"/>
                </a:solidFill>
              </a:rPr>
              <a:t>37k</a:t>
            </a:r>
          </a:p>
        </p:txBody>
      </p:sp>
      <p:sp>
        <p:nvSpPr>
          <p:cNvPr id="14" name="TextBox 13">
            <a:extLst>
              <a:ext uri="{FF2B5EF4-FFF2-40B4-BE49-F238E27FC236}">
                <a16:creationId xmlns:a16="http://schemas.microsoft.com/office/drawing/2014/main" id="{1A904740-B6DB-45CF-B067-3C05466E9372}"/>
              </a:ext>
            </a:extLst>
          </p:cNvPr>
          <p:cNvSpPr txBox="1"/>
          <p:nvPr/>
        </p:nvSpPr>
        <p:spPr>
          <a:xfrm>
            <a:off x="609918" y="1033966"/>
            <a:ext cx="1267014" cy="717119"/>
          </a:xfrm>
          <a:prstGeom prst="rect">
            <a:avLst/>
          </a:prstGeom>
          <a:noFill/>
        </p:spPr>
        <p:txBody>
          <a:bodyPr wrap="none" lIns="0" tIns="36576" rIns="0" bIns="0" rtlCol="0">
            <a:spAutoFit/>
          </a:bodyPr>
          <a:lstStyle/>
          <a:p>
            <a:pPr>
              <a:lnSpc>
                <a:spcPct val="85000"/>
              </a:lnSpc>
              <a:buClr>
                <a:schemeClr val="accent2"/>
              </a:buClr>
              <a:buSzPct val="70000"/>
            </a:pPr>
            <a:r>
              <a:rPr lang="en-US" sz="2000" dirty="0">
                <a:solidFill>
                  <a:schemeClr val="tx2"/>
                </a:solidFill>
              </a:rPr>
              <a:t>Country</a:t>
            </a:r>
          </a:p>
          <a:p>
            <a:pPr>
              <a:lnSpc>
                <a:spcPct val="85000"/>
              </a:lnSpc>
              <a:buClr>
                <a:schemeClr val="accent2"/>
              </a:buClr>
              <a:buSzPct val="70000"/>
            </a:pPr>
            <a:r>
              <a:rPr lang="en-US" sz="1600" b="1" dirty="0">
                <a:solidFill>
                  <a:schemeClr val="bg1"/>
                </a:solidFill>
              </a:rPr>
              <a:t>No. of cases</a:t>
            </a:r>
          </a:p>
          <a:p>
            <a:pPr>
              <a:lnSpc>
                <a:spcPct val="85000"/>
              </a:lnSpc>
              <a:buClr>
                <a:schemeClr val="accent2"/>
              </a:buClr>
              <a:buSzPct val="70000"/>
            </a:pPr>
            <a:r>
              <a:rPr lang="en-US" sz="1600" b="1" dirty="0">
                <a:solidFill>
                  <a:schemeClr val="bg1"/>
                </a:solidFill>
              </a:rPr>
              <a:t>No. of deaths</a:t>
            </a:r>
          </a:p>
        </p:txBody>
      </p:sp>
      <p:sp>
        <p:nvSpPr>
          <p:cNvPr id="17" name="TextBox 16">
            <a:extLst>
              <a:ext uri="{FF2B5EF4-FFF2-40B4-BE49-F238E27FC236}">
                <a16:creationId xmlns:a16="http://schemas.microsoft.com/office/drawing/2014/main" id="{2AC2D5D8-1710-460F-9961-4951B582A472}"/>
              </a:ext>
            </a:extLst>
          </p:cNvPr>
          <p:cNvSpPr txBox="1"/>
          <p:nvPr/>
        </p:nvSpPr>
        <p:spPr>
          <a:xfrm>
            <a:off x="2517776" y="6306951"/>
            <a:ext cx="2067874" cy="18081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100" i="1" dirty="0">
                <a:solidFill>
                  <a:schemeClr val="bg1"/>
                </a:solidFill>
              </a:rPr>
              <a:t>Source: John Hopkins University</a:t>
            </a:r>
          </a:p>
        </p:txBody>
      </p:sp>
    </p:spTree>
    <p:extLst>
      <p:ext uri="{BB962C8B-B14F-4D97-AF65-F5344CB8AC3E}">
        <p14:creationId xmlns:p14="http://schemas.microsoft.com/office/powerpoint/2010/main" val="4459444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F8D96C76-5077-4A89-BE77-E72811225082}"/>
              </a:ext>
            </a:extLst>
          </p:cNvPr>
          <p:cNvGraphicFramePr>
            <a:graphicFrameLocks noChangeAspect="1"/>
          </p:cNvGraphicFramePr>
          <p:nvPr>
            <p:custDataLst>
              <p:tags r:id="rId2"/>
            </p:custDataLst>
            <p:extLst>
              <p:ext uri="{D42A27DB-BD31-4B8C-83A1-F6EECF244321}">
                <p14:modId xmlns:p14="http://schemas.microsoft.com/office/powerpoint/2010/main" val="111687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622" imgH="623" progId="TCLayout.ActiveDocument.1">
                  <p:embed/>
                </p:oleObj>
              </mc:Choice>
              <mc:Fallback>
                <p:oleObj name="think-cell Slide" r:id="rId5" imgW="622" imgH="623" progId="TCLayout.ActiveDocument.1">
                  <p:embed/>
                  <p:pic>
                    <p:nvPicPr>
                      <p:cNvPr id="14" name="Object 13" hidden="1">
                        <a:extLst>
                          <a:ext uri="{FF2B5EF4-FFF2-40B4-BE49-F238E27FC236}">
                            <a16:creationId xmlns:a16="http://schemas.microsoft.com/office/drawing/2014/main" id="{F8D96C76-5077-4A89-BE77-E728112250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D6BA33F-C1E9-45F2-97C9-40B88761B4E2}"/>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i="1"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CB36BD21-4895-44AA-B5A7-6B103773B7A4}"/>
              </a:ext>
            </a:extLst>
          </p:cNvPr>
          <p:cNvSpPr>
            <a:spLocks noGrp="1"/>
          </p:cNvSpPr>
          <p:nvPr>
            <p:ph type="title"/>
          </p:nvPr>
        </p:nvSpPr>
        <p:spPr/>
        <p:txBody>
          <a:bodyPr/>
          <a:lstStyle/>
          <a:p>
            <a:r>
              <a:rPr lang="en-US" dirty="0"/>
              <a:t>The incidence and mortality impact has varied across the world </a:t>
            </a:r>
            <a:br>
              <a:rPr lang="en-US" dirty="0"/>
            </a:br>
            <a:r>
              <a:rPr lang="en-US" i="1" dirty="0"/>
              <a:t>The US, Brazil and India demonstrate leading indices and upward trajectories</a:t>
            </a:r>
          </a:p>
        </p:txBody>
      </p:sp>
      <p:sp>
        <p:nvSpPr>
          <p:cNvPr id="5" name="Slide Number Placeholder 4">
            <a:extLst>
              <a:ext uri="{FF2B5EF4-FFF2-40B4-BE49-F238E27FC236}">
                <a16:creationId xmlns:a16="http://schemas.microsoft.com/office/drawing/2014/main" id="{1CC1E1DC-86CD-49BA-86F5-222038B0BD47}"/>
              </a:ext>
            </a:extLst>
          </p:cNvPr>
          <p:cNvSpPr>
            <a:spLocks noGrp="1"/>
          </p:cNvSpPr>
          <p:nvPr>
            <p:ph type="sldNum" sz="quarter" idx="12"/>
          </p:nvPr>
        </p:nvSpPr>
        <p:spPr/>
        <p:txBody>
          <a:bodyPr/>
          <a:lstStyle/>
          <a:p>
            <a:r>
              <a:rPr lang="en-GB"/>
              <a:t>Page </a:t>
            </a:r>
            <a:fld id="{F1BC30E3-FFE5-4B91-AA19-87A149EBB9EE}" type="slidenum">
              <a:rPr smtClean="0"/>
              <a:pPr/>
              <a:t>4</a:t>
            </a:fld>
            <a:endParaRPr dirty="0"/>
          </a:p>
        </p:txBody>
      </p:sp>
      <p:graphicFrame>
        <p:nvGraphicFramePr>
          <p:cNvPr id="10" name="Chart 9">
            <a:extLst>
              <a:ext uri="{FF2B5EF4-FFF2-40B4-BE49-F238E27FC236}">
                <a16:creationId xmlns:a16="http://schemas.microsoft.com/office/drawing/2014/main" id="{645C4302-91C5-4CC7-A8E5-1B6AD739C24E}"/>
              </a:ext>
            </a:extLst>
          </p:cNvPr>
          <p:cNvGraphicFramePr/>
          <p:nvPr>
            <p:extLst>
              <p:ext uri="{D42A27DB-BD31-4B8C-83A1-F6EECF244321}">
                <p14:modId xmlns:p14="http://schemas.microsoft.com/office/powerpoint/2010/main" val="3728087455"/>
              </p:ext>
            </p:extLst>
          </p:nvPr>
        </p:nvGraphicFramePr>
        <p:xfrm>
          <a:off x="609918" y="1183134"/>
          <a:ext cx="5489257" cy="478507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Chart 10">
            <a:extLst>
              <a:ext uri="{FF2B5EF4-FFF2-40B4-BE49-F238E27FC236}">
                <a16:creationId xmlns:a16="http://schemas.microsoft.com/office/drawing/2014/main" id="{0E814CFD-3D4F-4EDD-9A00-B51C32A2048E}"/>
              </a:ext>
            </a:extLst>
          </p:cNvPr>
          <p:cNvGraphicFramePr/>
          <p:nvPr>
            <p:extLst>
              <p:ext uri="{D42A27DB-BD31-4B8C-83A1-F6EECF244321}">
                <p14:modId xmlns:p14="http://schemas.microsoft.com/office/powerpoint/2010/main" val="2511472320"/>
              </p:ext>
            </p:extLst>
          </p:nvPr>
        </p:nvGraphicFramePr>
        <p:xfrm>
          <a:off x="5858934" y="1183134"/>
          <a:ext cx="5833533" cy="4785077"/>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11">
            <a:extLst>
              <a:ext uri="{FF2B5EF4-FFF2-40B4-BE49-F238E27FC236}">
                <a16:creationId xmlns:a16="http://schemas.microsoft.com/office/drawing/2014/main" id="{7A64AD8C-E01F-4926-8EFB-1286B9549E8D}"/>
              </a:ext>
            </a:extLst>
          </p:cNvPr>
          <p:cNvSpPr txBox="1"/>
          <p:nvPr/>
        </p:nvSpPr>
        <p:spPr>
          <a:xfrm>
            <a:off x="1280287" y="6119077"/>
            <a:ext cx="2067874" cy="18081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100" i="1" dirty="0">
                <a:solidFill>
                  <a:schemeClr val="bg1"/>
                </a:solidFill>
              </a:rPr>
              <a:t>Source: John Hopkins University</a:t>
            </a:r>
          </a:p>
        </p:txBody>
      </p:sp>
    </p:spTree>
    <p:extLst>
      <p:ext uri="{BB962C8B-B14F-4D97-AF65-F5344CB8AC3E}">
        <p14:creationId xmlns:p14="http://schemas.microsoft.com/office/powerpoint/2010/main" val="35074158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48C633-F375-44A5-A421-193C71D4A75D}"/>
              </a:ext>
            </a:extLst>
          </p:cNvPr>
          <p:cNvGraphicFramePr>
            <a:graphicFrameLocks noChangeAspect="1"/>
          </p:cNvGraphicFramePr>
          <p:nvPr>
            <p:custDataLst>
              <p:tags r:id="rId2"/>
            </p:custDataLst>
            <p:extLst>
              <p:ext uri="{D42A27DB-BD31-4B8C-83A1-F6EECF244321}">
                <p14:modId xmlns:p14="http://schemas.microsoft.com/office/powerpoint/2010/main" val="2266100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622" imgH="623" progId="TCLayout.ActiveDocument.1">
                  <p:embed/>
                </p:oleObj>
              </mc:Choice>
              <mc:Fallback>
                <p:oleObj name="think-cell Slide" r:id="rId5" imgW="622" imgH="623" progId="TCLayout.ActiveDocument.1">
                  <p:embed/>
                  <p:pic>
                    <p:nvPicPr>
                      <p:cNvPr id="6" name="Object 5" hidden="1">
                        <a:extLst>
                          <a:ext uri="{FF2B5EF4-FFF2-40B4-BE49-F238E27FC236}">
                            <a16:creationId xmlns:a16="http://schemas.microsoft.com/office/drawing/2014/main" id="{4C48C633-F375-44A5-A421-193C71D4A7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2B330C-A4A6-4B1F-BB86-6F19DD4CC519}"/>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CB36BD21-4895-44AA-B5A7-6B103773B7A4}"/>
              </a:ext>
            </a:extLst>
          </p:cNvPr>
          <p:cNvSpPr>
            <a:spLocks noGrp="1"/>
          </p:cNvSpPr>
          <p:nvPr>
            <p:ph type="title"/>
          </p:nvPr>
        </p:nvSpPr>
        <p:spPr/>
        <p:txBody>
          <a:bodyPr/>
          <a:lstStyle/>
          <a:p>
            <a:r>
              <a:rPr lang="en-US" dirty="0"/>
              <a:t>COVID-19 in Africa has been less deadly than initially projected </a:t>
            </a:r>
          </a:p>
        </p:txBody>
      </p:sp>
      <p:sp>
        <p:nvSpPr>
          <p:cNvPr id="5" name="Slide Number Placeholder 4">
            <a:extLst>
              <a:ext uri="{FF2B5EF4-FFF2-40B4-BE49-F238E27FC236}">
                <a16:creationId xmlns:a16="http://schemas.microsoft.com/office/drawing/2014/main" id="{1CC1E1DC-86CD-49BA-86F5-222038B0BD47}"/>
              </a:ext>
            </a:extLst>
          </p:cNvPr>
          <p:cNvSpPr>
            <a:spLocks noGrp="1"/>
          </p:cNvSpPr>
          <p:nvPr>
            <p:ph type="sldNum" sz="quarter" idx="12"/>
          </p:nvPr>
        </p:nvSpPr>
        <p:spPr/>
        <p:txBody>
          <a:bodyPr/>
          <a:lstStyle/>
          <a:p>
            <a:r>
              <a:rPr lang="en-GB"/>
              <a:t>Page </a:t>
            </a:r>
            <a:fld id="{F1BC30E3-FFE5-4B91-AA19-87A149EBB9EE}" type="slidenum">
              <a:rPr smtClean="0"/>
              <a:pPr/>
              <a:t>5</a:t>
            </a:fld>
            <a:endParaRPr dirty="0"/>
          </a:p>
        </p:txBody>
      </p:sp>
      <p:graphicFrame>
        <p:nvGraphicFramePr>
          <p:cNvPr id="10" name="Chart 9">
            <a:extLst>
              <a:ext uri="{FF2B5EF4-FFF2-40B4-BE49-F238E27FC236}">
                <a16:creationId xmlns:a16="http://schemas.microsoft.com/office/drawing/2014/main" id="{645C4302-91C5-4CC7-A8E5-1B6AD739C24E}"/>
              </a:ext>
            </a:extLst>
          </p:cNvPr>
          <p:cNvGraphicFramePr/>
          <p:nvPr>
            <p:extLst>
              <p:ext uri="{D42A27DB-BD31-4B8C-83A1-F6EECF244321}">
                <p14:modId xmlns:p14="http://schemas.microsoft.com/office/powerpoint/2010/main" val="2396607072"/>
              </p:ext>
            </p:extLst>
          </p:nvPr>
        </p:nvGraphicFramePr>
        <p:xfrm>
          <a:off x="609918" y="1183134"/>
          <a:ext cx="5489257" cy="478507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hart 6">
            <a:extLst>
              <a:ext uri="{FF2B5EF4-FFF2-40B4-BE49-F238E27FC236}">
                <a16:creationId xmlns:a16="http://schemas.microsoft.com/office/drawing/2014/main" id="{4C8F8137-F7FB-473C-A9A8-E3D29F7C1BDC}"/>
              </a:ext>
            </a:extLst>
          </p:cNvPr>
          <p:cNvGraphicFramePr/>
          <p:nvPr>
            <p:extLst>
              <p:ext uri="{D42A27DB-BD31-4B8C-83A1-F6EECF244321}">
                <p14:modId xmlns:p14="http://schemas.microsoft.com/office/powerpoint/2010/main" val="1949059224"/>
              </p:ext>
            </p:extLst>
          </p:nvPr>
        </p:nvGraphicFramePr>
        <p:xfrm>
          <a:off x="6099176" y="1183134"/>
          <a:ext cx="5489257" cy="4785077"/>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Box 8">
            <a:extLst>
              <a:ext uri="{FF2B5EF4-FFF2-40B4-BE49-F238E27FC236}">
                <a16:creationId xmlns:a16="http://schemas.microsoft.com/office/drawing/2014/main" id="{8A6FD7EC-9B96-48C5-AA13-8E44A74DA64C}"/>
              </a:ext>
            </a:extLst>
          </p:cNvPr>
          <p:cNvSpPr txBox="1"/>
          <p:nvPr/>
        </p:nvSpPr>
        <p:spPr>
          <a:xfrm>
            <a:off x="1280287" y="6119077"/>
            <a:ext cx="1211870" cy="18081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100" i="1" dirty="0">
                <a:solidFill>
                  <a:schemeClr val="bg1"/>
                </a:solidFill>
              </a:rPr>
              <a:t>Source: Africa CDC</a:t>
            </a:r>
          </a:p>
        </p:txBody>
      </p:sp>
    </p:spTree>
    <p:extLst>
      <p:ext uri="{BB962C8B-B14F-4D97-AF65-F5344CB8AC3E}">
        <p14:creationId xmlns:p14="http://schemas.microsoft.com/office/powerpoint/2010/main" val="9329257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C766151-4946-4DB4-B758-F505CAC88F84}"/>
              </a:ext>
            </a:extLst>
          </p:cNvPr>
          <p:cNvGraphicFramePr>
            <a:graphicFrameLocks noChangeAspect="1"/>
          </p:cNvGraphicFramePr>
          <p:nvPr>
            <p:custDataLst>
              <p:tags r:id="rId2"/>
            </p:custDataLst>
            <p:extLst>
              <p:ext uri="{D42A27DB-BD31-4B8C-83A1-F6EECF244321}">
                <p14:modId xmlns:p14="http://schemas.microsoft.com/office/powerpoint/2010/main" val="1396255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622" imgH="623" progId="TCLayout.ActiveDocument.1">
                  <p:embed/>
                </p:oleObj>
              </mc:Choice>
              <mc:Fallback>
                <p:oleObj name="think-cell Slide" r:id="rId5" imgW="622" imgH="623" progId="TCLayout.ActiveDocument.1">
                  <p:embed/>
                  <p:pic>
                    <p:nvPicPr>
                      <p:cNvPr id="8" name="Object 7" hidden="1">
                        <a:extLst>
                          <a:ext uri="{FF2B5EF4-FFF2-40B4-BE49-F238E27FC236}">
                            <a16:creationId xmlns:a16="http://schemas.microsoft.com/office/drawing/2014/main" id="{7C766151-4946-4DB4-B758-F505CAC88F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9541653-3C4C-40A1-A481-B77A37077202}"/>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15" name="Group 14">
            <a:extLst>
              <a:ext uri="{FF2B5EF4-FFF2-40B4-BE49-F238E27FC236}">
                <a16:creationId xmlns:a16="http://schemas.microsoft.com/office/drawing/2014/main" id="{46B27D57-1742-46C8-90E4-C3295C75ABA6}"/>
              </a:ext>
            </a:extLst>
          </p:cNvPr>
          <p:cNvGrpSpPr/>
          <p:nvPr/>
        </p:nvGrpSpPr>
        <p:grpSpPr>
          <a:xfrm>
            <a:off x="5409008" y="1198905"/>
            <a:ext cx="5360414" cy="5301438"/>
            <a:chOff x="501196" y="226586"/>
            <a:chExt cx="4487525" cy="4438153"/>
          </a:xfrm>
          <a:solidFill>
            <a:schemeClr val="bg1">
              <a:lumMod val="50000"/>
            </a:schemeClr>
          </a:solidFill>
        </p:grpSpPr>
        <p:sp>
          <p:nvSpPr>
            <p:cNvPr id="16" name="Freeform 40">
              <a:extLst>
                <a:ext uri="{FF2B5EF4-FFF2-40B4-BE49-F238E27FC236}">
                  <a16:creationId xmlns:a16="http://schemas.microsoft.com/office/drawing/2014/main" id="{C9EB17E1-7EA8-4CA8-80F5-057F0FFA78E9}"/>
                </a:ext>
              </a:extLst>
            </p:cNvPr>
            <p:cNvSpPr>
              <a:spLocks noEditPoints="1"/>
            </p:cNvSpPr>
            <p:nvPr/>
          </p:nvSpPr>
          <p:spPr bwMode="auto">
            <a:xfrm>
              <a:off x="3381649" y="576912"/>
              <a:ext cx="657337" cy="614355"/>
            </a:xfrm>
            <a:custGeom>
              <a:avLst/>
              <a:gdLst>
                <a:gd name="T0" fmla="*/ 319 w 325"/>
                <a:gd name="T1" fmla="*/ 258 h 330"/>
                <a:gd name="T2" fmla="*/ 320 w 325"/>
                <a:gd name="T3" fmla="*/ 253 h 330"/>
                <a:gd name="T4" fmla="*/ 315 w 325"/>
                <a:gd name="T5" fmla="*/ 248 h 330"/>
                <a:gd name="T6" fmla="*/ 308 w 325"/>
                <a:gd name="T7" fmla="*/ 240 h 330"/>
                <a:gd name="T8" fmla="*/ 301 w 325"/>
                <a:gd name="T9" fmla="*/ 228 h 330"/>
                <a:gd name="T10" fmla="*/ 295 w 325"/>
                <a:gd name="T11" fmla="*/ 217 h 330"/>
                <a:gd name="T12" fmla="*/ 287 w 325"/>
                <a:gd name="T13" fmla="*/ 204 h 330"/>
                <a:gd name="T14" fmla="*/ 270 w 325"/>
                <a:gd name="T15" fmla="*/ 170 h 330"/>
                <a:gd name="T16" fmla="*/ 260 w 325"/>
                <a:gd name="T17" fmla="*/ 142 h 330"/>
                <a:gd name="T18" fmla="*/ 268 w 325"/>
                <a:gd name="T19" fmla="*/ 142 h 330"/>
                <a:gd name="T20" fmla="*/ 266 w 325"/>
                <a:gd name="T21" fmla="*/ 135 h 330"/>
                <a:gd name="T22" fmla="*/ 252 w 325"/>
                <a:gd name="T23" fmla="*/ 124 h 330"/>
                <a:gd name="T24" fmla="*/ 234 w 325"/>
                <a:gd name="T25" fmla="*/ 102 h 330"/>
                <a:gd name="T26" fmla="*/ 226 w 325"/>
                <a:gd name="T27" fmla="*/ 90 h 330"/>
                <a:gd name="T28" fmla="*/ 226 w 325"/>
                <a:gd name="T29" fmla="*/ 82 h 330"/>
                <a:gd name="T30" fmla="*/ 218 w 325"/>
                <a:gd name="T31" fmla="*/ 65 h 330"/>
                <a:gd name="T32" fmla="*/ 221 w 325"/>
                <a:gd name="T33" fmla="*/ 66 h 330"/>
                <a:gd name="T34" fmla="*/ 226 w 325"/>
                <a:gd name="T35" fmla="*/ 76 h 330"/>
                <a:gd name="T36" fmla="*/ 233 w 325"/>
                <a:gd name="T37" fmla="*/ 87 h 330"/>
                <a:gd name="T38" fmla="*/ 245 w 325"/>
                <a:gd name="T39" fmla="*/ 110 h 330"/>
                <a:gd name="T40" fmla="*/ 254 w 325"/>
                <a:gd name="T41" fmla="*/ 120 h 330"/>
                <a:gd name="T42" fmla="*/ 265 w 325"/>
                <a:gd name="T43" fmla="*/ 130 h 330"/>
                <a:gd name="T44" fmla="*/ 278 w 325"/>
                <a:gd name="T45" fmla="*/ 125 h 330"/>
                <a:gd name="T46" fmla="*/ 279 w 325"/>
                <a:gd name="T47" fmla="*/ 105 h 330"/>
                <a:gd name="T48" fmla="*/ 285 w 325"/>
                <a:gd name="T49" fmla="*/ 77 h 330"/>
                <a:gd name="T50" fmla="*/ 260 w 325"/>
                <a:gd name="T51" fmla="*/ 11 h 330"/>
                <a:gd name="T52" fmla="*/ 234 w 325"/>
                <a:gd name="T53" fmla="*/ 16 h 330"/>
                <a:gd name="T54" fmla="*/ 223 w 325"/>
                <a:gd name="T55" fmla="*/ 18 h 330"/>
                <a:gd name="T56" fmla="*/ 214 w 325"/>
                <a:gd name="T57" fmla="*/ 15 h 330"/>
                <a:gd name="T58" fmla="*/ 200 w 325"/>
                <a:gd name="T59" fmla="*/ 13 h 330"/>
                <a:gd name="T60" fmla="*/ 203 w 325"/>
                <a:gd name="T61" fmla="*/ 8 h 330"/>
                <a:gd name="T62" fmla="*/ 191 w 325"/>
                <a:gd name="T63" fmla="*/ 6 h 330"/>
                <a:gd name="T64" fmla="*/ 176 w 325"/>
                <a:gd name="T65" fmla="*/ 0 h 330"/>
                <a:gd name="T66" fmla="*/ 158 w 325"/>
                <a:gd name="T67" fmla="*/ 6 h 330"/>
                <a:gd name="T68" fmla="*/ 149 w 325"/>
                <a:gd name="T69" fmla="*/ 12 h 330"/>
                <a:gd name="T70" fmla="*/ 132 w 325"/>
                <a:gd name="T71" fmla="*/ 22 h 330"/>
                <a:gd name="T72" fmla="*/ 114 w 325"/>
                <a:gd name="T73" fmla="*/ 23 h 330"/>
                <a:gd name="T74" fmla="*/ 95 w 325"/>
                <a:gd name="T75" fmla="*/ 18 h 330"/>
                <a:gd name="T76" fmla="*/ 83 w 325"/>
                <a:gd name="T77" fmla="*/ 13 h 330"/>
                <a:gd name="T78" fmla="*/ 80 w 325"/>
                <a:gd name="T79" fmla="*/ 16 h 330"/>
                <a:gd name="T80" fmla="*/ 65 w 325"/>
                <a:gd name="T81" fmla="*/ 7 h 330"/>
                <a:gd name="T82" fmla="*/ 39 w 325"/>
                <a:gd name="T83" fmla="*/ 2 h 330"/>
                <a:gd name="T84" fmla="*/ 20 w 325"/>
                <a:gd name="T85" fmla="*/ 4 h 330"/>
                <a:gd name="T86" fmla="*/ 14 w 325"/>
                <a:gd name="T87" fmla="*/ 4 h 330"/>
                <a:gd name="T88" fmla="*/ 4 w 325"/>
                <a:gd name="T89" fmla="*/ 10 h 330"/>
                <a:gd name="T90" fmla="*/ 3 w 325"/>
                <a:gd name="T91" fmla="*/ 45 h 330"/>
                <a:gd name="T92" fmla="*/ 19 w 325"/>
                <a:gd name="T93" fmla="*/ 321 h 330"/>
                <a:gd name="T94" fmla="*/ 132 w 325"/>
                <a:gd name="T95" fmla="*/ 321 h 330"/>
                <a:gd name="T96" fmla="*/ 189 w 325"/>
                <a:gd name="T97" fmla="*/ 321 h 330"/>
                <a:gd name="T98" fmla="*/ 194 w 325"/>
                <a:gd name="T99" fmla="*/ 322 h 330"/>
                <a:gd name="T100" fmla="*/ 203 w 325"/>
                <a:gd name="T101" fmla="*/ 314 h 330"/>
                <a:gd name="T102" fmla="*/ 217 w 325"/>
                <a:gd name="T103" fmla="*/ 322 h 330"/>
                <a:gd name="T104" fmla="*/ 257 w 325"/>
                <a:gd name="T105" fmla="*/ 325 h 330"/>
                <a:gd name="T106" fmla="*/ 277 w 325"/>
                <a:gd name="T107" fmla="*/ 321 h 330"/>
                <a:gd name="T108" fmla="*/ 297 w 325"/>
                <a:gd name="T109" fmla="*/ 303 h 330"/>
                <a:gd name="T110" fmla="*/ 317 w 325"/>
                <a:gd name="T111" fmla="*/ 286 h 330"/>
                <a:gd name="T112" fmla="*/ 318 w 325"/>
                <a:gd name="T113" fmla="*/ 278 h 330"/>
                <a:gd name="T114" fmla="*/ 255 w 325"/>
                <a:gd name="T115" fmla="*/ 136 h 330"/>
                <a:gd name="T116" fmla="*/ 255 w 325"/>
                <a:gd name="T117" fmla="*/ 13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5" h="330">
                  <a:moveTo>
                    <a:pt x="316" y="258"/>
                  </a:moveTo>
                  <a:cubicBezTo>
                    <a:pt x="316" y="258"/>
                    <a:pt x="316" y="258"/>
                    <a:pt x="316" y="258"/>
                  </a:cubicBezTo>
                  <a:cubicBezTo>
                    <a:pt x="316" y="258"/>
                    <a:pt x="317" y="258"/>
                    <a:pt x="317" y="258"/>
                  </a:cubicBezTo>
                  <a:cubicBezTo>
                    <a:pt x="318" y="258"/>
                    <a:pt x="319" y="258"/>
                    <a:pt x="319" y="258"/>
                  </a:cubicBezTo>
                  <a:cubicBezTo>
                    <a:pt x="320" y="258"/>
                    <a:pt x="321" y="258"/>
                    <a:pt x="322" y="258"/>
                  </a:cubicBezTo>
                  <a:cubicBezTo>
                    <a:pt x="325" y="258"/>
                    <a:pt x="325" y="258"/>
                    <a:pt x="325" y="258"/>
                  </a:cubicBezTo>
                  <a:cubicBezTo>
                    <a:pt x="323" y="255"/>
                    <a:pt x="323" y="255"/>
                    <a:pt x="323" y="255"/>
                  </a:cubicBezTo>
                  <a:cubicBezTo>
                    <a:pt x="322" y="254"/>
                    <a:pt x="321" y="253"/>
                    <a:pt x="320" y="253"/>
                  </a:cubicBezTo>
                  <a:cubicBezTo>
                    <a:pt x="320" y="253"/>
                    <a:pt x="320" y="253"/>
                    <a:pt x="320" y="253"/>
                  </a:cubicBezTo>
                  <a:cubicBezTo>
                    <a:pt x="319" y="252"/>
                    <a:pt x="318" y="251"/>
                    <a:pt x="317" y="251"/>
                  </a:cubicBezTo>
                  <a:cubicBezTo>
                    <a:pt x="317" y="250"/>
                    <a:pt x="317" y="250"/>
                    <a:pt x="317" y="250"/>
                  </a:cubicBezTo>
                  <a:cubicBezTo>
                    <a:pt x="316" y="249"/>
                    <a:pt x="315" y="249"/>
                    <a:pt x="315" y="248"/>
                  </a:cubicBezTo>
                  <a:cubicBezTo>
                    <a:pt x="314" y="247"/>
                    <a:pt x="313" y="246"/>
                    <a:pt x="313" y="246"/>
                  </a:cubicBezTo>
                  <a:cubicBezTo>
                    <a:pt x="312" y="245"/>
                    <a:pt x="312" y="245"/>
                    <a:pt x="311" y="244"/>
                  </a:cubicBezTo>
                  <a:cubicBezTo>
                    <a:pt x="310" y="243"/>
                    <a:pt x="309" y="242"/>
                    <a:pt x="308" y="241"/>
                  </a:cubicBezTo>
                  <a:cubicBezTo>
                    <a:pt x="308" y="241"/>
                    <a:pt x="308" y="240"/>
                    <a:pt x="308" y="240"/>
                  </a:cubicBezTo>
                  <a:cubicBezTo>
                    <a:pt x="307" y="239"/>
                    <a:pt x="307" y="239"/>
                    <a:pt x="307" y="238"/>
                  </a:cubicBezTo>
                  <a:cubicBezTo>
                    <a:pt x="306" y="237"/>
                    <a:pt x="306" y="236"/>
                    <a:pt x="305" y="236"/>
                  </a:cubicBezTo>
                  <a:cubicBezTo>
                    <a:pt x="305" y="236"/>
                    <a:pt x="304" y="235"/>
                    <a:pt x="304" y="235"/>
                  </a:cubicBezTo>
                  <a:cubicBezTo>
                    <a:pt x="303" y="233"/>
                    <a:pt x="302" y="230"/>
                    <a:pt x="301" y="228"/>
                  </a:cubicBezTo>
                  <a:cubicBezTo>
                    <a:pt x="301" y="227"/>
                    <a:pt x="300" y="227"/>
                    <a:pt x="300" y="226"/>
                  </a:cubicBezTo>
                  <a:cubicBezTo>
                    <a:pt x="299" y="224"/>
                    <a:pt x="298" y="222"/>
                    <a:pt x="297" y="220"/>
                  </a:cubicBezTo>
                  <a:cubicBezTo>
                    <a:pt x="296" y="219"/>
                    <a:pt x="296" y="219"/>
                    <a:pt x="295" y="218"/>
                  </a:cubicBezTo>
                  <a:cubicBezTo>
                    <a:pt x="295" y="217"/>
                    <a:pt x="295" y="217"/>
                    <a:pt x="295" y="217"/>
                  </a:cubicBezTo>
                  <a:cubicBezTo>
                    <a:pt x="294" y="215"/>
                    <a:pt x="292" y="213"/>
                    <a:pt x="291" y="211"/>
                  </a:cubicBezTo>
                  <a:cubicBezTo>
                    <a:pt x="291" y="211"/>
                    <a:pt x="291" y="210"/>
                    <a:pt x="290" y="209"/>
                  </a:cubicBezTo>
                  <a:cubicBezTo>
                    <a:pt x="290" y="208"/>
                    <a:pt x="290" y="208"/>
                    <a:pt x="289" y="207"/>
                  </a:cubicBezTo>
                  <a:cubicBezTo>
                    <a:pt x="289" y="206"/>
                    <a:pt x="288" y="205"/>
                    <a:pt x="287" y="204"/>
                  </a:cubicBezTo>
                  <a:cubicBezTo>
                    <a:pt x="287" y="203"/>
                    <a:pt x="287" y="203"/>
                    <a:pt x="286" y="202"/>
                  </a:cubicBezTo>
                  <a:cubicBezTo>
                    <a:pt x="285" y="200"/>
                    <a:pt x="285" y="199"/>
                    <a:pt x="284" y="196"/>
                  </a:cubicBezTo>
                  <a:cubicBezTo>
                    <a:pt x="283" y="195"/>
                    <a:pt x="283" y="194"/>
                    <a:pt x="282" y="193"/>
                  </a:cubicBezTo>
                  <a:cubicBezTo>
                    <a:pt x="279" y="185"/>
                    <a:pt x="275" y="177"/>
                    <a:pt x="270" y="170"/>
                  </a:cubicBezTo>
                  <a:cubicBezTo>
                    <a:pt x="268" y="167"/>
                    <a:pt x="266" y="163"/>
                    <a:pt x="266" y="158"/>
                  </a:cubicBezTo>
                  <a:cubicBezTo>
                    <a:pt x="266" y="157"/>
                    <a:pt x="265" y="156"/>
                    <a:pt x="265" y="155"/>
                  </a:cubicBezTo>
                  <a:cubicBezTo>
                    <a:pt x="265" y="152"/>
                    <a:pt x="264" y="147"/>
                    <a:pt x="262" y="144"/>
                  </a:cubicBezTo>
                  <a:cubicBezTo>
                    <a:pt x="261" y="143"/>
                    <a:pt x="261" y="143"/>
                    <a:pt x="260" y="142"/>
                  </a:cubicBezTo>
                  <a:cubicBezTo>
                    <a:pt x="260" y="142"/>
                    <a:pt x="260" y="141"/>
                    <a:pt x="259" y="141"/>
                  </a:cubicBezTo>
                  <a:cubicBezTo>
                    <a:pt x="260" y="141"/>
                    <a:pt x="261" y="141"/>
                    <a:pt x="261" y="140"/>
                  </a:cubicBezTo>
                  <a:cubicBezTo>
                    <a:pt x="263" y="141"/>
                    <a:pt x="266" y="142"/>
                    <a:pt x="266" y="142"/>
                  </a:cubicBezTo>
                  <a:cubicBezTo>
                    <a:pt x="268" y="142"/>
                    <a:pt x="268" y="142"/>
                    <a:pt x="268" y="142"/>
                  </a:cubicBezTo>
                  <a:cubicBezTo>
                    <a:pt x="268" y="141"/>
                    <a:pt x="268" y="141"/>
                    <a:pt x="268" y="141"/>
                  </a:cubicBezTo>
                  <a:cubicBezTo>
                    <a:pt x="269" y="140"/>
                    <a:pt x="269" y="139"/>
                    <a:pt x="269" y="138"/>
                  </a:cubicBezTo>
                  <a:cubicBezTo>
                    <a:pt x="269" y="137"/>
                    <a:pt x="267" y="136"/>
                    <a:pt x="266" y="135"/>
                  </a:cubicBezTo>
                  <a:cubicBezTo>
                    <a:pt x="266" y="135"/>
                    <a:pt x="266" y="135"/>
                    <a:pt x="266" y="135"/>
                  </a:cubicBezTo>
                  <a:cubicBezTo>
                    <a:pt x="264" y="134"/>
                    <a:pt x="262" y="132"/>
                    <a:pt x="260" y="131"/>
                  </a:cubicBezTo>
                  <a:cubicBezTo>
                    <a:pt x="259" y="130"/>
                    <a:pt x="258" y="129"/>
                    <a:pt x="257" y="128"/>
                  </a:cubicBezTo>
                  <a:cubicBezTo>
                    <a:pt x="256" y="127"/>
                    <a:pt x="256" y="126"/>
                    <a:pt x="255" y="125"/>
                  </a:cubicBezTo>
                  <a:cubicBezTo>
                    <a:pt x="254" y="125"/>
                    <a:pt x="253" y="124"/>
                    <a:pt x="252" y="124"/>
                  </a:cubicBezTo>
                  <a:cubicBezTo>
                    <a:pt x="251" y="123"/>
                    <a:pt x="251" y="122"/>
                    <a:pt x="250" y="121"/>
                  </a:cubicBezTo>
                  <a:cubicBezTo>
                    <a:pt x="245" y="116"/>
                    <a:pt x="242" y="112"/>
                    <a:pt x="239" y="108"/>
                  </a:cubicBezTo>
                  <a:cubicBezTo>
                    <a:pt x="238" y="107"/>
                    <a:pt x="238" y="107"/>
                    <a:pt x="238" y="107"/>
                  </a:cubicBezTo>
                  <a:cubicBezTo>
                    <a:pt x="237" y="105"/>
                    <a:pt x="235" y="104"/>
                    <a:pt x="234" y="102"/>
                  </a:cubicBezTo>
                  <a:cubicBezTo>
                    <a:pt x="234" y="101"/>
                    <a:pt x="233" y="100"/>
                    <a:pt x="233" y="99"/>
                  </a:cubicBezTo>
                  <a:cubicBezTo>
                    <a:pt x="232" y="98"/>
                    <a:pt x="232" y="96"/>
                    <a:pt x="231" y="95"/>
                  </a:cubicBezTo>
                  <a:cubicBezTo>
                    <a:pt x="230" y="94"/>
                    <a:pt x="229" y="93"/>
                    <a:pt x="228" y="92"/>
                  </a:cubicBezTo>
                  <a:cubicBezTo>
                    <a:pt x="227" y="91"/>
                    <a:pt x="226" y="90"/>
                    <a:pt x="226" y="90"/>
                  </a:cubicBezTo>
                  <a:cubicBezTo>
                    <a:pt x="226" y="89"/>
                    <a:pt x="226" y="89"/>
                    <a:pt x="226" y="88"/>
                  </a:cubicBezTo>
                  <a:cubicBezTo>
                    <a:pt x="226" y="87"/>
                    <a:pt x="226" y="87"/>
                    <a:pt x="226" y="86"/>
                  </a:cubicBezTo>
                  <a:cubicBezTo>
                    <a:pt x="226" y="86"/>
                    <a:pt x="226" y="85"/>
                    <a:pt x="226" y="84"/>
                  </a:cubicBezTo>
                  <a:cubicBezTo>
                    <a:pt x="226" y="84"/>
                    <a:pt x="226" y="83"/>
                    <a:pt x="226" y="82"/>
                  </a:cubicBezTo>
                  <a:cubicBezTo>
                    <a:pt x="226" y="79"/>
                    <a:pt x="224" y="77"/>
                    <a:pt x="222" y="74"/>
                  </a:cubicBezTo>
                  <a:cubicBezTo>
                    <a:pt x="221" y="73"/>
                    <a:pt x="220" y="73"/>
                    <a:pt x="219" y="72"/>
                  </a:cubicBezTo>
                  <a:cubicBezTo>
                    <a:pt x="218" y="71"/>
                    <a:pt x="217" y="71"/>
                    <a:pt x="217" y="70"/>
                  </a:cubicBezTo>
                  <a:cubicBezTo>
                    <a:pt x="216" y="69"/>
                    <a:pt x="217" y="66"/>
                    <a:pt x="218" y="65"/>
                  </a:cubicBezTo>
                  <a:cubicBezTo>
                    <a:pt x="219" y="64"/>
                    <a:pt x="219" y="63"/>
                    <a:pt x="220" y="62"/>
                  </a:cubicBezTo>
                  <a:cubicBezTo>
                    <a:pt x="220" y="62"/>
                    <a:pt x="220" y="62"/>
                    <a:pt x="220" y="62"/>
                  </a:cubicBezTo>
                  <a:cubicBezTo>
                    <a:pt x="220" y="63"/>
                    <a:pt x="220" y="64"/>
                    <a:pt x="221" y="65"/>
                  </a:cubicBezTo>
                  <a:cubicBezTo>
                    <a:pt x="221" y="65"/>
                    <a:pt x="221" y="66"/>
                    <a:pt x="221" y="66"/>
                  </a:cubicBezTo>
                  <a:cubicBezTo>
                    <a:pt x="222" y="67"/>
                    <a:pt x="222" y="67"/>
                    <a:pt x="222" y="68"/>
                  </a:cubicBezTo>
                  <a:cubicBezTo>
                    <a:pt x="222" y="68"/>
                    <a:pt x="222" y="69"/>
                    <a:pt x="223" y="69"/>
                  </a:cubicBezTo>
                  <a:cubicBezTo>
                    <a:pt x="223" y="70"/>
                    <a:pt x="223" y="72"/>
                    <a:pt x="224" y="73"/>
                  </a:cubicBezTo>
                  <a:cubicBezTo>
                    <a:pt x="225" y="74"/>
                    <a:pt x="225" y="75"/>
                    <a:pt x="226" y="76"/>
                  </a:cubicBezTo>
                  <a:cubicBezTo>
                    <a:pt x="226" y="77"/>
                    <a:pt x="227" y="78"/>
                    <a:pt x="228" y="80"/>
                  </a:cubicBezTo>
                  <a:cubicBezTo>
                    <a:pt x="228" y="80"/>
                    <a:pt x="228" y="80"/>
                    <a:pt x="228" y="80"/>
                  </a:cubicBezTo>
                  <a:cubicBezTo>
                    <a:pt x="229" y="83"/>
                    <a:pt x="231" y="85"/>
                    <a:pt x="233" y="86"/>
                  </a:cubicBezTo>
                  <a:cubicBezTo>
                    <a:pt x="233" y="87"/>
                    <a:pt x="233" y="87"/>
                    <a:pt x="233" y="87"/>
                  </a:cubicBezTo>
                  <a:cubicBezTo>
                    <a:pt x="235" y="89"/>
                    <a:pt x="237" y="90"/>
                    <a:pt x="237" y="91"/>
                  </a:cubicBezTo>
                  <a:cubicBezTo>
                    <a:pt x="237" y="93"/>
                    <a:pt x="237" y="94"/>
                    <a:pt x="237" y="96"/>
                  </a:cubicBezTo>
                  <a:cubicBezTo>
                    <a:pt x="238" y="97"/>
                    <a:pt x="238" y="98"/>
                    <a:pt x="238" y="99"/>
                  </a:cubicBezTo>
                  <a:cubicBezTo>
                    <a:pt x="238" y="104"/>
                    <a:pt x="242" y="107"/>
                    <a:pt x="245" y="110"/>
                  </a:cubicBezTo>
                  <a:cubicBezTo>
                    <a:pt x="246" y="111"/>
                    <a:pt x="247" y="112"/>
                    <a:pt x="247" y="112"/>
                  </a:cubicBezTo>
                  <a:cubicBezTo>
                    <a:pt x="248" y="113"/>
                    <a:pt x="249" y="114"/>
                    <a:pt x="249" y="114"/>
                  </a:cubicBezTo>
                  <a:cubicBezTo>
                    <a:pt x="250" y="115"/>
                    <a:pt x="251" y="117"/>
                    <a:pt x="252" y="118"/>
                  </a:cubicBezTo>
                  <a:cubicBezTo>
                    <a:pt x="253" y="118"/>
                    <a:pt x="253" y="119"/>
                    <a:pt x="254" y="120"/>
                  </a:cubicBezTo>
                  <a:cubicBezTo>
                    <a:pt x="255" y="122"/>
                    <a:pt x="256" y="123"/>
                    <a:pt x="258" y="125"/>
                  </a:cubicBezTo>
                  <a:cubicBezTo>
                    <a:pt x="259" y="125"/>
                    <a:pt x="260" y="126"/>
                    <a:pt x="261" y="127"/>
                  </a:cubicBezTo>
                  <a:cubicBezTo>
                    <a:pt x="262" y="127"/>
                    <a:pt x="263" y="128"/>
                    <a:pt x="264" y="129"/>
                  </a:cubicBezTo>
                  <a:cubicBezTo>
                    <a:pt x="264" y="129"/>
                    <a:pt x="265" y="129"/>
                    <a:pt x="265" y="130"/>
                  </a:cubicBezTo>
                  <a:cubicBezTo>
                    <a:pt x="266" y="131"/>
                    <a:pt x="268" y="133"/>
                    <a:pt x="270" y="133"/>
                  </a:cubicBezTo>
                  <a:cubicBezTo>
                    <a:pt x="271" y="133"/>
                    <a:pt x="272" y="132"/>
                    <a:pt x="273" y="132"/>
                  </a:cubicBezTo>
                  <a:cubicBezTo>
                    <a:pt x="274" y="130"/>
                    <a:pt x="275" y="129"/>
                    <a:pt x="276" y="127"/>
                  </a:cubicBezTo>
                  <a:cubicBezTo>
                    <a:pt x="277" y="126"/>
                    <a:pt x="277" y="125"/>
                    <a:pt x="278" y="125"/>
                  </a:cubicBezTo>
                  <a:cubicBezTo>
                    <a:pt x="280" y="122"/>
                    <a:pt x="280" y="120"/>
                    <a:pt x="279" y="116"/>
                  </a:cubicBezTo>
                  <a:cubicBezTo>
                    <a:pt x="279" y="116"/>
                    <a:pt x="278" y="116"/>
                    <a:pt x="278" y="115"/>
                  </a:cubicBezTo>
                  <a:cubicBezTo>
                    <a:pt x="277" y="113"/>
                    <a:pt x="277" y="112"/>
                    <a:pt x="277" y="110"/>
                  </a:cubicBezTo>
                  <a:cubicBezTo>
                    <a:pt x="278" y="109"/>
                    <a:pt x="278" y="107"/>
                    <a:pt x="279" y="105"/>
                  </a:cubicBezTo>
                  <a:cubicBezTo>
                    <a:pt x="280" y="104"/>
                    <a:pt x="280" y="103"/>
                    <a:pt x="280" y="102"/>
                  </a:cubicBezTo>
                  <a:cubicBezTo>
                    <a:pt x="282" y="98"/>
                    <a:pt x="282" y="93"/>
                    <a:pt x="283" y="88"/>
                  </a:cubicBezTo>
                  <a:cubicBezTo>
                    <a:pt x="283" y="86"/>
                    <a:pt x="283" y="84"/>
                    <a:pt x="283" y="82"/>
                  </a:cubicBezTo>
                  <a:cubicBezTo>
                    <a:pt x="284" y="81"/>
                    <a:pt x="284" y="78"/>
                    <a:pt x="285" y="77"/>
                  </a:cubicBezTo>
                  <a:cubicBezTo>
                    <a:pt x="285" y="77"/>
                    <a:pt x="285" y="77"/>
                    <a:pt x="285" y="77"/>
                  </a:cubicBezTo>
                  <a:cubicBezTo>
                    <a:pt x="285" y="67"/>
                    <a:pt x="285" y="67"/>
                    <a:pt x="285" y="67"/>
                  </a:cubicBezTo>
                  <a:cubicBezTo>
                    <a:pt x="262" y="10"/>
                    <a:pt x="262" y="10"/>
                    <a:pt x="262" y="10"/>
                  </a:cubicBezTo>
                  <a:cubicBezTo>
                    <a:pt x="260" y="11"/>
                    <a:pt x="260" y="11"/>
                    <a:pt x="260" y="11"/>
                  </a:cubicBezTo>
                  <a:cubicBezTo>
                    <a:pt x="256" y="14"/>
                    <a:pt x="250" y="15"/>
                    <a:pt x="245" y="16"/>
                  </a:cubicBezTo>
                  <a:cubicBezTo>
                    <a:pt x="243" y="16"/>
                    <a:pt x="243" y="16"/>
                    <a:pt x="243" y="16"/>
                  </a:cubicBezTo>
                  <a:cubicBezTo>
                    <a:pt x="241" y="16"/>
                    <a:pt x="239" y="16"/>
                    <a:pt x="237" y="16"/>
                  </a:cubicBezTo>
                  <a:cubicBezTo>
                    <a:pt x="236" y="16"/>
                    <a:pt x="235" y="16"/>
                    <a:pt x="234" y="16"/>
                  </a:cubicBezTo>
                  <a:cubicBezTo>
                    <a:pt x="233" y="16"/>
                    <a:pt x="233" y="16"/>
                    <a:pt x="233" y="16"/>
                  </a:cubicBezTo>
                  <a:cubicBezTo>
                    <a:pt x="232" y="16"/>
                    <a:pt x="231" y="16"/>
                    <a:pt x="230" y="16"/>
                  </a:cubicBezTo>
                  <a:cubicBezTo>
                    <a:pt x="229" y="16"/>
                    <a:pt x="228" y="16"/>
                    <a:pt x="227" y="16"/>
                  </a:cubicBezTo>
                  <a:cubicBezTo>
                    <a:pt x="226" y="16"/>
                    <a:pt x="224" y="17"/>
                    <a:pt x="223" y="18"/>
                  </a:cubicBezTo>
                  <a:cubicBezTo>
                    <a:pt x="223" y="18"/>
                    <a:pt x="222" y="19"/>
                    <a:pt x="222" y="19"/>
                  </a:cubicBezTo>
                  <a:cubicBezTo>
                    <a:pt x="221" y="19"/>
                    <a:pt x="221" y="19"/>
                    <a:pt x="221" y="19"/>
                  </a:cubicBezTo>
                  <a:cubicBezTo>
                    <a:pt x="220" y="19"/>
                    <a:pt x="218" y="18"/>
                    <a:pt x="217" y="17"/>
                  </a:cubicBezTo>
                  <a:cubicBezTo>
                    <a:pt x="216" y="16"/>
                    <a:pt x="215" y="15"/>
                    <a:pt x="214" y="15"/>
                  </a:cubicBezTo>
                  <a:cubicBezTo>
                    <a:pt x="213" y="14"/>
                    <a:pt x="212" y="14"/>
                    <a:pt x="211" y="14"/>
                  </a:cubicBezTo>
                  <a:cubicBezTo>
                    <a:pt x="209" y="14"/>
                    <a:pt x="207" y="15"/>
                    <a:pt x="205" y="17"/>
                  </a:cubicBezTo>
                  <a:cubicBezTo>
                    <a:pt x="204" y="15"/>
                    <a:pt x="204" y="14"/>
                    <a:pt x="202" y="13"/>
                  </a:cubicBezTo>
                  <a:cubicBezTo>
                    <a:pt x="201" y="13"/>
                    <a:pt x="200" y="13"/>
                    <a:pt x="200" y="13"/>
                  </a:cubicBezTo>
                  <a:cubicBezTo>
                    <a:pt x="199" y="13"/>
                    <a:pt x="199" y="13"/>
                    <a:pt x="199" y="13"/>
                  </a:cubicBezTo>
                  <a:cubicBezTo>
                    <a:pt x="199" y="12"/>
                    <a:pt x="199" y="12"/>
                    <a:pt x="199" y="12"/>
                  </a:cubicBezTo>
                  <a:cubicBezTo>
                    <a:pt x="200" y="12"/>
                    <a:pt x="201" y="12"/>
                    <a:pt x="202" y="11"/>
                  </a:cubicBezTo>
                  <a:cubicBezTo>
                    <a:pt x="203" y="10"/>
                    <a:pt x="203" y="9"/>
                    <a:pt x="203" y="8"/>
                  </a:cubicBezTo>
                  <a:cubicBezTo>
                    <a:pt x="202" y="6"/>
                    <a:pt x="199" y="5"/>
                    <a:pt x="199" y="5"/>
                  </a:cubicBezTo>
                  <a:cubicBezTo>
                    <a:pt x="198" y="4"/>
                    <a:pt x="197" y="4"/>
                    <a:pt x="196" y="4"/>
                  </a:cubicBezTo>
                  <a:cubicBezTo>
                    <a:pt x="195" y="4"/>
                    <a:pt x="194" y="4"/>
                    <a:pt x="193" y="5"/>
                  </a:cubicBezTo>
                  <a:cubicBezTo>
                    <a:pt x="192" y="5"/>
                    <a:pt x="192" y="5"/>
                    <a:pt x="191" y="6"/>
                  </a:cubicBezTo>
                  <a:cubicBezTo>
                    <a:pt x="191" y="6"/>
                    <a:pt x="190" y="7"/>
                    <a:pt x="190" y="7"/>
                  </a:cubicBezTo>
                  <a:cubicBezTo>
                    <a:pt x="189" y="7"/>
                    <a:pt x="188" y="6"/>
                    <a:pt x="188" y="6"/>
                  </a:cubicBezTo>
                  <a:cubicBezTo>
                    <a:pt x="187" y="5"/>
                    <a:pt x="186" y="5"/>
                    <a:pt x="185" y="4"/>
                  </a:cubicBezTo>
                  <a:cubicBezTo>
                    <a:pt x="182" y="2"/>
                    <a:pt x="179" y="0"/>
                    <a:pt x="176" y="0"/>
                  </a:cubicBezTo>
                  <a:cubicBezTo>
                    <a:pt x="175" y="0"/>
                    <a:pt x="175" y="0"/>
                    <a:pt x="174" y="0"/>
                  </a:cubicBezTo>
                  <a:cubicBezTo>
                    <a:pt x="173" y="0"/>
                    <a:pt x="163" y="3"/>
                    <a:pt x="162" y="6"/>
                  </a:cubicBezTo>
                  <a:cubicBezTo>
                    <a:pt x="162" y="6"/>
                    <a:pt x="161" y="6"/>
                    <a:pt x="161" y="6"/>
                  </a:cubicBezTo>
                  <a:cubicBezTo>
                    <a:pt x="160" y="6"/>
                    <a:pt x="159" y="6"/>
                    <a:pt x="158" y="6"/>
                  </a:cubicBezTo>
                  <a:cubicBezTo>
                    <a:pt x="158" y="6"/>
                    <a:pt x="158" y="6"/>
                    <a:pt x="158" y="6"/>
                  </a:cubicBezTo>
                  <a:cubicBezTo>
                    <a:pt x="155" y="6"/>
                    <a:pt x="154" y="8"/>
                    <a:pt x="153" y="10"/>
                  </a:cubicBezTo>
                  <a:cubicBezTo>
                    <a:pt x="153" y="11"/>
                    <a:pt x="152" y="11"/>
                    <a:pt x="152" y="12"/>
                  </a:cubicBezTo>
                  <a:cubicBezTo>
                    <a:pt x="151" y="12"/>
                    <a:pt x="151" y="12"/>
                    <a:pt x="149" y="12"/>
                  </a:cubicBezTo>
                  <a:cubicBezTo>
                    <a:pt x="148" y="12"/>
                    <a:pt x="148" y="12"/>
                    <a:pt x="148" y="12"/>
                  </a:cubicBezTo>
                  <a:cubicBezTo>
                    <a:pt x="147" y="12"/>
                    <a:pt x="147" y="13"/>
                    <a:pt x="146" y="13"/>
                  </a:cubicBezTo>
                  <a:cubicBezTo>
                    <a:pt x="142" y="13"/>
                    <a:pt x="139" y="16"/>
                    <a:pt x="136" y="19"/>
                  </a:cubicBezTo>
                  <a:cubicBezTo>
                    <a:pt x="134" y="20"/>
                    <a:pt x="133" y="22"/>
                    <a:pt x="132" y="22"/>
                  </a:cubicBezTo>
                  <a:cubicBezTo>
                    <a:pt x="128" y="25"/>
                    <a:pt x="125" y="26"/>
                    <a:pt x="122" y="26"/>
                  </a:cubicBezTo>
                  <a:cubicBezTo>
                    <a:pt x="121" y="26"/>
                    <a:pt x="120" y="26"/>
                    <a:pt x="119" y="26"/>
                  </a:cubicBezTo>
                  <a:cubicBezTo>
                    <a:pt x="118" y="25"/>
                    <a:pt x="117" y="25"/>
                    <a:pt x="116" y="24"/>
                  </a:cubicBezTo>
                  <a:cubicBezTo>
                    <a:pt x="115" y="23"/>
                    <a:pt x="115" y="23"/>
                    <a:pt x="114" y="23"/>
                  </a:cubicBezTo>
                  <a:cubicBezTo>
                    <a:pt x="113" y="22"/>
                    <a:pt x="111" y="21"/>
                    <a:pt x="110" y="21"/>
                  </a:cubicBezTo>
                  <a:cubicBezTo>
                    <a:pt x="109" y="20"/>
                    <a:pt x="108" y="20"/>
                    <a:pt x="107" y="20"/>
                  </a:cubicBezTo>
                  <a:cubicBezTo>
                    <a:pt x="104" y="18"/>
                    <a:pt x="102" y="18"/>
                    <a:pt x="99" y="18"/>
                  </a:cubicBezTo>
                  <a:cubicBezTo>
                    <a:pt x="98" y="18"/>
                    <a:pt x="96" y="18"/>
                    <a:pt x="95" y="18"/>
                  </a:cubicBezTo>
                  <a:cubicBezTo>
                    <a:pt x="94" y="18"/>
                    <a:pt x="93" y="18"/>
                    <a:pt x="91" y="17"/>
                  </a:cubicBezTo>
                  <a:cubicBezTo>
                    <a:pt x="90" y="17"/>
                    <a:pt x="90" y="17"/>
                    <a:pt x="89" y="16"/>
                  </a:cubicBezTo>
                  <a:cubicBezTo>
                    <a:pt x="89" y="16"/>
                    <a:pt x="88" y="15"/>
                    <a:pt x="88" y="15"/>
                  </a:cubicBezTo>
                  <a:cubicBezTo>
                    <a:pt x="86" y="14"/>
                    <a:pt x="84" y="13"/>
                    <a:pt x="83" y="13"/>
                  </a:cubicBezTo>
                  <a:cubicBezTo>
                    <a:pt x="82" y="13"/>
                    <a:pt x="82" y="13"/>
                    <a:pt x="81" y="13"/>
                  </a:cubicBezTo>
                  <a:cubicBezTo>
                    <a:pt x="81" y="14"/>
                    <a:pt x="80" y="14"/>
                    <a:pt x="80" y="14"/>
                  </a:cubicBezTo>
                  <a:cubicBezTo>
                    <a:pt x="80" y="16"/>
                    <a:pt x="80" y="16"/>
                    <a:pt x="80" y="16"/>
                  </a:cubicBezTo>
                  <a:cubicBezTo>
                    <a:pt x="80" y="16"/>
                    <a:pt x="80" y="16"/>
                    <a:pt x="80" y="16"/>
                  </a:cubicBezTo>
                  <a:cubicBezTo>
                    <a:pt x="80" y="14"/>
                    <a:pt x="80" y="14"/>
                    <a:pt x="80" y="14"/>
                  </a:cubicBezTo>
                  <a:cubicBezTo>
                    <a:pt x="77" y="13"/>
                    <a:pt x="76" y="13"/>
                    <a:pt x="75" y="12"/>
                  </a:cubicBezTo>
                  <a:cubicBezTo>
                    <a:pt x="72" y="10"/>
                    <a:pt x="71" y="9"/>
                    <a:pt x="68" y="8"/>
                  </a:cubicBezTo>
                  <a:cubicBezTo>
                    <a:pt x="67" y="8"/>
                    <a:pt x="66" y="8"/>
                    <a:pt x="65" y="7"/>
                  </a:cubicBezTo>
                  <a:cubicBezTo>
                    <a:pt x="64" y="7"/>
                    <a:pt x="63" y="6"/>
                    <a:pt x="62" y="6"/>
                  </a:cubicBezTo>
                  <a:cubicBezTo>
                    <a:pt x="60" y="6"/>
                    <a:pt x="60" y="6"/>
                    <a:pt x="60" y="6"/>
                  </a:cubicBezTo>
                  <a:cubicBezTo>
                    <a:pt x="58" y="6"/>
                    <a:pt x="56" y="5"/>
                    <a:pt x="54" y="5"/>
                  </a:cubicBezTo>
                  <a:cubicBezTo>
                    <a:pt x="47" y="5"/>
                    <a:pt x="42" y="4"/>
                    <a:pt x="39" y="2"/>
                  </a:cubicBezTo>
                  <a:cubicBezTo>
                    <a:pt x="37" y="1"/>
                    <a:pt x="34" y="1"/>
                    <a:pt x="32" y="1"/>
                  </a:cubicBezTo>
                  <a:cubicBezTo>
                    <a:pt x="29" y="1"/>
                    <a:pt x="27" y="1"/>
                    <a:pt x="25" y="2"/>
                  </a:cubicBezTo>
                  <a:cubicBezTo>
                    <a:pt x="24" y="2"/>
                    <a:pt x="24" y="3"/>
                    <a:pt x="23" y="3"/>
                  </a:cubicBezTo>
                  <a:cubicBezTo>
                    <a:pt x="22" y="3"/>
                    <a:pt x="21" y="3"/>
                    <a:pt x="20" y="4"/>
                  </a:cubicBezTo>
                  <a:cubicBezTo>
                    <a:pt x="19" y="4"/>
                    <a:pt x="19" y="4"/>
                    <a:pt x="18" y="4"/>
                  </a:cubicBezTo>
                  <a:cubicBezTo>
                    <a:pt x="18" y="4"/>
                    <a:pt x="17" y="4"/>
                    <a:pt x="17" y="4"/>
                  </a:cubicBezTo>
                  <a:cubicBezTo>
                    <a:pt x="16" y="4"/>
                    <a:pt x="16" y="4"/>
                    <a:pt x="15" y="4"/>
                  </a:cubicBezTo>
                  <a:cubicBezTo>
                    <a:pt x="15" y="4"/>
                    <a:pt x="14" y="4"/>
                    <a:pt x="14" y="4"/>
                  </a:cubicBezTo>
                  <a:cubicBezTo>
                    <a:pt x="14" y="4"/>
                    <a:pt x="13" y="4"/>
                    <a:pt x="13" y="4"/>
                  </a:cubicBezTo>
                  <a:cubicBezTo>
                    <a:pt x="13" y="4"/>
                    <a:pt x="12" y="0"/>
                    <a:pt x="12" y="0"/>
                  </a:cubicBezTo>
                  <a:cubicBezTo>
                    <a:pt x="9" y="3"/>
                    <a:pt x="9" y="3"/>
                    <a:pt x="9" y="3"/>
                  </a:cubicBezTo>
                  <a:cubicBezTo>
                    <a:pt x="7" y="5"/>
                    <a:pt x="5" y="8"/>
                    <a:pt x="4" y="10"/>
                  </a:cubicBezTo>
                  <a:cubicBezTo>
                    <a:pt x="2" y="14"/>
                    <a:pt x="3" y="18"/>
                    <a:pt x="5" y="21"/>
                  </a:cubicBezTo>
                  <a:cubicBezTo>
                    <a:pt x="5" y="22"/>
                    <a:pt x="5" y="23"/>
                    <a:pt x="6" y="24"/>
                  </a:cubicBezTo>
                  <a:cubicBezTo>
                    <a:pt x="7" y="29"/>
                    <a:pt x="8" y="35"/>
                    <a:pt x="6" y="40"/>
                  </a:cubicBezTo>
                  <a:cubicBezTo>
                    <a:pt x="6" y="42"/>
                    <a:pt x="5" y="43"/>
                    <a:pt x="3" y="45"/>
                  </a:cubicBezTo>
                  <a:cubicBezTo>
                    <a:pt x="1" y="47"/>
                    <a:pt x="0" y="49"/>
                    <a:pt x="0" y="53"/>
                  </a:cubicBezTo>
                  <a:cubicBezTo>
                    <a:pt x="10" y="81"/>
                    <a:pt x="10" y="81"/>
                    <a:pt x="10" y="81"/>
                  </a:cubicBezTo>
                  <a:cubicBezTo>
                    <a:pt x="17" y="321"/>
                    <a:pt x="17" y="321"/>
                    <a:pt x="17" y="321"/>
                  </a:cubicBezTo>
                  <a:cubicBezTo>
                    <a:pt x="19" y="321"/>
                    <a:pt x="19" y="321"/>
                    <a:pt x="19" y="321"/>
                  </a:cubicBezTo>
                  <a:cubicBezTo>
                    <a:pt x="28" y="321"/>
                    <a:pt x="37" y="321"/>
                    <a:pt x="46" y="321"/>
                  </a:cubicBezTo>
                  <a:cubicBezTo>
                    <a:pt x="56" y="321"/>
                    <a:pt x="66" y="321"/>
                    <a:pt x="77" y="321"/>
                  </a:cubicBezTo>
                  <a:cubicBezTo>
                    <a:pt x="93" y="321"/>
                    <a:pt x="93" y="321"/>
                    <a:pt x="93" y="321"/>
                  </a:cubicBezTo>
                  <a:cubicBezTo>
                    <a:pt x="106" y="321"/>
                    <a:pt x="119" y="321"/>
                    <a:pt x="132" y="321"/>
                  </a:cubicBezTo>
                  <a:cubicBezTo>
                    <a:pt x="147" y="321"/>
                    <a:pt x="161" y="321"/>
                    <a:pt x="173" y="321"/>
                  </a:cubicBezTo>
                  <a:cubicBezTo>
                    <a:pt x="178" y="321"/>
                    <a:pt x="178" y="321"/>
                    <a:pt x="178" y="321"/>
                  </a:cubicBezTo>
                  <a:cubicBezTo>
                    <a:pt x="180" y="321"/>
                    <a:pt x="183" y="321"/>
                    <a:pt x="186" y="321"/>
                  </a:cubicBezTo>
                  <a:cubicBezTo>
                    <a:pt x="187" y="321"/>
                    <a:pt x="188" y="321"/>
                    <a:pt x="189" y="321"/>
                  </a:cubicBezTo>
                  <a:cubicBezTo>
                    <a:pt x="190" y="321"/>
                    <a:pt x="191" y="321"/>
                    <a:pt x="191" y="321"/>
                  </a:cubicBezTo>
                  <a:cubicBezTo>
                    <a:pt x="192" y="322"/>
                    <a:pt x="193" y="322"/>
                    <a:pt x="193" y="322"/>
                  </a:cubicBezTo>
                  <a:cubicBezTo>
                    <a:pt x="194" y="322"/>
                    <a:pt x="194" y="322"/>
                    <a:pt x="194" y="322"/>
                  </a:cubicBezTo>
                  <a:cubicBezTo>
                    <a:pt x="194" y="322"/>
                    <a:pt x="194" y="322"/>
                    <a:pt x="194" y="322"/>
                  </a:cubicBezTo>
                  <a:cubicBezTo>
                    <a:pt x="196" y="321"/>
                    <a:pt x="197" y="319"/>
                    <a:pt x="198" y="317"/>
                  </a:cubicBezTo>
                  <a:cubicBezTo>
                    <a:pt x="199" y="316"/>
                    <a:pt x="200" y="314"/>
                    <a:pt x="201" y="314"/>
                  </a:cubicBezTo>
                  <a:cubicBezTo>
                    <a:pt x="201" y="314"/>
                    <a:pt x="201" y="314"/>
                    <a:pt x="202" y="314"/>
                  </a:cubicBezTo>
                  <a:cubicBezTo>
                    <a:pt x="202" y="314"/>
                    <a:pt x="202" y="314"/>
                    <a:pt x="203" y="314"/>
                  </a:cubicBezTo>
                  <a:cubicBezTo>
                    <a:pt x="204" y="315"/>
                    <a:pt x="204" y="317"/>
                    <a:pt x="204" y="319"/>
                  </a:cubicBezTo>
                  <a:cubicBezTo>
                    <a:pt x="203" y="321"/>
                    <a:pt x="203" y="321"/>
                    <a:pt x="203" y="321"/>
                  </a:cubicBezTo>
                  <a:cubicBezTo>
                    <a:pt x="205" y="321"/>
                    <a:pt x="205" y="321"/>
                    <a:pt x="205" y="321"/>
                  </a:cubicBezTo>
                  <a:cubicBezTo>
                    <a:pt x="209" y="322"/>
                    <a:pt x="213" y="322"/>
                    <a:pt x="217" y="322"/>
                  </a:cubicBezTo>
                  <a:cubicBezTo>
                    <a:pt x="223" y="322"/>
                    <a:pt x="229" y="322"/>
                    <a:pt x="234" y="321"/>
                  </a:cubicBezTo>
                  <a:cubicBezTo>
                    <a:pt x="237" y="321"/>
                    <a:pt x="237" y="321"/>
                    <a:pt x="237" y="321"/>
                  </a:cubicBezTo>
                  <a:cubicBezTo>
                    <a:pt x="239" y="321"/>
                    <a:pt x="241" y="321"/>
                    <a:pt x="243" y="321"/>
                  </a:cubicBezTo>
                  <a:cubicBezTo>
                    <a:pt x="248" y="321"/>
                    <a:pt x="253" y="321"/>
                    <a:pt x="257" y="325"/>
                  </a:cubicBezTo>
                  <a:cubicBezTo>
                    <a:pt x="259" y="328"/>
                    <a:pt x="264" y="330"/>
                    <a:pt x="268" y="330"/>
                  </a:cubicBezTo>
                  <a:cubicBezTo>
                    <a:pt x="268" y="330"/>
                    <a:pt x="269" y="330"/>
                    <a:pt x="269" y="330"/>
                  </a:cubicBezTo>
                  <a:cubicBezTo>
                    <a:pt x="272" y="329"/>
                    <a:pt x="274" y="328"/>
                    <a:pt x="275" y="325"/>
                  </a:cubicBezTo>
                  <a:cubicBezTo>
                    <a:pt x="276" y="324"/>
                    <a:pt x="276" y="323"/>
                    <a:pt x="277" y="321"/>
                  </a:cubicBezTo>
                  <a:cubicBezTo>
                    <a:pt x="277" y="319"/>
                    <a:pt x="278" y="317"/>
                    <a:pt x="280" y="315"/>
                  </a:cubicBezTo>
                  <a:cubicBezTo>
                    <a:pt x="282" y="314"/>
                    <a:pt x="284" y="314"/>
                    <a:pt x="286" y="313"/>
                  </a:cubicBezTo>
                  <a:cubicBezTo>
                    <a:pt x="287" y="313"/>
                    <a:pt x="289" y="313"/>
                    <a:pt x="290" y="313"/>
                  </a:cubicBezTo>
                  <a:cubicBezTo>
                    <a:pt x="294" y="311"/>
                    <a:pt x="296" y="307"/>
                    <a:pt x="297" y="303"/>
                  </a:cubicBezTo>
                  <a:cubicBezTo>
                    <a:pt x="298" y="300"/>
                    <a:pt x="299" y="297"/>
                    <a:pt x="301" y="295"/>
                  </a:cubicBezTo>
                  <a:cubicBezTo>
                    <a:pt x="303" y="294"/>
                    <a:pt x="304" y="294"/>
                    <a:pt x="306" y="293"/>
                  </a:cubicBezTo>
                  <a:cubicBezTo>
                    <a:pt x="308" y="293"/>
                    <a:pt x="309" y="293"/>
                    <a:pt x="311" y="292"/>
                  </a:cubicBezTo>
                  <a:cubicBezTo>
                    <a:pt x="314" y="291"/>
                    <a:pt x="315" y="288"/>
                    <a:pt x="317" y="286"/>
                  </a:cubicBezTo>
                  <a:cubicBezTo>
                    <a:pt x="318" y="285"/>
                    <a:pt x="318" y="285"/>
                    <a:pt x="318" y="284"/>
                  </a:cubicBezTo>
                  <a:cubicBezTo>
                    <a:pt x="320" y="283"/>
                    <a:pt x="320" y="283"/>
                    <a:pt x="320" y="283"/>
                  </a:cubicBezTo>
                  <a:cubicBezTo>
                    <a:pt x="320" y="283"/>
                    <a:pt x="319" y="281"/>
                    <a:pt x="319" y="281"/>
                  </a:cubicBezTo>
                  <a:cubicBezTo>
                    <a:pt x="319" y="280"/>
                    <a:pt x="318" y="279"/>
                    <a:pt x="318" y="278"/>
                  </a:cubicBezTo>
                  <a:cubicBezTo>
                    <a:pt x="317" y="275"/>
                    <a:pt x="316" y="272"/>
                    <a:pt x="316" y="269"/>
                  </a:cubicBezTo>
                  <a:cubicBezTo>
                    <a:pt x="316" y="266"/>
                    <a:pt x="316" y="263"/>
                    <a:pt x="316" y="260"/>
                  </a:cubicBezTo>
                  <a:cubicBezTo>
                    <a:pt x="316" y="259"/>
                    <a:pt x="316" y="259"/>
                    <a:pt x="316" y="258"/>
                  </a:cubicBezTo>
                  <a:close/>
                  <a:moveTo>
                    <a:pt x="255" y="136"/>
                  </a:moveTo>
                  <a:cubicBezTo>
                    <a:pt x="255" y="136"/>
                    <a:pt x="256" y="136"/>
                    <a:pt x="256" y="137"/>
                  </a:cubicBezTo>
                  <a:cubicBezTo>
                    <a:pt x="256" y="137"/>
                    <a:pt x="256" y="137"/>
                    <a:pt x="256" y="137"/>
                  </a:cubicBezTo>
                  <a:cubicBezTo>
                    <a:pt x="256" y="137"/>
                    <a:pt x="256" y="137"/>
                    <a:pt x="256" y="138"/>
                  </a:cubicBezTo>
                  <a:cubicBezTo>
                    <a:pt x="255" y="137"/>
                    <a:pt x="255" y="136"/>
                    <a:pt x="255" y="136"/>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17" name="Freeform 13">
              <a:extLst>
                <a:ext uri="{FF2B5EF4-FFF2-40B4-BE49-F238E27FC236}">
                  <a16:creationId xmlns:a16="http://schemas.microsoft.com/office/drawing/2014/main" id="{0B2B44BD-025A-401D-8BF8-3CE73BFE82B8}"/>
                </a:ext>
              </a:extLst>
            </p:cNvPr>
            <p:cNvSpPr>
              <a:spLocks/>
            </p:cNvSpPr>
            <p:nvPr/>
          </p:nvSpPr>
          <p:spPr bwMode="auto">
            <a:xfrm>
              <a:off x="2347097" y="2489839"/>
              <a:ext cx="32365" cy="31848"/>
            </a:xfrm>
            <a:custGeom>
              <a:avLst/>
              <a:gdLst>
                <a:gd name="T0" fmla="*/ 12 w 16"/>
                <a:gd name="T1" fmla="*/ 0 h 17"/>
                <a:gd name="T2" fmla="*/ 9 w 16"/>
                <a:gd name="T3" fmla="*/ 0 h 17"/>
                <a:gd name="T4" fmla="*/ 5 w 16"/>
                <a:gd name="T5" fmla="*/ 3 h 17"/>
                <a:gd name="T6" fmla="*/ 3 w 16"/>
                <a:gd name="T7" fmla="*/ 4 h 17"/>
                <a:gd name="T8" fmla="*/ 1 w 16"/>
                <a:gd name="T9" fmla="*/ 11 h 17"/>
                <a:gd name="T10" fmla="*/ 3 w 16"/>
                <a:gd name="T11" fmla="*/ 17 h 17"/>
                <a:gd name="T12" fmla="*/ 5 w 16"/>
                <a:gd name="T13" fmla="*/ 17 h 17"/>
                <a:gd name="T14" fmla="*/ 9 w 16"/>
                <a:gd name="T15" fmla="*/ 11 h 17"/>
                <a:gd name="T16" fmla="*/ 10 w 16"/>
                <a:gd name="T17" fmla="*/ 9 h 17"/>
                <a:gd name="T18" fmla="*/ 12 w 16"/>
                <a:gd name="T19" fmla="*/ 8 h 17"/>
                <a:gd name="T20" fmla="*/ 14 w 16"/>
                <a:gd name="T21" fmla="*/ 6 h 17"/>
                <a:gd name="T22" fmla="*/ 16 w 16"/>
                <a:gd name="T23" fmla="*/ 2 h 17"/>
                <a:gd name="T24" fmla="*/ 12 w 16"/>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7">
                  <a:moveTo>
                    <a:pt x="12" y="0"/>
                  </a:moveTo>
                  <a:cubicBezTo>
                    <a:pt x="11" y="0"/>
                    <a:pt x="10" y="0"/>
                    <a:pt x="9" y="0"/>
                  </a:cubicBezTo>
                  <a:cubicBezTo>
                    <a:pt x="7" y="1"/>
                    <a:pt x="6" y="2"/>
                    <a:pt x="5" y="3"/>
                  </a:cubicBezTo>
                  <a:cubicBezTo>
                    <a:pt x="4" y="3"/>
                    <a:pt x="3" y="4"/>
                    <a:pt x="3" y="4"/>
                  </a:cubicBezTo>
                  <a:cubicBezTo>
                    <a:pt x="1" y="5"/>
                    <a:pt x="0" y="9"/>
                    <a:pt x="1" y="11"/>
                  </a:cubicBezTo>
                  <a:cubicBezTo>
                    <a:pt x="1" y="12"/>
                    <a:pt x="1" y="16"/>
                    <a:pt x="3" y="17"/>
                  </a:cubicBezTo>
                  <a:cubicBezTo>
                    <a:pt x="4" y="17"/>
                    <a:pt x="4" y="17"/>
                    <a:pt x="5" y="17"/>
                  </a:cubicBezTo>
                  <a:cubicBezTo>
                    <a:pt x="8" y="17"/>
                    <a:pt x="9" y="13"/>
                    <a:pt x="9" y="11"/>
                  </a:cubicBezTo>
                  <a:cubicBezTo>
                    <a:pt x="9" y="10"/>
                    <a:pt x="10" y="10"/>
                    <a:pt x="10" y="9"/>
                  </a:cubicBezTo>
                  <a:cubicBezTo>
                    <a:pt x="10" y="8"/>
                    <a:pt x="10" y="8"/>
                    <a:pt x="12" y="8"/>
                  </a:cubicBezTo>
                  <a:cubicBezTo>
                    <a:pt x="12" y="7"/>
                    <a:pt x="13" y="7"/>
                    <a:pt x="14" y="6"/>
                  </a:cubicBezTo>
                  <a:cubicBezTo>
                    <a:pt x="16" y="5"/>
                    <a:pt x="16" y="3"/>
                    <a:pt x="16" y="2"/>
                  </a:cubicBezTo>
                  <a:cubicBezTo>
                    <a:pt x="16" y="1"/>
                    <a:pt x="15" y="0"/>
                    <a:pt x="12" y="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18" name="Freeform 14">
              <a:extLst>
                <a:ext uri="{FF2B5EF4-FFF2-40B4-BE49-F238E27FC236}">
                  <a16:creationId xmlns:a16="http://schemas.microsoft.com/office/drawing/2014/main" id="{13DE1312-D7D5-45D9-B11B-24968A4BA155}"/>
                </a:ext>
              </a:extLst>
            </p:cNvPr>
            <p:cNvSpPr>
              <a:spLocks/>
            </p:cNvSpPr>
            <p:nvPr/>
          </p:nvSpPr>
          <p:spPr bwMode="auto">
            <a:xfrm>
              <a:off x="2397318" y="2411760"/>
              <a:ext cx="18972" cy="18492"/>
            </a:xfrm>
            <a:custGeom>
              <a:avLst/>
              <a:gdLst>
                <a:gd name="T0" fmla="*/ 7 w 9"/>
                <a:gd name="T1" fmla="*/ 1 h 10"/>
                <a:gd name="T2" fmla="*/ 5 w 9"/>
                <a:gd name="T3" fmla="*/ 0 h 10"/>
                <a:gd name="T4" fmla="*/ 2 w 9"/>
                <a:gd name="T5" fmla="*/ 1 h 10"/>
                <a:gd name="T6" fmla="*/ 0 w 9"/>
                <a:gd name="T7" fmla="*/ 8 h 10"/>
                <a:gd name="T8" fmla="*/ 0 w 9"/>
                <a:gd name="T9" fmla="*/ 9 h 10"/>
                <a:gd name="T10" fmla="*/ 2 w 9"/>
                <a:gd name="T11" fmla="*/ 10 h 10"/>
                <a:gd name="T12" fmla="*/ 2 w 9"/>
                <a:gd name="T13" fmla="*/ 10 h 10"/>
                <a:gd name="T14" fmla="*/ 2 w 9"/>
                <a:gd name="T15" fmla="*/ 10 h 10"/>
                <a:gd name="T16" fmla="*/ 9 w 9"/>
                <a:gd name="T17" fmla="*/ 5 h 10"/>
                <a:gd name="T18" fmla="*/ 7 w 9"/>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7" y="1"/>
                  </a:moveTo>
                  <a:cubicBezTo>
                    <a:pt x="7" y="0"/>
                    <a:pt x="6" y="0"/>
                    <a:pt x="5" y="0"/>
                  </a:cubicBezTo>
                  <a:cubicBezTo>
                    <a:pt x="4" y="0"/>
                    <a:pt x="3" y="0"/>
                    <a:pt x="2" y="1"/>
                  </a:cubicBezTo>
                  <a:cubicBezTo>
                    <a:pt x="1" y="3"/>
                    <a:pt x="0" y="7"/>
                    <a:pt x="0" y="8"/>
                  </a:cubicBezTo>
                  <a:cubicBezTo>
                    <a:pt x="0" y="9"/>
                    <a:pt x="0" y="9"/>
                    <a:pt x="0" y="9"/>
                  </a:cubicBezTo>
                  <a:cubicBezTo>
                    <a:pt x="2" y="10"/>
                    <a:pt x="2" y="10"/>
                    <a:pt x="2" y="10"/>
                  </a:cubicBezTo>
                  <a:cubicBezTo>
                    <a:pt x="2" y="10"/>
                    <a:pt x="2" y="10"/>
                    <a:pt x="2" y="10"/>
                  </a:cubicBezTo>
                  <a:cubicBezTo>
                    <a:pt x="2" y="10"/>
                    <a:pt x="2" y="10"/>
                    <a:pt x="2" y="10"/>
                  </a:cubicBezTo>
                  <a:cubicBezTo>
                    <a:pt x="5" y="10"/>
                    <a:pt x="8" y="7"/>
                    <a:pt x="9" y="5"/>
                  </a:cubicBezTo>
                  <a:cubicBezTo>
                    <a:pt x="9" y="3"/>
                    <a:pt x="9" y="2"/>
                    <a:pt x="7" y="1"/>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19" name="Freeform 15">
              <a:extLst>
                <a:ext uri="{FF2B5EF4-FFF2-40B4-BE49-F238E27FC236}">
                  <a16:creationId xmlns:a16="http://schemas.microsoft.com/office/drawing/2014/main" id="{2F0F324E-C8D9-4592-9BA1-F74655ABB12B}"/>
                </a:ext>
              </a:extLst>
            </p:cNvPr>
            <p:cNvSpPr>
              <a:spLocks/>
            </p:cNvSpPr>
            <p:nvPr/>
          </p:nvSpPr>
          <p:spPr bwMode="auto">
            <a:xfrm>
              <a:off x="586014" y="1575497"/>
              <a:ext cx="30133" cy="39039"/>
            </a:xfrm>
            <a:custGeom>
              <a:avLst/>
              <a:gdLst>
                <a:gd name="T0" fmla="*/ 6 w 15"/>
                <a:gd name="T1" fmla="*/ 0 h 21"/>
                <a:gd name="T2" fmla="*/ 2 w 15"/>
                <a:gd name="T3" fmla="*/ 4 h 21"/>
                <a:gd name="T4" fmla="*/ 1 w 15"/>
                <a:gd name="T5" fmla="*/ 13 h 21"/>
                <a:gd name="T6" fmla="*/ 3 w 15"/>
                <a:gd name="T7" fmla="*/ 15 h 21"/>
                <a:gd name="T8" fmla="*/ 4 w 15"/>
                <a:gd name="T9" fmla="*/ 16 h 21"/>
                <a:gd name="T10" fmla="*/ 4 w 15"/>
                <a:gd name="T11" fmla="*/ 17 h 21"/>
                <a:gd name="T12" fmla="*/ 5 w 15"/>
                <a:gd name="T13" fmla="*/ 20 h 21"/>
                <a:gd name="T14" fmla="*/ 7 w 15"/>
                <a:gd name="T15" fmla="*/ 21 h 21"/>
                <a:gd name="T16" fmla="*/ 8 w 15"/>
                <a:gd name="T17" fmla="*/ 21 h 21"/>
                <a:gd name="T18" fmla="*/ 14 w 15"/>
                <a:gd name="T19" fmla="*/ 12 h 21"/>
                <a:gd name="T20" fmla="*/ 14 w 15"/>
                <a:gd name="T21" fmla="*/ 11 h 21"/>
                <a:gd name="T22" fmla="*/ 12 w 15"/>
                <a:gd name="T23" fmla="*/ 4 h 21"/>
                <a:gd name="T24" fmla="*/ 6 w 15"/>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1">
                  <a:moveTo>
                    <a:pt x="6" y="0"/>
                  </a:moveTo>
                  <a:cubicBezTo>
                    <a:pt x="5" y="0"/>
                    <a:pt x="3" y="1"/>
                    <a:pt x="2" y="4"/>
                  </a:cubicBezTo>
                  <a:cubicBezTo>
                    <a:pt x="1" y="7"/>
                    <a:pt x="0" y="11"/>
                    <a:pt x="1" y="13"/>
                  </a:cubicBezTo>
                  <a:cubicBezTo>
                    <a:pt x="2" y="14"/>
                    <a:pt x="3" y="15"/>
                    <a:pt x="3" y="15"/>
                  </a:cubicBezTo>
                  <a:cubicBezTo>
                    <a:pt x="4" y="16"/>
                    <a:pt x="4" y="16"/>
                    <a:pt x="4" y="16"/>
                  </a:cubicBezTo>
                  <a:cubicBezTo>
                    <a:pt x="4" y="16"/>
                    <a:pt x="4" y="17"/>
                    <a:pt x="4" y="17"/>
                  </a:cubicBezTo>
                  <a:cubicBezTo>
                    <a:pt x="4" y="18"/>
                    <a:pt x="4" y="19"/>
                    <a:pt x="5" y="20"/>
                  </a:cubicBezTo>
                  <a:cubicBezTo>
                    <a:pt x="5" y="21"/>
                    <a:pt x="6" y="21"/>
                    <a:pt x="7" y="21"/>
                  </a:cubicBezTo>
                  <a:cubicBezTo>
                    <a:pt x="8" y="21"/>
                    <a:pt x="8" y="21"/>
                    <a:pt x="8" y="21"/>
                  </a:cubicBezTo>
                  <a:cubicBezTo>
                    <a:pt x="11" y="21"/>
                    <a:pt x="13" y="16"/>
                    <a:pt x="14" y="12"/>
                  </a:cubicBezTo>
                  <a:cubicBezTo>
                    <a:pt x="14" y="11"/>
                    <a:pt x="14" y="11"/>
                    <a:pt x="14" y="11"/>
                  </a:cubicBezTo>
                  <a:cubicBezTo>
                    <a:pt x="15" y="9"/>
                    <a:pt x="14" y="6"/>
                    <a:pt x="12" y="4"/>
                  </a:cubicBezTo>
                  <a:cubicBezTo>
                    <a:pt x="11" y="2"/>
                    <a:pt x="8" y="0"/>
                    <a:pt x="6" y="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20" name="Freeform 16">
              <a:extLst>
                <a:ext uri="{FF2B5EF4-FFF2-40B4-BE49-F238E27FC236}">
                  <a16:creationId xmlns:a16="http://schemas.microsoft.com/office/drawing/2014/main" id="{26A18343-A1B9-421D-99E2-DFEA741ED2C6}"/>
                </a:ext>
              </a:extLst>
            </p:cNvPr>
            <p:cNvSpPr>
              <a:spLocks/>
            </p:cNvSpPr>
            <p:nvPr/>
          </p:nvSpPr>
          <p:spPr bwMode="auto">
            <a:xfrm>
              <a:off x="634003" y="1513856"/>
              <a:ext cx="31249" cy="26711"/>
            </a:xfrm>
            <a:custGeom>
              <a:avLst/>
              <a:gdLst>
                <a:gd name="T0" fmla="*/ 11 w 15"/>
                <a:gd name="T1" fmla="*/ 1 h 14"/>
                <a:gd name="T2" fmla="*/ 8 w 15"/>
                <a:gd name="T3" fmla="*/ 0 h 14"/>
                <a:gd name="T4" fmla="*/ 2 w 15"/>
                <a:gd name="T5" fmla="*/ 3 h 14"/>
                <a:gd name="T6" fmla="*/ 0 w 15"/>
                <a:gd name="T7" fmla="*/ 9 h 14"/>
                <a:gd name="T8" fmla="*/ 6 w 15"/>
                <a:gd name="T9" fmla="*/ 14 h 14"/>
                <a:gd name="T10" fmla="*/ 8 w 15"/>
                <a:gd name="T11" fmla="*/ 14 h 14"/>
                <a:gd name="T12" fmla="*/ 14 w 15"/>
                <a:gd name="T13" fmla="*/ 9 h 14"/>
                <a:gd name="T14" fmla="*/ 11 w 15"/>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4">
                  <a:moveTo>
                    <a:pt x="11" y="1"/>
                  </a:moveTo>
                  <a:cubicBezTo>
                    <a:pt x="10" y="1"/>
                    <a:pt x="9" y="0"/>
                    <a:pt x="8" y="0"/>
                  </a:cubicBezTo>
                  <a:cubicBezTo>
                    <a:pt x="6" y="0"/>
                    <a:pt x="3" y="2"/>
                    <a:pt x="2" y="3"/>
                  </a:cubicBezTo>
                  <a:cubicBezTo>
                    <a:pt x="0" y="5"/>
                    <a:pt x="0" y="7"/>
                    <a:pt x="0" y="9"/>
                  </a:cubicBezTo>
                  <a:cubicBezTo>
                    <a:pt x="1" y="11"/>
                    <a:pt x="5" y="14"/>
                    <a:pt x="6" y="14"/>
                  </a:cubicBezTo>
                  <a:cubicBezTo>
                    <a:pt x="7" y="14"/>
                    <a:pt x="7" y="14"/>
                    <a:pt x="8" y="14"/>
                  </a:cubicBezTo>
                  <a:cubicBezTo>
                    <a:pt x="11" y="14"/>
                    <a:pt x="13" y="12"/>
                    <a:pt x="14" y="9"/>
                  </a:cubicBezTo>
                  <a:cubicBezTo>
                    <a:pt x="15" y="6"/>
                    <a:pt x="14" y="3"/>
                    <a:pt x="11" y="1"/>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21" name="Freeform 17">
              <a:extLst>
                <a:ext uri="{FF2B5EF4-FFF2-40B4-BE49-F238E27FC236}">
                  <a16:creationId xmlns:a16="http://schemas.microsoft.com/office/drawing/2014/main" id="{BF587510-26CB-400D-A6A5-52F29C82D1A5}"/>
                </a:ext>
              </a:extLst>
            </p:cNvPr>
            <p:cNvSpPr>
              <a:spLocks/>
            </p:cNvSpPr>
            <p:nvPr/>
          </p:nvSpPr>
          <p:spPr bwMode="auto">
            <a:xfrm>
              <a:off x="543605" y="1591934"/>
              <a:ext cx="24552" cy="18492"/>
            </a:xfrm>
            <a:custGeom>
              <a:avLst/>
              <a:gdLst>
                <a:gd name="T0" fmla="*/ 8 w 12"/>
                <a:gd name="T1" fmla="*/ 0 h 10"/>
                <a:gd name="T2" fmla="*/ 6 w 12"/>
                <a:gd name="T3" fmla="*/ 0 h 10"/>
                <a:gd name="T4" fmla="*/ 1 w 12"/>
                <a:gd name="T5" fmla="*/ 4 h 10"/>
                <a:gd name="T6" fmla="*/ 3 w 12"/>
                <a:gd name="T7" fmla="*/ 9 h 10"/>
                <a:gd name="T8" fmla="*/ 6 w 12"/>
                <a:gd name="T9" fmla="*/ 10 h 10"/>
                <a:gd name="T10" fmla="*/ 12 w 12"/>
                <a:gd name="T11" fmla="*/ 5 h 10"/>
                <a:gd name="T12" fmla="*/ 8 w 1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8" y="0"/>
                  </a:moveTo>
                  <a:cubicBezTo>
                    <a:pt x="7" y="0"/>
                    <a:pt x="7" y="0"/>
                    <a:pt x="6" y="0"/>
                  </a:cubicBezTo>
                  <a:cubicBezTo>
                    <a:pt x="4" y="0"/>
                    <a:pt x="1" y="1"/>
                    <a:pt x="1" y="4"/>
                  </a:cubicBezTo>
                  <a:cubicBezTo>
                    <a:pt x="0" y="6"/>
                    <a:pt x="1" y="8"/>
                    <a:pt x="3" y="9"/>
                  </a:cubicBezTo>
                  <a:cubicBezTo>
                    <a:pt x="4" y="9"/>
                    <a:pt x="5" y="10"/>
                    <a:pt x="6" y="10"/>
                  </a:cubicBezTo>
                  <a:cubicBezTo>
                    <a:pt x="9" y="10"/>
                    <a:pt x="11" y="8"/>
                    <a:pt x="12" y="5"/>
                  </a:cubicBezTo>
                  <a:cubicBezTo>
                    <a:pt x="12" y="3"/>
                    <a:pt x="11" y="1"/>
                    <a:pt x="8" y="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22" name="Freeform 18">
              <a:extLst>
                <a:ext uri="{FF2B5EF4-FFF2-40B4-BE49-F238E27FC236}">
                  <a16:creationId xmlns:a16="http://schemas.microsoft.com/office/drawing/2014/main" id="{E85752B2-0454-406D-82B3-584EAD499A4B}"/>
                </a:ext>
              </a:extLst>
            </p:cNvPr>
            <p:cNvSpPr>
              <a:spLocks/>
            </p:cNvSpPr>
            <p:nvPr/>
          </p:nvSpPr>
          <p:spPr bwMode="auto">
            <a:xfrm>
              <a:off x="555881" y="1490227"/>
              <a:ext cx="30133" cy="18492"/>
            </a:xfrm>
            <a:custGeom>
              <a:avLst/>
              <a:gdLst>
                <a:gd name="T0" fmla="*/ 7 w 15"/>
                <a:gd name="T1" fmla="*/ 0 h 10"/>
                <a:gd name="T2" fmla="*/ 1 w 15"/>
                <a:gd name="T3" fmla="*/ 3 h 10"/>
                <a:gd name="T4" fmla="*/ 1 w 15"/>
                <a:gd name="T5" fmla="*/ 8 h 10"/>
                <a:gd name="T6" fmla="*/ 5 w 15"/>
                <a:gd name="T7" fmla="*/ 10 h 10"/>
                <a:gd name="T8" fmla="*/ 8 w 15"/>
                <a:gd name="T9" fmla="*/ 8 h 10"/>
                <a:gd name="T10" fmla="*/ 9 w 15"/>
                <a:gd name="T11" fmla="*/ 9 h 10"/>
                <a:gd name="T12" fmla="*/ 12 w 15"/>
                <a:gd name="T13" fmla="*/ 9 h 10"/>
                <a:gd name="T14" fmla="*/ 15 w 15"/>
                <a:gd name="T15" fmla="*/ 8 h 10"/>
                <a:gd name="T16" fmla="*/ 15 w 15"/>
                <a:gd name="T17" fmla="*/ 4 h 10"/>
                <a:gd name="T18" fmla="*/ 7 w 15"/>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0">
                  <a:moveTo>
                    <a:pt x="7" y="0"/>
                  </a:moveTo>
                  <a:cubicBezTo>
                    <a:pt x="4" y="0"/>
                    <a:pt x="2" y="1"/>
                    <a:pt x="1" y="3"/>
                  </a:cubicBezTo>
                  <a:cubicBezTo>
                    <a:pt x="1" y="4"/>
                    <a:pt x="0" y="5"/>
                    <a:pt x="1" y="8"/>
                  </a:cubicBezTo>
                  <a:cubicBezTo>
                    <a:pt x="2" y="9"/>
                    <a:pt x="3" y="10"/>
                    <a:pt x="5" y="10"/>
                  </a:cubicBezTo>
                  <a:cubicBezTo>
                    <a:pt x="6" y="10"/>
                    <a:pt x="7" y="9"/>
                    <a:pt x="8" y="8"/>
                  </a:cubicBezTo>
                  <a:cubicBezTo>
                    <a:pt x="8" y="8"/>
                    <a:pt x="8" y="9"/>
                    <a:pt x="9" y="9"/>
                  </a:cubicBezTo>
                  <a:cubicBezTo>
                    <a:pt x="10" y="9"/>
                    <a:pt x="11" y="9"/>
                    <a:pt x="12" y="9"/>
                  </a:cubicBezTo>
                  <a:cubicBezTo>
                    <a:pt x="13" y="9"/>
                    <a:pt x="14" y="9"/>
                    <a:pt x="15" y="8"/>
                  </a:cubicBezTo>
                  <a:cubicBezTo>
                    <a:pt x="15" y="7"/>
                    <a:pt x="15" y="6"/>
                    <a:pt x="15" y="4"/>
                  </a:cubicBezTo>
                  <a:cubicBezTo>
                    <a:pt x="14" y="1"/>
                    <a:pt x="11" y="0"/>
                    <a:pt x="7" y="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23" name="Freeform 19">
              <a:extLst>
                <a:ext uri="{FF2B5EF4-FFF2-40B4-BE49-F238E27FC236}">
                  <a16:creationId xmlns:a16="http://schemas.microsoft.com/office/drawing/2014/main" id="{F05A9BE3-DEB5-4618-91C4-F3E989F3BA6A}"/>
                </a:ext>
              </a:extLst>
            </p:cNvPr>
            <p:cNvSpPr>
              <a:spLocks/>
            </p:cNvSpPr>
            <p:nvPr/>
          </p:nvSpPr>
          <p:spPr bwMode="auto">
            <a:xfrm>
              <a:off x="501196" y="1456324"/>
              <a:ext cx="35713" cy="36985"/>
            </a:xfrm>
            <a:custGeom>
              <a:avLst/>
              <a:gdLst>
                <a:gd name="T0" fmla="*/ 15 w 18"/>
                <a:gd name="T1" fmla="*/ 10 h 20"/>
                <a:gd name="T2" fmla="*/ 13 w 18"/>
                <a:gd name="T3" fmla="*/ 10 h 20"/>
                <a:gd name="T4" fmla="*/ 13 w 18"/>
                <a:gd name="T5" fmla="*/ 10 h 20"/>
                <a:gd name="T6" fmla="*/ 14 w 18"/>
                <a:gd name="T7" fmla="*/ 9 h 20"/>
                <a:gd name="T8" fmla="*/ 16 w 18"/>
                <a:gd name="T9" fmla="*/ 4 h 20"/>
                <a:gd name="T10" fmla="*/ 10 w 18"/>
                <a:gd name="T11" fmla="*/ 0 h 20"/>
                <a:gd name="T12" fmla="*/ 1 w 18"/>
                <a:gd name="T13" fmla="*/ 7 h 20"/>
                <a:gd name="T14" fmla="*/ 1 w 18"/>
                <a:gd name="T15" fmla="*/ 12 h 20"/>
                <a:gd name="T16" fmla="*/ 4 w 18"/>
                <a:gd name="T17" fmla="*/ 14 h 20"/>
                <a:gd name="T18" fmla="*/ 8 w 18"/>
                <a:gd name="T19" fmla="*/ 12 h 20"/>
                <a:gd name="T20" fmla="*/ 9 w 18"/>
                <a:gd name="T21" fmla="*/ 11 h 20"/>
                <a:gd name="T22" fmla="*/ 10 w 18"/>
                <a:gd name="T23" fmla="*/ 10 h 20"/>
                <a:gd name="T24" fmla="*/ 11 w 18"/>
                <a:gd name="T25" fmla="*/ 10 h 20"/>
                <a:gd name="T26" fmla="*/ 11 w 18"/>
                <a:gd name="T27" fmla="*/ 10 h 20"/>
                <a:gd name="T28" fmla="*/ 8 w 18"/>
                <a:gd name="T29" fmla="*/ 14 h 20"/>
                <a:gd name="T30" fmla="*/ 9 w 18"/>
                <a:gd name="T31" fmla="*/ 19 h 20"/>
                <a:gd name="T32" fmla="*/ 12 w 18"/>
                <a:gd name="T33" fmla="*/ 20 h 20"/>
                <a:gd name="T34" fmla="*/ 17 w 18"/>
                <a:gd name="T35" fmla="*/ 15 h 20"/>
                <a:gd name="T36" fmla="*/ 15 w 18"/>
                <a:gd name="T3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0">
                  <a:moveTo>
                    <a:pt x="15" y="10"/>
                  </a:moveTo>
                  <a:cubicBezTo>
                    <a:pt x="15" y="10"/>
                    <a:pt x="14" y="10"/>
                    <a:pt x="13" y="10"/>
                  </a:cubicBezTo>
                  <a:cubicBezTo>
                    <a:pt x="13" y="10"/>
                    <a:pt x="13" y="10"/>
                    <a:pt x="13" y="10"/>
                  </a:cubicBezTo>
                  <a:cubicBezTo>
                    <a:pt x="13" y="9"/>
                    <a:pt x="14" y="9"/>
                    <a:pt x="14" y="9"/>
                  </a:cubicBezTo>
                  <a:cubicBezTo>
                    <a:pt x="16" y="7"/>
                    <a:pt x="16" y="5"/>
                    <a:pt x="16" y="4"/>
                  </a:cubicBezTo>
                  <a:cubicBezTo>
                    <a:pt x="15" y="2"/>
                    <a:pt x="13" y="0"/>
                    <a:pt x="10" y="0"/>
                  </a:cubicBezTo>
                  <a:cubicBezTo>
                    <a:pt x="6" y="0"/>
                    <a:pt x="2" y="3"/>
                    <a:pt x="1" y="7"/>
                  </a:cubicBezTo>
                  <a:cubicBezTo>
                    <a:pt x="0" y="9"/>
                    <a:pt x="0" y="11"/>
                    <a:pt x="1" y="12"/>
                  </a:cubicBezTo>
                  <a:cubicBezTo>
                    <a:pt x="2" y="13"/>
                    <a:pt x="3" y="14"/>
                    <a:pt x="4" y="14"/>
                  </a:cubicBezTo>
                  <a:cubicBezTo>
                    <a:pt x="5" y="14"/>
                    <a:pt x="6" y="13"/>
                    <a:pt x="8" y="12"/>
                  </a:cubicBezTo>
                  <a:cubicBezTo>
                    <a:pt x="8" y="12"/>
                    <a:pt x="8" y="12"/>
                    <a:pt x="9" y="11"/>
                  </a:cubicBezTo>
                  <a:cubicBezTo>
                    <a:pt x="9" y="11"/>
                    <a:pt x="10" y="11"/>
                    <a:pt x="10" y="10"/>
                  </a:cubicBezTo>
                  <a:cubicBezTo>
                    <a:pt x="10" y="10"/>
                    <a:pt x="11" y="10"/>
                    <a:pt x="11" y="10"/>
                  </a:cubicBezTo>
                  <a:cubicBezTo>
                    <a:pt x="11" y="10"/>
                    <a:pt x="11" y="10"/>
                    <a:pt x="11" y="10"/>
                  </a:cubicBezTo>
                  <a:cubicBezTo>
                    <a:pt x="10" y="11"/>
                    <a:pt x="9" y="12"/>
                    <a:pt x="8" y="14"/>
                  </a:cubicBezTo>
                  <a:cubicBezTo>
                    <a:pt x="7" y="16"/>
                    <a:pt x="8" y="17"/>
                    <a:pt x="9" y="19"/>
                  </a:cubicBezTo>
                  <a:cubicBezTo>
                    <a:pt x="10" y="19"/>
                    <a:pt x="11" y="20"/>
                    <a:pt x="12" y="20"/>
                  </a:cubicBezTo>
                  <a:cubicBezTo>
                    <a:pt x="15" y="20"/>
                    <a:pt x="17" y="17"/>
                    <a:pt x="17" y="15"/>
                  </a:cubicBezTo>
                  <a:cubicBezTo>
                    <a:pt x="18" y="13"/>
                    <a:pt x="17" y="11"/>
                    <a:pt x="15" y="1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24" name="Freeform 20">
              <a:extLst>
                <a:ext uri="{FF2B5EF4-FFF2-40B4-BE49-F238E27FC236}">
                  <a16:creationId xmlns:a16="http://schemas.microsoft.com/office/drawing/2014/main" id="{6CDE43DA-629C-4476-AA51-80497315E061}"/>
                </a:ext>
              </a:extLst>
            </p:cNvPr>
            <p:cNvSpPr>
              <a:spLocks/>
            </p:cNvSpPr>
            <p:nvPr/>
          </p:nvSpPr>
          <p:spPr bwMode="auto">
            <a:xfrm>
              <a:off x="640699" y="1476871"/>
              <a:ext cx="15624" cy="23629"/>
            </a:xfrm>
            <a:custGeom>
              <a:avLst/>
              <a:gdLst>
                <a:gd name="T0" fmla="*/ 3 w 8"/>
                <a:gd name="T1" fmla="*/ 11 h 13"/>
                <a:gd name="T2" fmla="*/ 4 w 8"/>
                <a:gd name="T3" fmla="*/ 11 h 13"/>
                <a:gd name="T4" fmla="*/ 4 w 8"/>
                <a:gd name="T5" fmla="*/ 13 h 13"/>
                <a:gd name="T6" fmla="*/ 7 w 8"/>
                <a:gd name="T7" fmla="*/ 11 h 13"/>
                <a:gd name="T8" fmla="*/ 8 w 8"/>
                <a:gd name="T9" fmla="*/ 8 h 13"/>
                <a:gd name="T10" fmla="*/ 3 w 8"/>
                <a:gd name="T11" fmla="*/ 0 h 13"/>
                <a:gd name="T12" fmla="*/ 3 w 8"/>
                <a:gd name="T13" fmla="*/ 2 h 13"/>
                <a:gd name="T14" fmla="*/ 0 w 8"/>
                <a:gd name="T15" fmla="*/ 4 h 13"/>
                <a:gd name="T16" fmla="*/ 3 w 8"/>
                <a:gd name="T1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3">
                  <a:moveTo>
                    <a:pt x="3" y="11"/>
                  </a:moveTo>
                  <a:cubicBezTo>
                    <a:pt x="3" y="11"/>
                    <a:pt x="3" y="11"/>
                    <a:pt x="4" y="11"/>
                  </a:cubicBezTo>
                  <a:cubicBezTo>
                    <a:pt x="4" y="13"/>
                    <a:pt x="4" y="13"/>
                    <a:pt x="4" y="13"/>
                  </a:cubicBezTo>
                  <a:cubicBezTo>
                    <a:pt x="5" y="13"/>
                    <a:pt x="6" y="12"/>
                    <a:pt x="7" y="11"/>
                  </a:cubicBezTo>
                  <a:cubicBezTo>
                    <a:pt x="8" y="10"/>
                    <a:pt x="8" y="9"/>
                    <a:pt x="8" y="8"/>
                  </a:cubicBezTo>
                  <a:cubicBezTo>
                    <a:pt x="8" y="4"/>
                    <a:pt x="6" y="0"/>
                    <a:pt x="3" y="0"/>
                  </a:cubicBezTo>
                  <a:cubicBezTo>
                    <a:pt x="3" y="2"/>
                    <a:pt x="3" y="2"/>
                    <a:pt x="3" y="2"/>
                  </a:cubicBezTo>
                  <a:cubicBezTo>
                    <a:pt x="2" y="2"/>
                    <a:pt x="1" y="3"/>
                    <a:pt x="0" y="4"/>
                  </a:cubicBezTo>
                  <a:cubicBezTo>
                    <a:pt x="0" y="6"/>
                    <a:pt x="1" y="10"/>
                    <a:pt x="3" y="11"/>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25" name="Freeform 21">
              <a:extLst>
                <a:ext uri="{FF2B5EF4-FFF2-40B4-BE49-F238E27FC236}">
                  <a16:creationId xmlns:a16="http://schemas.microsoft.com/office/drawing/2014/main" id="{13150551-5D58-4B69-85EF-C8F41B2FF1A0}"/>
                </a:ext>
              </a:extLst>
            </p:cNvPr>
            <p:cNvSpPr>
              <a:spLocks/>
            </p:cNvSpPr>
            <p:nvPr/>
          </p:nvSpPr>
          <p:spPr bwMode="auto">
            <a:xfrm>
              <a:off x="962113" y="742316"/>
              <a:ext cx="24552" cy="31848"/>
            </a:xfrm>
            <a:custGeom>
              <a:avLst/>
              <a:gdLst>
                <a:gd name="T0" fmla="*/ 7 w 12"/>
                <a:gd name="T1" fmla="*/ 0 h 17"/>
                <a:gd name="T2" fmla="*/ 4 w 12"/>
                <a:gd name="T3" fmla="*/ 0 h 17"/>
                <a:gd name="T4" fmla="*/ 0 w 12"/>
                <a:gd name="T5" fmla="*/ 3 h 17"/>
                <a:gd name="T6" fmla="*/ 1 w 12"/>
                <a:gd name="T7" fmla="*/ 9 h 17"/>
                <a:gd name="T8" fmla="*/ 2 w 12"/>
                <a:gd name="T9" fmla="*/ 9 h 17"/>
                <a:gd name="T10" fmla="*/ 2 w 12"/>
                <a:gd name="T11" fmla="*/ 11 h 17"/>
                <a:gd name="T12" fmla="*/ 5 w 12"/>
                <a:gd name="T13" fmla="*/ 16 h 17"/>
                <a:gd name="T14" fmla="*/ 7 w 12"/>
                <a:gd name="T15" fmla="*/ 17 h 17"/>
                <a:gd name="T16" fmla="*/ 7 w 12"/>
                <a:gd name="T17" fmla="*/ 17 h 17"/>
                <a:gd name="T18" fmla="*/ 12 w 12"/>
                <a:gd name="T19" fmla="*/ 6 h 17"/>
                <a:gd name="T20" fmla="*/ 10 w 12"/>
                <a:gd name="T21" fmla="*/ 1 h 17"/>
                <a:gd name="T22" fmla="*/ 7 w 12"/>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7" y="0"/>
                  </a:moveTo>
                  <a:cubicBezTo>
                    <a:pt x="6" y="0"/>
                    <a:pt x="5" y="0"/>
                    <a:pt x="4" y="0"/>
                  </a:cubicBezTo>
                  <a:cubicBezTo>
                    <a:pt x="2" y="1"/>
                    <a:pt x="1" y="2"/>
                    <a:pt x="0" y="3"/>
                  </a:cubicBezTo>
                  <a:cubicBezTo>
                    <a:pt x="0" y="5"/>
                    <a:pt x="1" y="7"/>
                    <a:pt x="1" y="9"/>
                  </a:cubicBezTo>
                  <a:cubicBezTo>
                    <a:pt x="2" y="9"/>
                    <a:pt x="2" y="9"/>
                    <a:pt x="2" y="9"/>
                  </a:cubicBezTo>
                  <a:cubicBezTo>
                    <a:pt x="2" y="10"/>
                    <a:pt x="2" y="11"/>
                    <a:pt x="2" y="11"/>
                  </a:cubicBezTo>
                  <a:cubicBezTo>
                    <a:pt x="3" y="13"/>
                    <a:pt x="3" y="15"/>
                    <a:pt x="5" y="16"/>
                  </a:cubicBezTo>
                  <a:cubicBezTo>
                    <a:pt x="5" y="17"/>
                    <a:pt x="6" y="17"/>
                    <a:pt x="7" y="17"/>
                  </a:cubicBezTo>
                  <a:cubicBezTo>
                    <a:pt x="7" y="17"/>
                    <a:pt x="7" y="17"/>
                    <a:pt x="7" y="17"/>
                  </a:cubicBezTo>
                  <a:cubicBezTo>
                    <a:pt x="11" y="17"/>
                    <a:pt x="12" y="10"/>
                    <a:pt x="12" y="6"/>
                  </a:cubicBezTo>
                  <a:cubicBezTo>
                    <a:pt x="12" y="4"/>
                    <a:pt x="12" y="2"/>
                    <a:pt x="10" y="1"/>
                  </a:cubicBezTo>
                  <a:cubicBezTo>
                    <a:pt x="10" y="0"/>
                    <a:pt x="9" y="0"/>
                    <a:pt x="7" y="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26" name="Freeform 22">
              <a:extLst>
                <a:ext uri="{FF2B5EF4-FFF2-40B4-BE49-F238E27FC236}">
                  <a16:creationId xmlns:a16="http://schemas.microsoft.com/office/drawing/2014/main" id="{359D0831-CF78-4867-B6DB-33AC8619B3C5}"/>
                </a:ext>
              </a:extLst>
            </p:cNvPr>
            <p:cNvSpPr>
              <a:spLocks/>
            </p:cNvSpPr>
            <p:nvPr/>
          </p:nvSpPr>
          <p:spPr bwMode="auto">
            <a:xfrm>
              <a:off x="1025726" y="757726"/>
              <a:ext cx="50221" cy="46231"/>
            </a:xfrm>
            <a:custGeom>
              <a:avLst/>
              <a:gdLst>
                <a:gd name="T0" fmla="*/ 23 w 25"/>
                <a:gd name="T1" fmla="*/ 0 h 25"/>
                <a:gd name="T2" fmla="*/ 22 w 25"/>
                <a:gd name="T3" fmla="*/ 0 h 25"/>
                <a:gd name="T4" fmla="*/ 12 w 25"/>
                <a:gd name="T5" fmla="*/ 4 h 25"/>
                <a:gd name="T6" fmla="*/ 7 w 25"/>
                <a:gd name="T7" fmla="*/ 6 h 25"/>
                <a:gd name="T8" fmla="*/ 0 w 25"/>
                <a:gd name="T9" fmla="*/ 11 h 25"/>
                <a:gd name="T10" fmla="*/ 1 w 25"/>
                <a:gd name="T11" fmla="*/ 17 h 25"/>
                <a:gd name="T12" fmla="*/ 4 w 25"/>
                <a:gd name="T13" fmla="*/ 22 h 25"/>
                <a:gd name="T14" fmla="*/ 10 w 25"/>
                <a:gd name="T15" fmla="*/ 25 h 25"/>
                <a:gd name="T16" fmla="*/ 10 w 25"/>
                <a:gd name="T17" fmla="*/ 25 h 25"/>
                <a:gd name="T18" fmla="*/ 14 w 25"/>
                <a:gd name="T19" fmla="*/ 21 h 25"/>
                <a:gd name="T20" fmla="*/ 14 w 25"/>
                <a:gd name="T21" fmla="*/ 20 h 25"/>
                <a:gd name="T22" fmla="*/ 15 w 25"/>
                <a:gd name="T23" fmla="*/ 19 h 25"/>
                <a:gd name="T24" fmla="*/ 18 w 25"/>
                <a:gd name="T25" fmla="*/ 16 h 25"/>
                <a:gd name="T26" fmla="*/ 19 w 25"/>
                <a:gd name="T27" fmla="*/ 14 h 25"/>
                <a:gd name="T28" fmla="*/ 19 w 25"/>
                <a:gd name="T29" fmla="*/ 12 h 25"/>
                <a:gd name="T30" fmla="*/ 21 w 25"/>
                <a:gd name="T31" fmla="*/ 10 h 25"/>
                <a:gd name="T32" fmla="*/ 25 w 25"/>
                <a:gd name="T33" fmla="*/ 2 h 25"/>
                <a:gd name="T34" fmla="*/ 25 w 25"/>
                <a:gd name="T35" fmla="*/ 1 h 25"/>
                <a:gd name="T36" fmla="*/ 23 w 25"/>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25">
                  <a:moveTo>
                    <a:pt x="23" y="0"/>
                  </a:moveTo>
                  <a:cubicBezTo>
                    <a:pt x="22" y="0"/>
                    <a:pt x="22" y="0"/>
                    <a:pt x="22" y="0"/>
                  </a:cubicBezTo>
                  <a:cubicBezTo>
                    <a:pt x="18" y="0"/>
                    <a:pt x="14" y="2"/>
                    <a:pt x="12" y="4"/>
                  </a:cubicBezTo>
                  <a:cubicBezTo>
                    <a:pt x="11" y="5"/>
                    <a:pt x="9" y="6"/>
                    <a:pt x="7" y="6"/>
                  </a:cubicBezTo>
                  <a:cubicBezTo>
                    <a:pt x="4" y="7"/>
                    <a:pt x="2" y="9"/>
                    <a:pt x="0" y="11"/>
                  </a:cubicBezTo>
                  <a:cubicBezTo>
                    <a:pt x="0" y="13"/>
                    <a:pt x="0" y="15"/>
                    <a:pt x="1" y="17"/>
                  </a:cubicBezTo>
                  <a:cubicBezTo>
                    <a:pt x="2" y="18"/>
                    <a:pt x="3" y="21"/>
                    <a:pt x="4" y="22"/>
                  </a:cubicBezTo>
                  <a:cubicBezTo>
                    <a:pt x="5" y="22"/>
                    <a:pt x="7" y="25"/>
                    <a:pt x="10" y="25"/>
                  </a:cubicBezTo>
                  <a:cubicBezTo>
                    <a:pt x="10" y="25"/>
                    <a:pt x="10" y="25"/>
                    <a:pt x="10" y="25"/>
                  </a:cubicBezTo>
                  <a:cubicBezTo>
                    <a:pt x="13" y="24"/>
                    <a:pt x="13" y="22"/>
                    <a:pt x="14" y="21"/>
                  </a:cubicBezTo>
                  <a:cubicBezTo>
                    <a:pt x="14" y="21"/>
                    <a:pt x="14" y="20"/>
                    <a:pt x="14" y="20"/>
                  </a:cubicBezTo>
                  <a:cubicBezTo>
                    <a:pt x="14" y="20"/>
                    <a:pt x="15" y="19"/>
                    <a:pt x="15" y="19"/>
                  </a:cubicBezTo>
                  <a:cubicBezTo>
                    <a:pt x="16" y="18"/>
                    <a:pt x="17" y="17"/>
                    <a:pt x="18" y="16"/>
                  </a:cubicBezTo>
                  <a:cubicBezTo>
                    <a:pt x="18" y="16"/>
                    <a:pt x="18" y="15"/>
                    <a:pt x="19" y="14"/>
                  </a:cubicBezTo>
                  <a:cubicBezTo>
                    <a:pt x="19" y="13"/>
                    <a:pt x="19" y="13"/>
                    <a:pt x="19" y="12"/>
                  </a:cubicBezTo>
                  <a:cubicBezTo>
                    <a:pt x="20" y="11"/>
                    <a:pt x="20" y="11"/>
                    <a:pt x="21" y="10"/>
                  </a:cubicBezTo>
                  <a:cubicBezTo>
                    <a:pt x="23" y="8"/>
                    <a:pt x="25" y="5"/>
                    <a:pt x="25" y="2"/>
                  </a:cubicBezTo>
                  <a:cubicBezTo>
                    <a:pt x="25" y="1"/>
                    <a:pt x="25" y="1"/>
                    <a:pt x="25" y="1"/>
                  </a:cubicBezTo>
                  <a:lnTo>
                    <a:pt x="23" y="0"/>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27" name="Freeform 23">
              <a:extLst>
                <a:ext uri="{FF2B5EF4-FFF2-40B4-BE49-F238E27FC236}">
                  <a16:creationId xmlns:a16="http://schemas.microsoft.com/office/drawing/2014/main" id="{7D2126F6-0624-41B8-9387-B2B35F2D8475}"/>
                </a:ext>
              </a:extLst>
            </p:cNvPr>
            <p:cNvSpPr>
              <a:spLocks/>
            </p:cNvSpPr>
            <p:nvPr/>
          </p:nvSpPr>
          <p:spPr bwMode="auto">
            <a:xfrm>
              <a:off x="998942" y="785465"/>
              <a:ext cx="20088" cy="18492"/>
            </a:xfrm>
            <a:custGeom>
              <a:avLst/>
              <a:gdLst>
                <a:gd name="T0" fmla="*/ 6 w 10"/>
                <a:gd name="T1" fmla="*/ 0 h 10"/>
                <a:gd name="T2" fmla="*/ 3 w 10"/>
                <a:gd name="T3" fmla="*/ 1 h 10"/>
                <a:gd name="T4" fmla="*/ 1 w 10"/>
                <a:gd name="T5" fmla="*/ 7 h 10"/>
                <a:gd name="T6" fmla="*/ 5 w 10"/>
                <a:gd name="T7" fmla="*/ 10 h 10"/>
                <a:gd name="T8" fmla="*/ 6 w 10"/>
                <a:gd name="T9" fmla="*/ 10 h 10"/>
                <a:gd name="T10" fmla="*/ 10 w 10"/>
                <a:gd name="T11" fmla="*/ 4 h 10"/>
                <a:gd name="T12" fmla="*/ 6 w 1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6" y="0"/>
                  </a:moveTo>
                  <a:cubicBezTo>
                    <a:pt x="5" y="0"/>
                    <a:pt x="4" y="0"/>
                    <a:pt x="3" y="1"/>
                  </a:cubicBezTo>
                  <a:cubicBezTo>
                    <a:pt x="1" y="2"/>
                    <a:pt x="0" y="5"/>
                    <a:pt x="1" y="7"/>
                  </a:cubicBezTo>
                  <a:cubicBezTo>
                    <a:pt x="2" y="9"/>
                    <a:pt x="3" y="10"/>
                    <a:pt x="5" y="10"/>
                  </a:cubicBezTo>
                  <a:cubicBezTo>
                    <a:pt x="5" y="10"/>
                    <a:pt x="5" y="10"/>
                    <a:pt x="6" y="10"/>
                  </a:cubicBezTo>
                  <a:cubicBezTo>
                    <a:pt x="8" y="9"/>
                    <a:pt x="10" y="6"/>
                    <a:pt x="10" y="4"/>
                  </a:cubicBezTo>
                  <a:cubicBezTo>
                    <a:pt x="9" y="1"/>
                    <a:pt x="8" y="0"/>
                    <a:pt x="6" y="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28" name="Freeform 24">
              <a:extLst>
                <a:ext uri="{FF2B5EF4-FFF2-40B4-BE49-F238E27FC236}">
                  <a16:creationId xmlns:a16="http://schemas.microsoft.com/office/drawing/2014/main" id="{EB4C9BF7-5182-4489-BC3F-41A9384DF774}"/>
                </a:ext>
              </a:extLst>
            </p:cNvPr>
            <p:cNvSpPr>
              <a:spLocks/>
            </p:cNvSpPr>
            <p:nvPr/>
          </p:nvSpPr>
          <p:spPr bwMode="auto">
            <a:xfrm>
              <a:off x="1083760" y="785465"/>
              <a:ext cx="34597" cy="31848"/>
            </a:xfrm>
            <a:custGeom>
              <a:avLst/>
              <a:gdLst>
                <a:gd name="T0" fmla="*/ 16 w 17"/>
                <a:gd name="T1" fmla="*/ 1 h 17"/>
                <a:gd name="T2" fmla="*/ 14 w 17"/>
                <a:gd name="T3" fmla="*/ 1 h 17"/>
                <a:gd name="T4" fmla="*/ 12 w 17"/>
                <a:gd name="T5" fmla="*/ 1 h 17"/>
                <a:gd name="T6" fmla="*/ 9 w 17"/>
                <a:gd name="T7" fmla="*/ 0 h 17"/>
                <a:gd name="T8" fmla="*/ 5 w 17"/>
                <a:gd name="T9" fmla="*/ 1 h 17"/>
                <a:gd name="T10" fmla="*/ 3 w 17"/>
                <a:gd name="T11" fmla="*/ 4 h 17"/>
                <a:gd name="T12" fmla="*/ 2 w 17"/>
                <a:gd name="T13" fmla="*/ 5 h 17"/>
                <a:gd name="T14" fmla="*/ 1 w 17"/>
                <a:gd name="T15" fmla="*/ 12 h 17"/>
                <a:gd name="T16" fmla="*/ 8 w 17"/>
                <a:gd name="T17" fmla="*/ 17 h 17"/>
                <a:gd name="T18" fmla="*/ 14 w 17"/>
                <a:gd name="T19" fmla="*/ 14 h 17"/>
                <a:gd name="T20" fmla="*/ 16 w 17"/>
                <a:gd name="T21" fmla="*/ 2 h 17"/>
                <a:gd name="T22" fmla="*/ 16 w 17"/>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7">
                  <a:moveTo>
                    <a:pt x="16" y="1"/>
                  </a:moveTo>
                  <a:cubicBezTo>
                    <a:pt x="14" y="1"/>
                    <a:pt x="14" y="1"/>
                    <a:pt x="14" y="1"/>
                  </a:cubicBezTo>
                  <a:cubicBezTo>
                    <a:pt x="14" y="1"/>
                    <a:pt x="13" y="1"/>
                    <a:pt x="12" y="1"/>
                  </a:cubicBezTo>
                  <a:cubicBezTo>
                    <a:pt x="11" y="0"/>
                    <a:pt x="10" y="0"/>
                    <a:pt x="9" y="0"/>
                  </a:cubicBezTo>
                  <a:cubicBezTo>
                    <a:pt x="8" y="0"/>
                    <a:pt x="6" y="1"/>
                    <a:pt x="5" y="1"/>
                  </a:cubicBezTo>
                  <a:cubicBezTo>
                    <a:pt x="5" y="2"/>
                    <a:pt x="4" y="3"/>
                    <a:pt x="3" y="4"/>
                  </a:cubicBezTo>
                  <a:cubicBezTo>
                    <a:pt x="2" y="5"/>
                    <a:pt x="2" y="5"/>
                    <a:pt x="2" y="5"/>
                  </a:cubicBezTo>
                  <a:cubicBezTo>
                    <a:pt x="1" y="7"/>
                    <a:pt x="0" y="10"/>
                    <a:pt x="1" y="12"/>
                  </a:cubicBezTo>
                  <a:cubicBezTo>
                    <a:pt x="2" y="15"/>
                    <a:pt x="5" y="17"/>
                    <a:pt x="8" y="17"/>
                  </a:cubicBezTo>
                  <a:cubicBezTo>
                    <a:pt x="10" y="17"/>
                    <a:pt x="12" y="16"/>
                    <a:pt x="14" y="14"/>
                  </a:cubicBezTo>
                  <a:cubicBezTo>
                    <a:pt x="16" y="12"/>
                    <a:pt x="17" y="5"/>
                    <a:pt x="16" y="2"/>
                  </a:cubicBezTo>
                  <a:lnTo>
                    <a:pt x="16" y="1"/>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29" name="Freeform 25">
              <a:extLst>
                <a:ext uri="{FF2B5EF4-FFF2-40B4-BE49-F238E27FC236}">
                  <a16:creationId xmlns:a16="http://schemas.microsoft.com/office/drawing/2014/main" id="{F1F0B1C0-9467-4169-8FC1-3783D5977954}"/>
                </a:ext>
              </a:extLst>
            </p:cNvPr>
            <p:cNvSpPr>
              <a:spLocks/>
            </p:cNvSpPr>
            <p:nvPr/>
          </p:nvSpPr>
          <p:spPr bwMode="auto">
            <a:xfrm>
              <a:off x="1165229" y="751562"/>
              <a:ext cx="42409" cy="49313"/>
            </a:xfrm>
            <a:custGeom>
              <a:avLst/>
              <a:gdLst>
                <a:gd name="T0" fmla="*/ 17 w 21"/>
                <a:gd name="T1" fmla="*/ 0 h 26"/>
                <a:gd name="T2" fmla="*/ 13 w 21"/>
                <a:gd name="T3" fmla="*/ 2 h 26"/>
                <a:gd name="T4" fmla="*/ 9 w 21"/>
                <a:gd name="T5" fmla="*/ 11 h 26"/>
                <a:gd name="T6" fmla="*/ 8 w 21"/>
                <a:gd name="T7" fmla="*/ 13 h 26"/>
                <a:gd name="T8" fmla="*/ 4 w 21"/>
                <a:gd name="T9" fmla="*/ 18 h 26"/>
                <a:gd name="T10" fmla="*/ 2 w 21"/>
                <a:gd name="T11" fmla="*/ 21 h 26"/>
                <a:gd name="T12" fmla="*/ 1 w 21"/>
                <a:gd name="T13" fmla="*/ 25 h 26"/>
                <a:gd name="T14" fmla="*/ 4 w 21"/>
                <a:gd name="T15" fmla="*/ 26 h 26"/>
                <a:gd name="T16" fmla="*/ 14 w 21"/>
                <a:gd name="T17" fmla="*/ 22 h 26"/>
                <a:gd name="T18" fmla="*/ 20 w 21"/>
                <a:gd name="T19" fmla="*/ 10 h 26"/>
                <a:gd name="T20" fmla="*/ 19 w 21"/>
                <a:gd name="T21" fmla="*/ 1 h 26"/>
                <a:gd name="T22" fmla="*/ 17 w 21"/>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6">
                  <a:moveTo>
                    <a:pt x="17" y="0"/>
                  </a:moveTo>
                  <a:cubicBezTo>
                    <a:pt x="15" y="0"/>
                    <a:pt x="14" y="1"/>
                    <a:pt x="13" y="2"/>
                  </a:cubicBezTo>
                  <a:cubicBezTo>
                    <a:pt x="11" y="5"/>
                    <a:pt x="9" y="8"/>
                    <a:pt x="9" y="11"/>
                  </a:cubicBezTo>
                  <a:cubicBezTo>
                    <a:pt x="8" y="12"/>
                    <a:pt x="8" y="13"/>
                    <a:pt x="8" y="13"/>
                  </a:cubicBezTo>
                  <a:cubicBezTo>
                    <a:pt x="7" y="16"/>
                    <a:pt x="6" y="17"/>
                    <a:pt x="4" y="18"/>
                  </a:cubicBezTo>
                  <a:cubicBezTo>
                    <a:pt x="4" y="19"/>
                    <a:pt x="3" y="20"/>
                    <a:pt x="2" y="21"/>
                  </a:cubicBezTo>
                  <a:cubicBezTo>
                    <a:pt x="2" y="22"/>
                    <a:pt x="0" y="23"/>
                    <a:pt x="1" y="25"/>
                  </a:cubicBezTo>
                  <a:cubicBezTo>
                    <a:pt x="1" y="25"/>
                    <a:pt x="2" y="26"/>
                    <a:pt x="4" y="26"/>
                  </a:cubicBezTo>
                  <a:cubicBezTo>
                    <a:pt x="6" y="26"/>
                    <a:pt x="12" y="23"/>
                    <a:pt x="14" y="22"/>
                  </a:cubicBezTo>
                  <a:cubicBezTo>
                    <a:pt x="17" y="19"/>
                    <a:pt x="19" y="15"/>
                    <a:pt x="20" y="10"/>
                  </a:cubicBezTo>
                  <a:cubicBezTo>
                    <a:pt x="20" y="10"/>
                    <a:pt x="21" y="4"/>
                    <a:pt x="19" y="1"/>
                  </a:cubicBezTo>
                  <a:cubicBezTo>
                    <a:pt x="18" y="0"/>
                    <a:pt x="18" y="0"/>
                    <a:pt x="17" y="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30" name="Freeform 26">
              <a:extLst>
                <a:ext uri="{FF2B5EF4-FFF2-40B4-BE49-F238E27FC236}">
                  <a16:creationId xmlns:a16="http://schemas.microsoft.com/office/drawing/2014/main" id="{FB711460-BB8C-48F1-90D8-54E7269E7BA1}"/>
                </a:ext>
              </a:extLst>
            </p:cNvPr>
            <p:cNvSpPr>
              <a:spLocks/>
            </p:cNvSpPr>
            <p:nvPr/>
          </p:nvSpPr>
          <p:spPr bwMode="auto">
            <a:xfrm>
              <a:off x="1199826" y="721769"/>
              <a:ext cx="32365" cy="28766"/>
            </a:xfrm>
            <a:custGeom>
              <a:avLst/>
              <a:gdLst>
                <a:gd name="T0" fmla="*/ 15 w 16"/>
                <a:gd name="T1" fmla="*/ 1 h 15"/>
                <a:gd name="T2" fmla="*/ 12 w 16"/>
                <a:gd name="T3" fmla="*/ 0 h 15"/>
                <a:gd name="T4" fmla="*/ 9 w 16"/>
                <a:gd name="T5" fmla="*/ 1 h 15"/>
                <a:gd name="T6" fmla="*/ 7 w 16"/>
                <a:gd name="T7" fmla="*/ 3 h 15"/>
                <a:gd name="T8" fmla="*/ 6 w 16"/>
                <a:gd name="T9" fmla="*/ 4 h 15"/>
                <a:gd name="T10" fmla="*/ 0 w 16"/>
                <a:gd name="T11" fmla="*/ 13 h 15"/>
                <a:gd name="T12" fmla="*/ 0 w 16"/>
                <a:gd name="T13" fmla="*/ 15 h 15"/>
                <a:gd name="T14" fmla="*/ 1 w 16"/>
                <a:gd name="T15" fmla="*/ 15 h 15"/>
                <a:gd name="T16" fmla="*/ 3 w 16"/>
                <a:gd name="T17" fmla="*/ 15 h 15"/>
                <a:gd name="T18" fmla="*/ 7 w 16"/>
                <a:gd name="T19" fmla="*/ 13 h 15"/>
                <a:gd name="T20" fmla="*/ 9 w 16"/>
                <a:gd name="T21" fmla="*/ 12 h 15"/>
                <a:gd name="T22" fmla="*/ 10 w 16"/>
                <a:gd name="T23" fmla="*/ 11 h 15"/>
                <a:gd name="T24" fmla="*/ 16 w 16"/>
                <a:gd name="T25" fmla="*/ 7 h 15"/>
                <a:gd name="T26" fmla="*/ 15 w 16"/>
                <a:gd name="T27"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5">
                  <a:moveTo>
                    <a:pt x="15" y="1"/>
                  </a:moveTo>
                  <a:cubicBezTo>
                    <a:pt x="15" y="0"/>
                    <a:pt x="14" y="0"/>
                    <a:pt x="12" y="0"/>
                  </a:cubicBezTo>
                  <a:cubicBezTo>
                    <a:pt x="11" y="0"/>
                    <a:pt x="10" y="0"/>
                    <a:pt x="9" y="1"/>
                  </a:cubicBezTo>
                  <a:cubicBezTo>
                    <a:pt x="9" y="1"/>
                    <a:pt x="8" y="2"/>
                    <a:pt x="7" y="3"/>
                  </a:cubicBezTo>
                  <a:cubicBezTo>
                    <a:pt x="7" y="3"/>
                    <a:pt x="7" y="3"/>
                    <a:pt x="6" y="4"/>
                  </a:cubicBezTo>
                  <a:cubicBezTo>
                    <a:pt x="3" y="5"/>
                    <a:pt x="0" y="9"/>
                    <a:pt x="0" y="13"/>
                  </a:cubicBezTo>
                  <a:cubicBezTo>
                    <a:pt x="0" y="15"/>
                    <a:pt x="0" y="15"/>
                    <a:pt x="0" y="15"/>
                  </a:cubicBezTo>
                  <a:cubicBezTo>
                    <a:pt x="1" y="15"/>
                    <a:pt x="1" y="15"/>
                    <a:pt x="1" y="15"/>
                  </a:cubicBezTo>
                  <a:cubicBezTo>
                    <a:pt x="2" y="15"/>
                    <a:pt x="2" y="15"/>
                    <a:pt x="3" y="15"/>
                  </a:cubicBezTo>
                  <a:cubicBezTo>
                    <a:pt x="5" y="15"/>
                    <a:pt x="6" y="14"/>
                    <a:pt x="7" y="13"/>
                  </a:cubicBezTo>
                  <a:cubicBezTo>
                    <a:pt x="8" y="13"/>
                    <a:pt x="8" y="12"/>
                    <a:pt x="9" y="12"/>
                  </a:cubicBezTo>
                  <a:cubicBezTo>
                    <a:pt x="9" y="12"/>
                    <a:pt x="10" y="11"/>
                    <a:pt x="10" y="11"/>
                  </a:cubicBezTo>
                  <a:cubicBezTo>
                    <a:pt x="12" y="11"/>
                    <a:pt x="14" y="10"/>
                    <a:pt x="16" y="7"/>
                  </a:cubicBezTo>
                  <a:cubicBezTo>
                    <a:pt x="16" y="5"/>
                    <a:pt x="16" y="3"/>
                    <a:pt x="15" y="1"/>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31" name="Freeform 27">
              <a:extLst>
                <a:ext uri="{FF2B5EF4-FFF2-40B4-BE49-F238E27FC236}">
                  <a16:creationId xmlns:a16="http://schemas.microsoft.com/office/drawing/2014/main" id="{0272DEA5-14D7-4707-824F-B51013D5E249}"/>
                </a:ext>
              </a:extLst>
            </p:cNvPr>
            <p:cNvSpPr>
              <a:spLocks/>
            </p:cNvSpPr>
            <p:nvPr/>
          </p:nvSpPr>
          <p:spPr bwMode="auto">
            <a:xfrm>
              <a:off x="952069" y="808066"/>
              <a:ext cx="22320" cy="16438"/>
            </a:xfrm>
            <a:custGeom>
              <a:avLst/>
              <a:gdLst>
                <a:gd name="T0" fmla="*/ 7 w 11"/>
                <a:gd name="T1" fmla="*/ 0 h 9"/>
                <a:gd name="T2" fmla="*/ 6 w 11"/>
                <a:gd name="T3" fmla="*/ 0 h 9"/>
                <a:gd name="T4" fmla="*/ 1 w 11"/>
                <a:gd name="T5" fmla="*/ 4 h 9"/>
                <a:gd name="T6" fmla="*/ 4 w 11"/>
                <a:gd name="T7" fmla="*/ 8 h 9"/>
                <a:gd name="T8" fmla="*/ 5 w 11"/>
                <a:gd name="T9" fmla="*/ 9 h 9"/>
                <a:gd name="T10" fmla="*/ 6 w 11"/>
                <a:gd name="T11" fmla="*/ 9 h 9"/>
                <a:gd name="T12" fmla="*/ 11 w 11"/>
                <a:gd name="T13" fmla="*/ 5 h 9"/>
                <a:gd name="T14" fmla="*/ 7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7" y="0"/>
                  </a:moveTo>
                  <a:cubicBezTo>
                    <a:pt x="6" y="0"/>
                    <a:pt x="6" y="0"/>
                    <a:pt x="6" y="0"/>
                  </a:cubicBezTo>
                  <a:cubicBezTo>
                    <a:pt x="3" y="0"/>
                    <a:pt x="1" y="2"/>
                    <a:pt x="1" y="4"/>
                  </a:cubicBezTo>
                  <a:cubicBezTo>
                    <a:pt x="0" y="6"/>
                    <a:pt x="1" y="8"/>
                    <a:pt x="4" y="8"/>
                  </a:cubicBezTo>
                  <a:cubicBezTo>
                    <a:pt x="4" y="9"/>
                    <a:pt x="5" y="9"/>
                    <a:pt x="5" y="9"/>
                  </a:cubicBezTo>
                  <a:cubicBezTo>
                    <a:pt x="6" y="9"/>
                    <a:pt x="6" y="9"/>
                    <a:pt x="6" y="9"/>
                  </a:cubicBezTo>
                  <a:cubicBezTo>
                    <a:pt x="9" y="9"/>
                    <a:pt x="11" y="7"/>
                    <a:pt x="11" y="5"/>
                  </a:cubicBezTo>
                  <a:cubicBezTo>
                    <a:pt x="11" y="3"/>
                    <a:pt x="10" y="0"/>
                    <a:pt x="7" y="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32" name="Freeform 28">
              <a:extLst>
                <a:ext uri="{FF2B5EF4-FFF2-40B4-BE49-F238E27FC236}">
                  <a16:creationId xmlns:a16="http://schemas.microsoft.com/office/drawing/2014/main" id="{38A66A8D-7802-4DC4-9A62-83F3031B854B}"/>
                </a:ext>
              </a:extLst>
            </p:cNvPr>
            <p:cNvSpPr>
              <a:spLocks/>
            </p:cNvSpPr>
            <p:nvPr/>
          </p:nvSpPr>
          <p:spPr bwMode="auto">
            <a:xfrm>
              <a:off x="1025726" y="496779"/>
              <a:ext cx="35713" cy="24656"/>
            </a:xfrm>
            <a:custGeom>
              <a:avLst/>
              <a:gdLst>
                <a:gd name="T0" fmla="*/ 4 w 18"/>
                <a:gd name="T1" fmla="*/ 9 h 13"/>
                <a:gd name="T2" fmla="*/ 6 w 18"/>
                <a:gd name="T3" fmla="*/ 10 h 13"/>
                <a:gd name="T4" fmla="*/ 13 w 18"/>
                <a:gd name="T5" fmla="*/ 13 h 13"/>
                <a:gd name="T6" fmla="*/ 14 w 18"/>
                <a:gd name="T7" fmla="*/ 13 h 13"/>
                <a:gd name="T8" fmla="*/ 18 w 18"/>
                <a:gd name="T9" fmla="*/ 8 h 13"/>
                <a:gd name="T10" fmla="*/ 14 w 18"/>
                <a:gd name="T11" fmla="*/ 2 h 13"/>
                <a:gd name="T12" fmla="*/ 11 w 18"/>
                <a:gd name="T13" fmla="*/ 1 h 13"/>
                <a:gd name="T14" fmla="*/ 10 w 18"/>
                <a:gd name="T15" fmla="*/ 1 h 13"/>
                <a:gd name="T16" fmla="*/ 8 w 18"/>
                <a:gd name="T17" fmla="*/ 1 h 13"/>
                <a:gd name="T18" fmla="*/ 7 w 18"/>
                <a:gd name="T19" fmla="*/ 1 h 13"/>
                <a:gd name="T20" fmla="*/ 6 w 18"/>
                <a:gd name="T21" fmla="*/ 0 h 13"/>
                <a:gd name="T22" fmla="*/ 3 w 18"/>
                <a:gd name="T23" fmla="*/ 0 h 13"/>
                <a:gd name="T24" fmla="*/ 0 w 18"/>
                <a:gd name="T25" fmla="*/ 3 h 13"/>
                <a:gd name="T26" fmla="*/ 4 w 18"/>
                <a:gd name="T2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3">
                  <a:moveTo>
                    <a:pt x="4" y="9"/>
                  </a:moveTo>
                  <a:cubicBezTo>
                    <a:pt x="5" y="10"/>
                    <a:pt x="5" y="10"/>
                    <a:pt x="6" y="10"/>
                  </a:cubicBezTo>
                  <a:cubicBezTo>
                    <a:pt x="8" y="11"/>
                    <a:pt x="10" y="13"/>
                    <a:pt x="13" y="13"/>
                  </a:cubicBezTo>
                  <a:cubicBezTo>
                    <a:pt x="13" y="13"/>
                    <a:pt x="13" y="13"/>
                    <a:pt x="14" y="13"/>
                  </a:cubicBezTo>
                  <a:cubicBezTo>
                    <a:pt x="16" y="12"/>
                    <a:pt x="18" y="10"/>
                    <a:pt x="18" y="8"/>
                  </a:cubicBezTo>
                  <a:cubicBezTo>
                    <a:pt x="18" y="5"/>
                    <a:pt x="17" y="3"/>
                    <a:pt x="14" y="2"/>
                  </a:cubicBezTo>
                  <a:cubicBezTo>
                    <a:pt x="13" y="1"/>
                    <a:pt x="12" y="1"/>
                    <a:pt x="11" y="1"/>
                  </a:cubicBezTo>
                  <a:cubicBezTo>
                    <a:pt x="11" y="1"/>
                    <a:pt x="10" y="1"/>
                    <a:pt x="10" y="1"/>
                  </a:cubicBezTo>
                  <a:cubicBezTo>
                    <a:pt x="9" y="1"/>
                    <a:pt x="9" y="1"/>
                    <a:pt x="8" y="1"/>
                  </a:cubicBezTo>
                  <a:cubicBezTo>
                    <a:pt x="7" y="1"/>
                    <a:pt x="7" y="1"/>
                    <a:pt x="7" y="1"/>
                  </a:cubicBezTo>
                  <a:cubicBezTo>
                    <a:pt x="6" y="1"/>
                    <a:pt x="6" y="1"/>
                    <a:pt x="6" y="0"/>
                  </a:cubicBezTo>
                  <a:cubicBezTo>
                    <a:pt x="5" y="0"/>
                    <a:pt x="4" y="0"/>
                    <a:pt x="3" y="0"/>
                  </a:cubicBezTo>
                  <a:cubicBezTo>
                    <a:pt x="2" y="0"/>
                    <a:pt x="0" y="0"/>
                    <a:pt x="0" y="3"/>
                  </a:cubicBezTo>
                  <a:cubicBezTo>
                    <a:pt x="0" y="6"/>
                    <a:pt x="2" y="8"/>
                    <a:pt x="4" y="9"/>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33" name="Freeform 29">
              <a:extLst>
                <a:ext uri="{FF2B5EF4-FFF2-40B4-BE49-F238E27FC236}">
                  <a16:creationId xmlns:a16="http://schemas.microsoft.com/office/drawing/2014/main" id="{D425C36A-64FD-472A-8D66-6E328205C3F4}"/>
                </a:ext>
              </a:extLst>
            </p:cNvPr>
            <p:cNvSpPr>
              <a:spLocks/>
            </p:cNvSpPr>
            <p:nvPr/>
          </p:nvSpPr>
          <p:spPr bwMode="auto">
            <a:xfrm>
              <a:off x="1069251" y="480342"/>
              <a:ext cx="22320" cy="16438"/>
            </a:xfrm>
            <a:custGeom>
              <a:avLst/>
              <a:gdLst>
                <a:gd name="T0" fmla="*/ 10 w 11"/>
                <a:gd name="T1" fmla="*/ 6 h 9"/>
                <a:gd name="T2" fmla="*/ 9 w 11"/>
                <a:gd name="T3" fmla="*/ 2 h 9"/>
                <a:gd name="T4" fmla="*/ 6 w 11"/>
                <a:gd name="T5" fmla="*/ 0 h 9"/>
                <a:gd name="T6" fmla="*/ 1 w 11"/>
                <a:gd name="T7" fmla="*/ 3 h 9"/>
                <a:gd name="T8" fmla="*/ 2 w 11"/>
                <a:gd name="T9" fmla="*/ 7 h 9"/>
                <a:gd name="T10" fmla="*/ 5 w 11"/>
                <a:gd name="T11" fmla="*/ 9 h 9"/>
                <a:gd name="T12" fmla="*/ 10 w 11"/>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10" y="6"/>
                  </a:moveTo>
                  <a:cubicBezTo>
                    <a:pt x="11" y="4"/>
                    <a:pt x="10" y="3"/>
                    <a:pt x="9" y="2"/>
                  </a:cubicBezTo>
                  <a:cubicBezTo>
                    <a:pt x="8" y="1"/>
                    <a:pt x="7" y="0"/>
                    <a:pt x="6" y="0"/>
                  </a:cubicBezTo>
                  <a:cubicBezTo>
                    <a:pt x="4" y="0"/>
                    <a:pt x="2" y="2"/>
                    <a:pt x="1" y="3"/>
                  </a:cubicBezTo>
                  <a:cubicBezTo>
                    <a:pt x="0" y="4"/>
                    <a:pt x="1" y="6"/>
                    <a:pt x="2" y="7"/>
                  </a:cubicBezTo>
                  <a:cubicBezTo>
                    <a:pt x="3" y="8"/>
                    <a:pt x="4" y="9"/>
                    <a:pt x="5" y="9"/>
                  </a:cubicBezTo>
                  <a:cubicBezTo>
                    <a:pt x="8" y="9"/>
                    <a:pt x="9" y="8"/>
                    <a:pt x="10" y="6"/>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34" name="Freeform 30">
              <a:extLst>
                <a:ext uri="{FF2B5EF4-FFF2-40B4-BE49-F238E27FC236}">
                  <a16:creationId xmlns:a16="http://schemas.microsoft.com/office/drawing/2014/main" id="{0A7B6EA2-33F4-4946-B2FC-183D0D8DB802}"/>
                </a:ext>
              </a:extLst>
            </p:cNvPr>
            <p:cNvSpPr>
              <a:spLocks/>
            </p:cNvSpPr>
            <p:nvPr/>
          </p:nvSpPr>
          <p:spPr bwMode="auto">
            <a:xfrm>
              <a:off x="1262323" y="984770"/>
              <a:ext cx="960895" cy="911260"/>
            </a:xfrm>
            <a:custGeom>
              <a:avLst/>
              <a:gdLst>
                <a:gd name="T0" fmla="*/ 448 w 475"/>
                <a:gd name="T1" fmla="*/ 200 h 489"/>
                <a:gd name="T2" fmla="*/ 445 w 475"/>
                <a:gd name="T3" fmla="*/ 190 h 489"/>
                <a:gd name="T4" fmla="*/ 445 w 475"/>
                <a:gd name="T5" fmla="*/ 175 h 489"/>
                <a:gd name="T6" fmla="*/ 425 w 475"/>
                <a:gd name="T7" fmla="*/ 164 h 489"/>
                <a:gd name="T8" fmla="*/ 412 w 475"/>
                <a:gd name="T9" fmla="*/ 158 h 489"/>
                <a:gd name="T10" fmla="*/ 402 w 475"/>
                <a:gd name="T11" fmla="*/ 151 h 489"/>
                <a:gd name="T12" fmla="*/ 391 w 475"/>
                <a:gd name="T13" fmla="*/ 143 h 489"/>
                <a:gd name="T14" fmla="*/ 382 w 475"/>
                <a:gd name="T15" fmla="*/ 124 h 489"/>
                <a:gd name="T16" fmla="*/ 354 w 475"/>
                <a:gd name="T17" fmla="*/ 102 h 489"/>
                <a:gd name="T18" fmla="*/ 242 w 475"/>
                <a:gd name="T19" fmla="*/ 20 h 489"/>
                <a:gd name="T20" fmla="*/ 193 w 475"/>
                <a:gd name="T21" fmla="*/ 280 h 489"/>
                <a:gd name="T22" fmla="*/ 87 w 475"/>
                <a:gd name="T23" fmla="*/ 311 h 489"/>
                <a:gd name="T24" fmla="*/ 81 w 475"/>
                <a:gd name="T25" fmla="*/ 313 h 489"/>
                <a:gd name="T26" fmla="*/ 54 w 475"/>
                <a:gd name="T27" fmla="*/ 314 h 489"/>
                <a:gd name="T28" fmla="*/ 42 w 475"/>
                <a:gd name="T29" fmla="*/ 321 h 489"/>
                <a:gd name="T30" fmla="*/ 36 w 475"/>
                <a:gd name="T31" fmla="*/ 320 h 489"/>
                <a:gd name="T32" fmla="*/ 13 w 475"/>
                <a:gd name="T33" fmla="*/ 321 h 489"/>
                <a:gd name="T34" fmla="*/ 5 w 475"/>
                <a:gd name="T35" fmla="*/ 340 h 489"/>
                <a:gd name="T36" fmla="*/ 7 w 475"/>
                <a:gd name="T37" fmla="*/ 361 h 489"/>
                <a:gd name="T38" fmla="*/ 6 w 475"/>
                <a:gd name="T39" fmla="*/ 370 h 489"/>
                <a:gd name="T40" fmla="*/ 15 w 475"/>
                <a:gd name="T41" fmla="*/ 383 h 489"/>
                <a:gd name="T42" fmla="*/ 23 w 475"/>
                <a:gd name="T43" fmla="*/ 409 h 489"/>
                <a:gd name="T44" fmla="*/ 28 w 475"/>
                <a:gd name="T45" fmla="*/ 427 h 489"/>
                <a:gd name="T46" fmla="*/ 41 w 475"/>
                <a:gd name="T47" fmla="*/ 426 h 489"/>
                <a:gd name="T48" fmla="*/ 50 w 475"/>
                <a:gd name="T49" fmla="*/ 425 h 489"/>
                <a:gd name="T50" fmla="*/ 74 w 475"/>
                <a:gd name="T51" fmla="*/ 424 h 489"/>
                <a:gd name="T52" fmla="*/ 84 w 475"/>
                <a:gd name="T53" fmla="*/ 412 h 489"/>
                <a:gd name="T54" fmla="*/ 96 w 475"/>
                <a:gd name="T55" fmla="*/ 426 h 489"/>
                <a:gd name="T56" fmla="*/ 110 w 475"/>
                <a:gd name="T57" fmla="*/ 449 h 489"/>
                <a:gd name="T58" fmla="*/ 104 w 475"/>
                <a:gd name="T59" fmla="*/ 463 h 489"/>
                <a:gd name="T60" fmla="*/ 113 w 475"/>
                <a:gd name="T61" fmla="*/ 469 h 489"/>
                <a:gd name="T62" fmla="*/ 122 w 475"/>
                <a:gd name="T63" fmla="*/ 488 h 489"/>
                <a:gd name="T64" fmla="*/ 132 w 475"/>
                <a:gd name="T65" fmla="*/ 480 h 489"/>
                <a:gd name="T66" fmla="*/ 148 w 475"/>
                <a:gd name="T67" fmla="*/ 489 h 489"/>
                <a:gd name="T68" fmla="*/ 161 w 475"/>
                <a:gd name="T69" fmla="*/ 482 h 489"/>
                <a:gd name="T70" fmla="*/ 164 w 475"/>
                <a:gd name="T71" fmla="*/ 476 h 489"/>
                <a:gd name="T72" fmla="*/ 173 w 475"/>
                <a:gd name="T73" fmla="*/ 482 h 489"/>
                <a:gd name="T74" fmla="*/ 181 w 475"/>
                <a:gd name="T75" fmla="*/ 483 h 489"/>
                <a:gd name="T76" fmla="*/ 193 w 475"/>
                <a:gd name="T77" fmla="*/ 478 h 489"/>
                <a:gd name="T78" fmla="*/ 199 w 475"/>
                <a:gd name="T79" fmla="*/ 457 h 489"/>
                <a:gd name="T80" fmla="*/ 220 w 475"/>
                <a:gd name="T81" fmla="*/ 423 h 489"/>
                <a:gd name="T82" fmla="*/ 229 w 475"/>
                <a:gd name="T83" fmla="*/ 403 h 489"/>
                <a:gd name="T84" fmla="*/ 236 w 475"/>
                <a:gd name="T85" fmla="*/ 381 h 489"/>
                <a:gd name="T86" fmla="*/ 251 w 475"/>
                <a:gd name="T87" fmla="*/ 389 h 489"/>
                <a:gd name="T88" fmla="*/ 257 w 475"/>
                <a:gd name="T89" fmla="*/ 385 h 489"/>
                <a:gd name="T90" fmla="*/ 260 w 475"/>
                <a:gd name="T91" fmla="*/ 373 h 489"/>
                <a:gd name="T92" fmla="*/ 268 w 475"/>
                <a:gd name="T93" fmla="*/ 372 h 489"/>
                <a:gd name="T94" fmla="*/ 283 w 475"/>
                <a:gd name="T95" fmla="*/ 353 h 489"/>
                <a:gd name="T96" fmla="*/ 296 w 475"/>
                <a:gd name="T97" fmla="*/ 350 h 489"/>
                <a:gd name="T98" fmla="*/ 321 w 475"/>
                <a:gd name="T99" fmla="*/ 336 h 489"/>
                <a:gd name="T100" fmla="*/ 340 w 475"/>
                <a:gd name="T101" fmla="*/ 329 h 489"/>
                <a:gd name="T102" fmla="*/ 357 w 475"/>
                <a:gd name="T103" fmla="*/ 330 h 489"/>
                <a:gd name="T104" fmla="*/ 373 w 475"/>
                <a:gd name="T105" fmla="*/ 331 h 489"/>
                <a:gd name="T106" fmla="*/ 409 w 475"/>
                <a:gd name="T107" fmla="*/ 321 h 489"/>
                <a:gd name="T108" fmla="*/ 429 w 475"/>
                <a:gd name="T109" fmla="*/ 320 h 489"/>
                <a:gd name="T110" fmla="*/ 442 w 475"/>
                <a:gd name="T111" fmla="*/ 317 h 489"/>
                <a:gd name="T112" fmla="*/ 457 w 475"/>
                <a:gd name="T113" fmla="*/ 313 h 489"/>
                <a:gd name="T114" fmla="*/ 469 w 475"/>
                <a:gd name="T115" fmla="*/ 290 h 489"/>
                <a:gd name="T116" fmla="*/ 474 w 475"/>
                <a:gd name="T117" fmla="*/ 205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5" h="489">
                  <a:moveTo>
                    <a:pt x="474" y="205"/>
                  </a:moveTo>
                  <a:cubicBezTo>
                    <a:pt x="474" y="204"/>
                    <a:pt x="474" y="203"/>
                    <a:pt x="474" y="202"/>
                  </a:cubicBezTo>
                  <a:cubicBezTo>
                    <a:pt x="475" y="200"/>
                    <a:pt x="475" y="198"/>
                    <a:pt x="474" y="196"/>
                  </a:cubicBezTo>
                  <a:cubicBezTo>
                    <a:pt x="474" y="194"/>
                    <a:pt x="474" y="194"/>
                    <a:pt x="474" y="194"/>
                  </a:cubicBezTo>
                  <a:cubicBezTo>
                    <a:pt x="448" y="200"/>
                    <a:pt x="448" y="200"/>
                    <a:pt x="448" y="200"/>
                  </a:cubicBezTo>
                  <a:cubicBezTo>
                    <a:pt x="447" y="198"/>
                    <a:pt x="446" y="196"/>
                    <a:pt x="444" y="195"/>
                  </a:cubicBezTo>
                  <a:cubicBezTo>
                    <a:pt x="444" y="195"/>
                    <a:pt x="444" y="194"/>
                    <a:pt x="443" y="194"/>
                  </a:cubicBezTo>
                  <a:cubicBezTo>
                    <a:pt x="443" y="194"/>
                    <a:pt x="443" y="194"/>
                    <a:pt x="443" y="194"/>
                  </a:cubicBezTo>
                  <a:cubicBezTo>
                    <a:pt x="443" y="193"/>
                    <a:pt x="443" y="192"/>
                    <a:pt x="443" y="192"/>
                  </a:cubicBezTo>
                  <a:cubicBezTo>
                    <a:pt x="444" y="191"/>
                    <a:pt x="444" y="190"/>
                    <a:pt x="445" y="190"/>
                  </a:cubicBezTo>
                  <a:cubicBezTo>
                    <a:pt x="446" y="188"/>
                    <a:pt x="447" y="187"/>
                    <a:pt x="447" y="184"/>
                  </a:cubicBezTo>
                  <a:cubicBezTo>
                    <a:pt x="447" y="183"/>
                    <a:pt x="447" y="182"/>
                    <a:pt x="446" y="182"/>
                  </a:cubicBezTo>
                  <a:cubicBezTo>
                    <a:pt x="446" y="181"/>
                    <a:pt x="446" y="181"/>
                    <a:pt x="446" y="180"/>
                  </a:cubicBezTo>
                  <a:cubicBezTo>
                    <a:pt x="445" y="179"/>
                    <a:pt x="445" y="178"/>
                    <a:pt x="445" y="177"/>
                  </a:cubicBezTo>
                  <a:cubicBezTo>
                    <a:pt x="445" y="176"/>
                    <a:pt x="445" y="176"/>
                    <a:pt x="445" y="175"/>
                  </a:cubicBezTo>
                  <a:cubicBezTo>
                    <a:pt x="445" y="172"/>
                    <a:pt x="444" y="169"/>
                    <a:pt x="440" y="168"/>
                  </a:cubicBezTo>
                  <a:cubicBezTo>
                    <a:pt x="440" y="167"/>
                    <a:pt x="439" y="167"/>
                    <a:pt x="439" y="167"/>
                  </a:cubicBezTo>
                  <a:cubicBezTo>
                    <a:pt x="437" y="166"/>
                    <a:pt x="435" y="165"/>
                    <a:pt x="433" y="165"/>
                  </a:cubicBezTo>
                  <a:cubicBezTo>
                    <a:pt x="432" y="165"/>
                    <a:pt x="431" y="164"/>
                    <a:pt x="430" y="164"/>
                  </a:cubicBezTo>
                  <a:cubicBezTo>
                    <a:pt x="428" y="164"/>
                    <a:pt x="426" y="164"/>
                    <a:pt x="425" y="164"/>
                  </a:cubicBezTo>
                  <a:cubicBezTo>
                    <a:pt x="423" y="163"/>
                    <a:pt x="422" y="161"/>
                    <a:pt x="421" y="160"/>
                  </a:cubicBezTo>
                  <a:cubicBezTo>
                    <a:pt x="420" y="160"/>
                    <a:pt x="420" y="159"/>
                    <a:pt x="420" y="159"/>
                  </a:cubicBezTo>
                  <a:cubicBezTo>
                    <a:pt x="419" y="158"/>
                    <a:pt x="419" y="157"/>
                    <a:pt x="417" y="157"/>
                  </a:cubicBezTo>
                  <a:cubicBezTo>
                    <a:pt x="416" y="157"/>
                    <a:pt x="415" y="157"/>
                    <a:pt x="414" y="158"/>
                  </a:cubicBezTo>
                  <a:cubicBezTo>
                    <a:pt x="413" y="158"/>
                    <a:pt x="412" y="158"/>
                    <a:pt x="412" y="158"/>
                  </a:cubicBezTo>
                  <a:cubicBezTo>
                    <a:pt x="411" y="158"/>
                    <a:pt x="411" y="158"/>
                    <a:pt x="411" y="158"/>
                  </a:cubicBezTo>
                  <a:cubicBezTo>
                    <a:pt x="410" y="158"/>
                    <a:pt x="409" y="157"/>
                    <a:pt x="408" y="157"/>
                  </a:cubicBezTo>
                  <a:cubicBezTo>
                    <a:pt x="407" y="156"/>
                    <a:pt x="407" y="156"/>
                    <a:pt x="407" y="156"/>
                  </a:cubicBezTo>
                  <a:cubicBezTo>
                    <a:pt x="405" y="155"/>
                    <a:pt x="404" y="155"/>
                    <a:pt x="403" y="153"/>
                  </a:cubicBezTo>
                  <a:cubicBezTo>
                    <a:pt x="403" y="153"/>
                    <a:pt x="403" y="152"/>
                    <a:pt x="402" y="151"/>
                  </a:cubicBezTo>
                  <a:cubicBezTo>
                    <a:pt x="402" y="150"/>
                    <a:pt x="402" y="149"/>
                    <a:pt x="401" y="148"/>
                  </a:cubicBezTo>
                  <a:cubicBezTo>
                    <a:pt x="400" y="146"/>
                    <a:pt x="398" y="145"/>
                    <a:pt x="398" y="145"/>
                  </a:cubicBezTo>
                  <a:cubicBezTo>
                    <a:pt x="397" y="144"/>
                    <a:pt x="396" y="144"/>
                    <a:pt x="395" y="144"/>
                  </a:cubicBezTo>
                  <a:cubicBezTo>
                    <a:pt x="394" y="144"/>
                    <a:pt x="393" y="144"/>
                    <a:pt x="393" y="143"/>
                  </a:cubicBezTo>
                  <a:cubicBezTo>
                    <a:pt x="392" y="143"/>
                    <a:pt x="392" y="143"/>
                    <a:pt x="391" y="143"/>
                  </a:cubicBezTo>
                  <a:cubicBezTo>
                    <a:pt x="390" y="142"/>
                    <a:pt x="390" y="142"/>
                    <a:pt x="389" y="142"/>
                  </a:cubicBezTo>
                  <a:cubicBezTo>
                    <a:pt x="389" y="142"/>
                    <a:pt x="388" y="142"/>
                    <a:pt x="388" y="142"/>
                  </a:cubicBezTo>
                  <a:cubicBezTo>
                    <a:pt x="388" y="141"/>
                    <a:pt x="388" y="139"/>
                    <a:pt x="388" y="138"/>
                  </a:cubicBezTo>
                  <a:cubicBezTo>
                    <a:pt x="388" y="135"/>
                    <a:pt x="388" y="131"/>
                    <a:pt x="387" y="129"/>
                  </a:cubicBezTo>
                  <a:cubicBezTo>
                    <a:pt x="386" y="127"/>
                    <a:pt x="384" y="126"/>
                    <a:pt x="382" y="124"/>
                  </a:cubicBezTo>
                  <a:cubicBezTo>
                    <a:pt x="381" y="124"/>
                    <a:pt x="380" y="123"/>
                    <a:pt x="379" y="122"/>
                  </a:cubicBezTo>
                  <a:cubicBezTo>
                    <a:pt x="378" y="122"/>
                    <a:pt x="378" y="121"/>
                    <a:pt x="377" y="120"/>
                  </a:cubicBezTo>
                  <a:cubicBezTo>
                    <a:pt x="375" y="118"/>
                    <a:pt x="374" y="117"/>
                    <a:pt x="372" y="116"/>
                  </a:cubicBezTo>
                  <a:cubicBezTo>
                    <a:pt x="369" y="114"/>
                    <a:pt x="365" y="111"/>
                    <a:pt x="361" y="108"/>
                  </a:cubicBezTo>
                  <a:cubicBezTo>
                    <a:pt x="359" y="106"/>
                    <a:pt x="356" y="104"/>
                    <a:pt x="354" y="102"/>
                  </a:cubicBezTo>
                  <a:cubicBezTo>
                    <a:pt x="352" y="101"/>
                    <a:pt x="350" y="100"/>
                    <a:pt x="348" y="99"/>
                  </a:cubicBezTo>
                  <a:cubicBezTo>
                    <a:pt x="340" y="93"/>
                    <a:pt x="340" y="93"/>
                    <a:pt x="340" y="93"/>
                  </a:cubicBezTo>
                  <a:cubicBezTo>
                    <a:pt x="331" y="86"/>
                    <a:pt x="324" y="80"/>
                    <a:pt x="316" y="75"/>
                  </a:cubicBezTo>
                  <a:cubicBezTo>
                    <a:pt x="306" y="66"/>
                    <a:pt x="294" y="57"/>
                    <a:pt x="280" y="47"/>
                  </a:cubicBezTo>
                  <a:cubicBezTo>
                    <a:pt x="267" y="38"/>
                    <a:pt x="253" y="28"/>
                    <a:pt x="242" y="20"/>
                  </a:cubicBezTo>
                  <a:cubicBezTo>
                    <a:pt x="241" y="19"/>
                    <a:pt x="241" y="19"/>
                    <a:pt x="241" y="19"/>
                  </a:cubicBezTo>
                  <a:cubicBezTo>
                    <a:pt x="235" y="15"/>
                    <a:pt x="229" y="10"/>
                    <a:pt x="223" y="6"/>
                  </a:cubicBezTo>
                  <a:cubicBezTo>
                    <a:pt x="216" y="0"/>
                    <a:pt x="216" y="0"/>
                    <a:pt x="216" y="0"/>
                  </a:cubicBezTo>
                  <a:cubicBezTo>
                    <a:pt x="171" y="0"/>
                    <a:pt x="171" y="0"/>
                    <a:pt x="171" y="0"/>
                  </a:cubicBezTo>
                  <a:cubicBezTo>
                    <a:pt x="193" y="280"/>
                    <a:pt x="193" y="280"/>
                    <a:pt x="193" y="280"/>
                  </a:cubicBezTo>
                  <a:cubicBezTo>
                    <a:pt x="194" y="281"/>
                    <a:pt x="194" y="281"/>
                    <a:pt x="194" y="281"/>
                  </a:cubicBezTo>
                  <a:cubicBezTo>
                    <a:pt x="201" y="285"/>
                    <a:pt x="200" y="290"/>
                    <a:pt x="199" y="292"/>
                  </a:cubicBezTo>
                  <a:cubicBezTo>
                    <a:pt x="195" y="313"/>
                    <a:pt x="195" y="313"/>
                    <a:pt x="195" y="313"/>
                  </a:cubicBezTo>
                  <a:cubicBezTo>
                    <a:pt x="88" y="313"/>
                    <a:pt x="88" y="313"/>
                    <a:pt x="88" y="313"/>
                  </a:cubicBezTo>
                  <a:cubicBezTo>
                    <a:pt x="88" y="312"/>
                    <a:pt x="87" y="312"/>
                    <a:pt x="87" y="311"/>
                  </a:cubicBezTo>
                  <a:cubicBezTo>
                    <a:pt x="87" y="310"/>
                    <a:pt x="86" y="310"/>
                    <a:pt x="86" y="309"/>
                  </a:cubicBezTo>
                  <a:cubicBezTo>
                    <a:pt x="84" y="307"/>
                    <a:pt x="84" y="307"/>
                    <a:pt x="84" y="307"/>
                  </a:cubicBezTo>
                  <a:cubicBezTo>
                    <a:pt x="83" y="309"/>
                    <a:pt x="83" y="309"/>
                    <a:pt x="83" y="309"/>
                  </a:cubicBezTo>
                  <a:cubicBezTo>
                    <a:pt x="82" y="310"/>
                    <a:pt x="82" y="311"/>
                    <a:pt x="82" y="311"/>
                  </a:cubicBezTo>
                  <a:cubicBezTo>
                    <a:pt x="82" y="312"/>
                    <a:pt x="82" y="313"/>
                    <a:pt x="81" y="313"/>
                  </a:cubicBezTo>
                  <a:cubicBezTo>
                    <a:pt x="79" y="315"/>
                    <a:pt x="78" y="315"/>
                    <a:pt x="76" y="315"/>
                  </a:cubicBezTo>
                  <a:cubicBezTo>
                    <a:pt x="76" y="315"/>
                    <a:pt x="76" y="315"/>
                    <a:pt x="75" y="315"/>
                  </a:cubicBezTo>
                  <a:cubicBezTo>
                    <a:pt x="75" y="315"/>
                    <a:pt x="75" y="315"/>
                    <a:pt x="75" y="315"/>
                  </a:cubicBezTo>
                  <a:cubicBezTo>
                    <a:pt x="72" y="315"/>
                    <a:pt x="70" y="316"/>
                    <a:pt x="67" y="316"/>
                  </a:cubicBezTo>
                  <a:cubicBezTo>
                    <a:pt x="63" y="316"/>
                    <a:pt x="59" y="315"/>
                    <a:pt x="54" y="314"/>
                  </a:cubicBezTo>
                  <a:cubicBezTo>
                    <a:pt x="54" y="314"/>
                    <a:pt x="54" y="314"/>
                    <a:pt x="54" y="314"/>
                  </a:cubicBezTo>
                  <a:cubicBezTo>
                    <a:pt x="53" y="313"/>
                    <a:pt x="51" y="313"/>
                    <a:pt x="50" y="313"/>
                  </a:cubicBezTo>
                  <a:cubicBezTo>
                    <a:pt x="49" y="313"/>
                    <a:pt x="48" y="314"/>
                    <a:pt x="47" y="314"/>
                  </a:cubicBezTo>
                  <a:cubicBezTo>
                    <a:pt x="45" y="315"/>
                    <a:pt x="44" y="317"/>
                    <a:pt x="43" y="319"/>
                  </a:cubicBezTo>
                  <a:cubicBezTo>
                    <a:pt x="43" y="320"/>
                    <a:pt x="43" y="320"/>
                    <a:pt x="42" y="321"/>
                  </a:cubicBezTo>
                  <a:cubicBezTo>
                    <a:pt x="41" y="323"/>
                    <a:pt x="41" y="324"/>
                    <a:pt x="40" y="324"/>
                  </a:cubicBezTo>
                  <a:cubicBezTo>
                    <a:pt x="40" y="324"/>
                    <a:pt x="40" y="324"/>
                    <a:pt x="40" y="324"/>
                  </a:cubicBezTo>
                  <a:cubicBezTo>
                    <a:pt x="40" y="324"/>
                    <a:pt x="39" y="323"/>
                    <a:pt x="38" y="322"/>
                  </a:cubicBezTo>
                  <a:cubicBezTo>
                    <a:pt x="38" y="322"/>
                    <a:pt x="38" y="321"/>
                    <a:pt x="38" y="321"/>
                  </a:cubicBezTo>
                  <a:cubicBezTo>
                    <a:pt x="37" y="321"/>
                    <a:pt x="37" y="320"/>
                    <a:pt x="36" y="320"/>
                  </a:cubicBezTo>
                  <a:cubicBezTo>
                    <a:pt x="35" y="318"/>
                    <a:pt x="34" y="317"/>
                    <a:pt x="33" y="316"/>
                  </a:cubicBezTo>
                  <a:cubicBezTo>
                    <a:pt x="32" y="315"/>
                    <a:pt x="32" y="315"/>
                    <a:pt x="32" y="315"/>
                  </a:cubicBezTo>
                  <a:cubicBezTo>
                    <a:pt x="30" y="312"/>
                    <a:pt x="27" y="309"/>
                    <a:pt x="23" y="309"/>
                  </a:cubicBezTo>
                  <a:cubicBezTo>
                    <a:pt x="23" y="309"/>
                    <a:pt x="23" y="309"/>
                    <a:pt x="22" y="309"/>
                  </a:cubicBezTo>
                  <a:cubicBezTo>
                    <a:pt x="17" y="310"/>
                    <a:pt x="14" y="316"/>
                    <a:pt x="13" y="321"/>
                  </a:cubicBezTo>
                  <a:cubicBezTo>
                    <a:pt x="13" y="322"/>
                    <a:pt x="13" y="324"/>
                    <a:pt x="13" y="326"/>
                  </a:cubicBezTo>
                  <a:cubicBezTo>
                    <a:pt x="13" y="329"/>
                    <a:pt x="13" y="331"/>
                    <a:pt x="11" y="334"/>
                  </a:cubicBezTo>
                  <a:cubicBezTo>
                    <a:pt x="10" y="336"/>
                    <a:pt x="9" y="337"/>
                    <a:pt x="7" y="338"/>
                  </a:cubicBezTo>
                  <a:cubicBezTo>
                    <a:pt x="6" y="339"/>
                    <a:pt x="6" y="339"/>
                    <a:pt x="5" y="339"/>
                  </a:cubicBezTo>
                  <a:cubicBezTo>
                    <a:pt x="5" y="340"/>
                    <a:pt x="5" y="340"/>
                    <a:pt x="5" y="340"/>
                  </a:cubicBezTo>
                  <a:cubicBezTo>
                    <a:pt x="5" y="340"/>
                    <a:pt x="5" y="340"/>
                    <a:pt x="5" y="340"/>
                  </a:cubicBezTo>
                  <a:cubicBezTo>
                    <a:pt x="4" y="340"/>
                    <a:pt x="3" y="341"/>
                    <a:pt x="3" y="343"/>
                  </a:cubicBezTo>
                  <a:cubicBezTo>
                    <a:pt x="0" y="346"/>
                    <a:pt x="2" y="349"/>
                    <a:pt x="4" y="352"/>
                  </a:cubicBezTo>
                  <a:cubicBezTo>
                    <a:pt x="5" y="353"/>
                    <a:pt x="6" y="354"/>
                    <a:pt x="6" y="355"/>
                  </a:cubicBezTo>
                  <a:cubicBezTo>
                    <a:pt x="7" y="357"/>
                    <a:pt x="7" y="359"/>
                    <a:pt x="7" y="361"/>
                  </a:cubicBezTo>
                  <a:cubicBezTo>
                    <a:pt x="7" y="362"/>
                    <a:pt x="7" y="364"/>
                    <a:pt x="8" y="365"/>
                  </a:cubicBezTo>
                  <a:cubicBezTo>
                    <a:pt x="8" y="365"/>
                    <a:pt x="8" y="366"/>
                    <a:pt x="8" y="366"/>
                  </a:cubicBezTo>
                  <a:cubicBezTo>
                    <a:pt x="8" y="367"/>
                    <a:pt x="8" y="367"/>
                    <a:pt x="8" y="368"/>
                  </a:cubicBezTo>
                  <a:cubicBezTo>
                    <a:pt x="8" y="368"/>
                    <a:pt x="7" y="369"/>
                    <a:pt x="7" y="369"/>
                  </a:cubicBezTo>
                  <a:cubicBezTo>
                    <a:pt x="7" y="370"/>
                    <a:pt x="6" y="370"/>
                    <a:pt x="6" y="370"/>
                  </a:cubicBezTo>
                  <a:cubicBezTo>
                    <a:pt x="5" y="371"/>
                    <a:pt x="5" y="373"/>
                    <a:pt x="6" y="374"/>
                  </a:cubicBezTo>
                  <a:cubicBezTo>
                    <a:pt x="6" y="375"/>
                    <a:pt x="7" y="377"/>
                    <a:pt x="9" y="378"/>
                  </a:cubicBezTo>
                  <a:cubicBezTo>
                    <a:pt x="10" y="379"/>
                    <a:pt x="10" y="379"/>
                    <a:pt x="10" y="380"/>
                  </a:cubicBezTo>
                  <a:cubicBezTo>
                    <a:pt x="12" y="382"/>
                    <a:pt x="13" y="382"/>
                    <a:pt x="15" y="382"/>
                  </a:cubicBezTo>
                  <a:cubicBezTo>
                    <a:pt x="15" y="383"/>
                    <a:pt x="15" y="383"/>
                    <a:pt x="15" y="383"/>
                  </a:cubicBezTo>
                  <a:cubicBezTo>
                    <a:pt x="19" y="384"/>
                    <a:pt x="20" y="387"/>
                    <a:pt x="21" y="390"/>
                  </a:cubicBezTo>
                  <a:cubicBezTo>
                    <a:pt x="22" y="391"/>
                    <a:pt x="22" y="392"/>
                    <a:pt x="22" y="393"/>
                  </a:cubicBezTo>
                  <a:cubicBezTo>
                    <a:pt x="24" y="397"/>
                    <a:pt x="24" y="400"/>
                    <a:pt x="23" y="405"/>
                  </a:cubicBezTo>
                  <a:cubicBezTo>
                    <a:pt x="23" y="406"/>
                    <a:pt x="23" y="406"/>
                    <a:pt x="23" y="406"/>
                  </a:cubicBezTo>
                  <a:cubicBezTo>
                    <a:pt x="23" y="407"/>
                    <a:pt x="23" y="408"/>
                    <a:pt x="23" y="409"/>
                  </a:cubicBezTo>
                  <a:cubicBezTo>
                    <a:pt x="23" y="409"/>
                    <a:pt x="23" y="410"/>
                    <a:pt x="23" y="410"/>
                  </a:cubicBezTo>
                  <a:cubicBezTo>
                    <a:pt x="24" y="412"/>
                    <a:pt x="23" y="414"/>
                    <a:pt x="23" y="416"/>
                  </a:cubicBezTo>
                  <a:cubicBezTo>
                    <a:pt x="22" y="417"/>
                    <a:pt x="22" y="418"/>
                    <a:pt x="22" y="420"/>
                  </a:cubicBezTo>
                  <a:cubicBezTo>
                    <a:pt x="22" y="422"/>
                    <a:pt x="23" y="425"/>
                    <a:pt x="25" y="426"/>
                  </a:cubicBezTo>
                  <a:cubicBezTo>
                    <a:pt x="26" y="427"/>
                    <a:pt x="27" y="427"/>
                    <a:pt x="28" y="427"/>
                  </a:cubicBezTo>
                  <a:cubicBezTo>
                    <a:pt x="28" y="427"/>
                    <a:pt x="29" y="427"/>
                    <a:pt x="29" y="427"/>
                  </a:cubicBezTo>
                  <a:cubicBezTo>
                    <a:pt x="30" y="426"/>
                    <a:pt x="31" y="425"/>
                    <a:pt x="32" y="424"/>
                  </a:cubicBezTo>
                  <a:cubicBezTo>
                    <a:pt x="34" y="423"/>
                    <a:pt x="35" y="421"/>
                    <a:pt x="37" y="421"/>
                  </a:cubicBezTo>
                  <a:cubicBezTo>
                    <a:pt x="37" y="421"/>
                    <a:pt x="38" y="421"/>
                    <a:pt x="39" y="422"/>
                  </a:cubicBezTo>
                  <a:cubicBezTo>
                    <a:pt x="40" y="423"/>
                    <a:pt x="41" y="425"/>
                    <a:pt x="41" y="426"/>
                  </a:cubicBezTo>
                  <a:cubicBezTo>
                    <a:pt x="42" y="427"/>
                    <a:pt x="42" y="428"/>
                    <a:pt x="42" y="428"/>
                  </a:cubicBezTo>
                  <a:cubicBezTo>
                    <a:pt x="44" y="431"/>
                    <a:pt x="44" y="431"/>
                    <a:pt x="44" y="431"/>
                  </a:cubicBezTo>
                  <a:cubicBezTo>
                    <a:pt x="45" y="429"/>
                    <a:pt x="45" y="429"/>
                    <a:pt x="45" y="429"/>
                  </a:cubicBezTo>
                  <a:cubicBezTo>
                    <a:pt x="45" y="429"/>
                    <a:pt x="46" y="429"/>
                    <a:pt x="46" y="428"/>
                  </a:cubicBezTo>
                  <a:cubicBezTo>
                    <a:pt x="48" y="427"/>
                    <a:pt x="49" y="426"/>
                    <a:pt x="50" y="425"/>
                  </a:cubicBezTo>
                  <a:cubicBezTo>
                    <a:pt x="52" y="422"/>
                    <a:pt x="54" y="420"/>
                    <a:pt x="58" y="420"/>
                  </a:cubicBezTo>
                  <a:cubicBezTo>
                    <a:pt x="59" y="420"/>
                    <a:pt x="59" y="420"/>
                    <a:pt x="59" y="420"/>
                  </a:cubicBezTo>
                  <a:cubicBezTo>
                    <a:pt x="61" y="420"/>
                    <a:pt x="63" y="422"/>
                    <a:pt x="64" y="423"/>
                  </a:cubicBezTo>
                  <a:cubicBezTo>
                    <a:pt x="66" y="424"/>
                    <a:pt x="68" y="425"/>
                    <a:pt x="70" y="425"/>
                  </a:cubicBezTo>
                  <a:cubicBezTo>
                    <a:pt x="72" y="425"/>
                    <a:pt x="73" y="425"/>
                    <a:pt x="74" y="424"/>
                  </a:cubicBezTo>
                  <a:cubicBezTo>
                    <a:pt x="74" y="423"/>
                    <a:pt x="74" y="423"/>
                    <a:pt x="75" y="423"/>
                  </a:cubicBezTo>
                  <a:cubicBezTo>
                    <a:pt x="76" y="422"/>
                    <a:pt x="77" y="421"/>
                    <a:pt x="79" y="421"/>
                  </a:cubicBezTo>
                  <a:cubicBezTo>
                    <a:pt x="79" y="421"/>
                    <a:pt x="80" y="421"/>
                    <a:pt x="81" y="421"/>
                  </a:cubicBezTo>
                  <a:cubicBezTo>
                    <a:pt x="84" y="420"/>
                    <a:pt x="84" y="418"/>
                    <a:pt x="84" y="415"/>
                  </a:cubicBezTo>
                  <a:cubicBezTo>
                    <a:pt x="84" y="414"/>
                    <a:pt x="83" y="413"/>
                    <a:pt x="84" y="412"/>
                  </a:cubicBezTo>
                  <a:cubicBezTo>
                    <a:pt x="84" y="412"/>
                    <a:pt x="85" y="411"/>
                    <a:pt x="86" y="411"/>
                  </a:cubicBezTo>
                  <a:cubicBezTo>
                    <a:pt x="86" y="411"/>
                    <a:pt x="86" y="411"/>
                    <a:pt x="86" y="411"/>
                  </a:cubicBezTo>
                  <a:cubicBezTo>
                    <a:pt x="90" y="412"/>
                    <a:pt x="94" y="415"/>
                    <a:pt x="94" y="419"/>
                  </a:cubicBezTo>
                  <a:cubicBezTo>
                    <a:pt x="95" y="420"/>
                    <a:pt x="95" y="420"/>
                    <a:pt x="95" y="420"/>
                  </a:cubicBezTo>
                  <a:cubicBezTo>
                    <a:pt x="95" y="423"/>
                    <a:pt x="95" y="425"/>
                    <a:pt x="96" y="426"/>
                  </a:cubicBezTo>
                  <a:cubicBezTo>
                    <a:pt x="96" y="427"/>
                    <a:pt x="97" y="428"/>
                    <a:pt x="97" y="428"/>
                  </a:cubicBezTo>
                  <a:cubicBezTo>
                    <a:pt x="98" y="429"/>
                    <a:pt x="99" y="430"/>
                    <a:pt x="99" y="432"/>
                  </a:cubicBezTo>
                  <a:cubicBezTo>
                    <a:pt x="99" y="433"/>
                    <a:pt x="99" y="434"/>
                    <a:pt x="100" y="435"/>
                  </a:cubicBezTo>
                  <a:cubicBezTo>
                    <a:pt x="100" y="438"/>
                    <a:pt x="100" y="441"/>
                    <a:pt x="104" y="443"/>
                  </a:cubicBezTo>
                  <a:cubicBezTo>
                    <a:pt x="106" y="445"/>
                    <a:pt x="109" y="447"/>
                    <a:pt x="110" y="449"/>
                  </a:cubicBezTo>
                  <a:cubicBezTo>
                    <a:pt x="110" y="451"/>
                    <a:pt x="109" y="452"/>
                    <a:pt x="108" y="454"/>
                  </a:cubicBezTo>
                  <a:cubicBezTo>
                    <a:pt x="108" y="454"/>
                    <a:pt x="107" y="454"/>
                    <a:pt x="107" y="455"/>
                  </a:cubicBezTo>
                  <a:cubicBezTo>
                    <a:pt x="103" y="458"/>
                    <a:pt x="102" y="459"/>
                    <a:pt x="102" y="461"/>
                  </a:cubicBezTo>
                  <a:cubicBezTo>
                    <a:pt x="102" y="463"/>
                    <a:pt x="102" y="463"/>
                    <a:pt x="102" y="463"/>
                  </a:cubicBezTo>
                  <a:cubicBezTo>
                    <a:pt x="104" y="463"/>
                    <a:pt x="104" y="463"/>
                    <a:pt x="104" y="463"/>
                  </a:cubicBezTo>
                  <a:cubicBezTo>
                    <a:pt x="105" y="463"/>
                    <a:pt x="105" y="462"/>
                    <a:pt x="108" y="461"/>
                  </a:cubicBezTo>
                  <a:cubicBezTo>
                    <a:pt x="109" y="460"/>
                    <a:pt x="110" y="459"/>
                    <a:pt x="111" y="459"/>
                  </a:cubicBezTo>
                  <a:cubicBezTo>
                    <a:pt x="111" y="459"/>
                    <a:pt x="111" y="459"/>
                    <a:pt x="111" y="459"/>
                  </a:cubicBezTo>
                  <a:cubicBezTo>
                    <a:pt x="112" y="459"/>
                    <a:pt x="113" y="461"/>
                    <a:pt x="113" y="462"/>
                  </a:cubicBezTo>
                  <a:cubicBezTo>
                    <a:pt x="114" y="464"/>
                    <a:pt x="113" y="467"/>
                    <a:pt x="113" y="469"/>
                  </a:cubicBezTo>
                  <a:cubicBezTo>
                    <a:pt x="113" y="471"/>
                    <a:pt x="112" y="474"/>
                    <a:pt x="113" y="476"/>
                  </a:cubicBezTo>
                  <a:cubicBezTo>
                    <a:pt x="114" y="479"/>
                    <a:pt x="116" y="480"/>
                    <a:pt x="117" y="481"/>
                  </a:cubicBezTo>
                  <a:cubicBezTo>
                    <a:pt x="119" y="481"/>
                    <a:pt x="120" y="482"/>
                    <a:pt x="121" y="484"/>
                  </a:cubicBezTo>
                  <a:cubicBezTo>
                    <a:pt x="122" y="485"/>
                    <a:pt x="122" y="486"/>
                    <a:pt x="122" y="487"/>
                  </a:cubicBezTo>
                  <a:cubicBezTo>
                    <a:pt x="122" y="488"/>
                    <a:pt x="122" y="488"/>
                    <a:pt x="122" y="488"/>
                  </a:cubicBezTo>
                  <a:cubicBezTo>
                    <a:pt x="124" y="488"/>
                    <a:pt x="124" y="488"/>
                    <a:pt x="124" y="488"/>
                  </a:cubicBezTo>
                  <a:cubicBezTo>
                    <a:pt x="125" y="488"/>
                    <a:pt x="125" y="488"/>
                    <a:pt x="125" y="488"/>
                  </a:cubicBezTo>
                  <a:cubicBezTo>
                    <a:pt x="126" y="488"/>
                    <a:pt x="126" y="488"/>
                    <a:pt x="127" y="487"/>
                  </a:cubicBezTo>
                  <a:cubicBezTo>
                    <a:pt x="128" y="486"/>
                    <a:pt x="129" y="485"/>
                    <a:pt x="129" y="484"/>
                  </a:cubicBezTo>
                  <a:cubicBezTo>
                    <a:pt x="130" y="482"/>
                    <a:pt x="131" y="481"/>
                    <a:pt x="132" y="480"/>
                  </a:cubicBezTo>
                  <a:cubicBezTo>
                    <a:pt x="132" y="480"/>
                    <a:pt x="133" y="480"/>
                    <a:pt x="133" y="480"/>
                  </a:cubicBezTo>
                  <a:cubicBezTo>
                    <a:pt x="134" y="480"/>
                    <a:pt x="134" y="480"/>
                    <a:pt x="135" y="481"/>
                  </a:cubicBezTo>
                  <a:cubicBezTo>
                    <a:pt x="136" y="482"/>
                    <a:pt x="137" y="483"/>
                    <a:pt x="138" y="483"/>
                  </a:cubicBezTo>
                  <a:cubicBezTo>
                    <a:pt x="139" y="484"/>
                    <a:pt x="139" y="485"/>
                    <a:pt x="140" y="486"/>
                  </a:cubicBezTo>
                  <a:cubicBezTo>
                    <a:pt x="142" y="487"/>
                    <a:pt x="145" y="489"/>
                    <a:pt x="148" y="489"/>
                  </a:cubicBezTo>
                  <a:cubicBezTo>
                    <a:pt x="150" y="489"/>
                    <a:pt x="150" y="488"/>
                    <a:pt x="151" y="487"/>
                  </a:cubicBezTo>
                  <a:cubicBezTo>
                    <a:pt x="152" y="487"/>
                    <a:pt x="152" y="486"/>
                    <a:pt x="152" y="485"/>
                  </a:cubicBezTo>
                  <a:cubicBezTo>
                    <a:pt x="153" y="484"/>
                    <a:pt x="153" y="484"/>
                    <a:pt x="156" y="484"/>
                  </a:cubicBezTo>
                  <a:cubicBezTo>
                    <a:pt x="158" y="483"/>
                    <a:pt x="159" y="483"/>
                    <a:pt x="159" y="483"/>
                  </a:cubicBezTo>
                  <a:cubicBezTo>
                    <a:pt x="161" y="482"/>
                    <a:pt x="161" y="482"/>
                    <a:pt x="161" y="482"/>
                  </a:cubicBezTo>
                  <a:cubicBezTo>
                    <a:pt x="161" y="480"/>
                    <a:pt x="161" y="480"/>
                    <a:pt x="161" y="480"/>
                  </a:cubicBezTo>
                  <a:cubicBezTo>
                    <a:pt x="161" y="480"/>
                    <a:pt x="160" y="480"/>
                    <a:pt x="160" y="479"/>
                  </a:cubicBezTo>
                  <a:cubicBezTo>
                    <a:pt x="159" y="477"/>
                    <a:pt x="158" y="476"/>
                    <a:pt x="159" y="474"/>
                  </a:cubicBezTo>
                  <a:cubicBezTo>
                    <a:pt x="161" y="476"/>
                    <a:pt x="162" y="476"/>
                    <a:pt x="164" y="476"/>
                  </a:cubicBezTo>
                  <a:cubicBezTo>
                    <a:pt x="164" y="476"/>
                    <a:pt x="164" y="476"/>
                    <a:pt x="164" y="476"/>
                  </a:cubicBezTo>
                  <a:cubicBezTo>
                    <a:pt x="165" y="476"/>
                    <a:pt x="166" y="475"/>
                    <a:pt x="167" y="473"/>
                  </a:cubicBezTo>
                  <a:cubicBezTo>
                    <a:pt x="167" y="472"/>
                    <a:pt x="168" y="470"/>
                    <a:pt x="169" y="470"/>
                  </a:cubicBezTo>
                  <a:cubicBezTo>
                    <a:pt x="170" y="470"/>
                    <a:pt x="170" y="470"/>
                    <a:pt x="170" y="470"/>
                  </a:cubicBezTo>
                  <a:cubicBezTo>
                    <a:pt x="171" y="471"/>
                    <a:pt x="173" y="475"/>
                    <a:pt x="173" y="479"/>
                  </a:cubicBezTo>
                  <a:cubicBezTo>
                    <a:pt x="173" y="480"/>
                    <a:pt x="173" y="481"/>
                    <a:pt x="173" y="482"/>
                  </a:cubicBezTo>
                  <a:cubicBezTo>
                    <a:pt x="172" y="484"/>
                    <a:pt x="171" y="487"/>
                    <a:pt x="173" y="488"/>
                  </a:cubicBezTo>
                  <a:cubicBezTo>
                    <a:pt x="174" y="488"/>
                    <a:pt x="174" y="488"/>
                    <a:pt x="174" y="488"/>
                  </a:cubicBezTo>
                  <a:cubicBezTo>
                    <a:pt x="175" y="488"/>
                    <a:pt x="175" y="488"/>
                    <a:pt x="175" y="488"/>
                  </a:cubicBezTo>
                  <a:cubicBezTo>
                    <a:pt x="176" y="488"/>
                    <a:pt x="178" y="487"/>
                    <a:pt x="180" y="484"/>
                  </a:cubicBezTo>
                  <a:cubicBezTo>
                    <a:pt x="181" y="484"/>
                    <a:pt x="181" y="484"/>
                    <a:pt x="181" y="483"/>
                  </a:cubicBezTo>
                  <a:cubicBezTo>
                    <a:pt x="183" y="482"/>
                    <a:pt x="185" y="480"/>
                    <a:pt x="188" y="480"/>
                  </a:cubicBezTo>
                  <a:cubicBezTo>
                    <a:pt x="188" y="480"/>
                    <a:pt x="189" y="480"/>
                    <a:pt x="189" y="480"/>
                  </a:cubicBezTo>
                  <a:cubicBezTo>
                    <a:pt x="192" y="482"/>
                    <a:pt x="192" y="482"/>
                    <a:pt x="192" y="482"/>
                  </a:cubicBezTo>
                  <a:cubicBezTo>
                    <a:pt x="193" y="479"/>
                    <a:pt x="193" y="479"/>
                    <a:pt x="193" y="479"/>
                  </a:cubicBezTo>
                  <a:cubicBezTo>
                    <a:pt x="193" y="478"/>
                    <a:pt x="193" y="478"/>
                    <a:pt x="193" y="478"/>
                  </a:cubicBezTo>
                  <a:cubicBezTo>
                    <a:pt x="194" y="477"/>
                    <a:pt x="194" y="475"/>
                    <a:pt x="194" y="473"/>
                  </a:cubicBezTo>
                  <a:cubicBezTo>
                    <a:pt x="195" y="471"/>
                    <a:pt x="194" y="468"/>
                    <a:pt x="194" y="466"/>
                  </a:cubicBezTo>
                  <a:cubicBezTo>
                    <a:pt x="194" y="465"/>
                    <a:pt x="194" y="464"/>
                    <a:pt x="194" y="463"/>
                  </a:cubicBezTo>
                  <a:cubicBezTo>
                    <a:pt x="194" y="460"/>
                    <a:pt x="195" y="459"/>
                    <a:pt x="196" y="459"/>
                  </a:cubicBezTo>
                  <a:cubicBezTo>
                    <a:pt x="197" y="459"/>
                    <a:pt x="198" y="458"/>
                    <a:pt x="199" y="457"/>
                  </a:cubicBezTo>
                  <a:cubicBezTo>
                    <a:pt x="200" y="455"/>
                    <a:pt x="201" y="451"/>
                    <a:pt x="202" y="447"/>
                  </a:cubicBezTo>
                  <a:cubicBezTo>
                    <a:pt x="202" y="445"/>
                    <a:pt x="201" y="442"/>
                    <a:pt x="200" y="440"/>
                  </a:cubicBezTo>
                  <a:cubicBezTo>
                    <a:pt x="199" y="436"/>
                    <a:pt x="198" y="433"/>
                    <a:pt x="202" y="431"/>
                  </a:cubicBezTo>
                  <a:cubicBezTo>
                    <a:pt x="205" y="430"/>
                    <a:pt x="207" y="429"/>
                    <a:pt x="210" y="429"/>
                  </a:cubicBezTo>
                  <a:cubicBezTo>
                    <a:pt x="213" y="428"/>
                    <a:pt x="217" y="427"/>
                    <a:pt x="220" y="423"/>
                  </a:cubicBezTo>
                  <a:cubicBezTo>
                    <a:pt x="221" y="422"/>
                    <a:pt x="221" y="422"/>
                    <a:pt x="221" y="422"/>
                  </a:cubicBezTo>
                  <a:cubicBezTo>
                    <a:pt x="222" y="420"/>
                    <a:pt x="224" y="417"/>
                    <a:pt x="225" y="415"/>
                  </a:cubicBezTo>
                  <a:cubicBezTo>
                    <a:pt x="226" y="412"/>
                    <a:pt x="226" y="410"/>
                    <a:pt x="225" y="408"/>
                  </a:cubicBezTo>
                  <a:cubicBezTo>
                    <a:pt x="225" y="407"/>
                    <a:pt x="225" y="405"/>
                    <a:pt x="225" y="404"/>
                  </a:cubicBezTo>
                  <a:cubicBezTo>
                    <a:pt x="226" y="403"/>
                    <a:pt x="227" y="403"/>
                    <a:pt x="229" y="403"/>
                  </a:cubicBezTo>
                  <a:cubicBezTo>
                    <a:pt x="231" y="403"/>
                    <a:pt x="231" y="403"/>
                    <a:pt x="231" y="403"/>
                  </a:cubicBezTo>
                  <a:cubicBezTo>
                    <a:pt x="231" y="402"/>
                    <a:pt x="231" y="402"/>
                    <a:pt x="231" y="402"/>
                  </a:cubicBezTo>
                  <a:cubicBezTo>
                    <a:pt x="232" y="399"/>
                    <a:pt x="231" y="398"/>
                    <a:pt x="230" y="396"/>
                  </a:cubicBezTo>
                  <a:cubicBezTo>
                    <a:pt x="229" y="395"/>
                    <a:pt x="228" y="393"/>
                    <a:pt x="228" y="391"/>
                  </a:cubicBezTo>
                  <a:cubicBezTo>
                    <a:pt x="229" y="388"/>
                    <a:pt x="233" y="383"/>
                    <a:pt x="236" y="381"/>
                  </a:cubicBezTo>
                  <a:cubicBezTo>
                    <a:pt x="237" y="380"/>
                    <a:pt x="238" y="380"/>
                    <a:pt x="239" y="380"/>
                  </a:cubicBezTo>
                  <a:cubicBezTo>
                    <a:pt x="240" y="380"/>
                    <a:pt x="240" y="380"/>
                    <a:pt x="241" y="380"/>
                  </a:cubicBezTo>
                  <a:cubicBezTo>
                    <a:pt x="242" y="381"/>
                    <a:pt x="243" y="383"/>
                    <a:pt x="245" y="384"/>
                  </a:cubicBezTo>
                  <a:cubicBezTo>
                    <a:pt x="247" y="387"/>
                    <a:pt x="248" y="389"/>
                    <a:pt x="251" y="389"/>
                  </a:cubicBezTo>
                  <a:cubicBezTo>
                    <a:pt x="251" y="389"/>
                    <a:pt x="251" y="389"/>
                    <a:pt x="251" y="389"/>
                  </a:cubicBezTo>
                  <a:cubicBezTo>
                    <a:pt x="252" y="389"/>
                    <a:pt x="252" y="389"/>
                    <a:pt x="252" y="389"/>
                  </a:cubicBezTo>
                  <a:cubicBezTo>
                    <a:pt x="253" y="389"/>
                    <a:pt x="253" y="389"/>
                    <a:pt x="253" y="389"/>
                  </a:cubicBezTo>
                  <a:cubicBezTo>
                    <a:pt x="253" y="388"/>
                    <a:pt x="254" y="387"/>
                    <a:pt x="254" y="387"/>
                  </a:cubicBezTo>
                  <a:cubicBezTo>
                    <a:pt x="254" y="387"/>
                    <a:pt x="255" y="386"/>
                    <a:pt x="255" y="386"/>
                  </a:cubicBezTo>
                  <a:cubicBezTo>
                    <a:pt x="256" y="386"/>
                    <a:pt x="256" y="385"/>
                    <a:pt x="257" y="385"/>
                  </a:cubicBezTo>
                  <a:cubicBezTo>
                    <a:pt x="257" y="385"/>
                    <a:pt x="257" y="385"/>
                    <a:pt x="257" y="385"/>
                  </a:cubicBezTo>
                  <a:cubicBezTo>
                    <a:pt x="258" y="385"/>
                    <a:pt x="259" y="384"/>
                    <a:pt x="259" y="383"/>
                  </a:cubicBezTo>
                  <a:cubicBezTo>
                    <a:pt x="260" y="381"/>
                    <a:pt x="259" y="378"/>
                    <a:pt x="259" y="376"/>
                  </a:cubicBezTo>
                  <a:cubicBezTo>
                    <a:pt x="259" y="375"/>
                    <a:pt x="259" y="374"/>
                    <a:pt x="259" y="373"/>
                  </a:cubicBezTo>
                  <a:cubicBezTo>
                    <a:pt x="259" y="373"/>
                    <a:pt x="260" y="373"/>
                    <a:pt x="260" y="373"/>
                  </a:cubicBezTo>
                  <a:cubicBezTo>
                    <a:pt x="261" y="373"/>
                    <a:pt x="262" y="373"/>
                    <a:pt x="264" y="373"/>
                  </a:cubicBezTo>
                  <a:cubicBezTo>
                    <a:pt x="264" y="374"/>
                    <a:pt x="265" y="374"/>
                    <a:pt x="266" y="374"/>
                  </a:cubicBezTo>
                  <a:cubicBezTo>
                    <a:pt x="266" y="374"/>
                    <a:pt x="266" y="374"/>
                    <a:pt x="266" y="374"/>
                  </a:cubicBezTo>
                  <a:cubicBezTo>
                    <a:pt x="269" y="373"/>
                    <a:pt x="269" y="373"/>
                    <a:pt x="269" y="373"/>
                  </a:cubicBezTo>
                  <a:cubicBezTo>
                    <a:pt x="268" y="372"/>
                    <a:pt x="268" y="372"/>
                    <a:pt x="268" y="372"/>
                  </a:cubicBezTo>
                  <a:cubicBezTo>
                    <a:pt x="268" y="371"/>
                    <a:pt x="268" y="371"/>
                    <a:pt x="268" y="370"/>
                  </a:cubicBezTo>
                  <a:cubicBezTo>
                    <a:pt x="269" y="369"/>
                    <a:pt x="269" y="368"/>
                    <a:pt x="269" y="367"/>
                  </a:cubicBezTo>
                  <a:cubicBezTo>
                    <a:pt x="269" y="364"/>
                    <a:pt x="270" y="361"/>
                    <a:pt x="272" y="359"/>
                  </a:cubicBezTo>
                  <a:cubicBezTo>
                    <a:pt x="274" y="357"/>
                    <a:pt x="279" y="354"/>
                    <a:pt x="282" y="353"/>
                  </a:cubicBezTo>
                  <a:cubicBezTo>
                    <a:pt x="282" y="353"/>
                    <a:pt x="282" y="353"/>
                    <a:pt x="283" y="353"/>
                  </a:cubicBezTo>
                  <a:cubicBezTo>
                    <a:pt x="284" y="353"/>
                    <a:pt x="286" y="354"/>
                    <a:pt x="287" y="355"/>
                  </a:cubicBezTo>
                  <a:cubicBezTo>
                    <a:pt x="289" y="355"/>
                    <a:pt x="290" y="356"/>
                    <a:pt x="292" y="356"/>
                  </a:cubicBezTo>
                  <a:cubicBezTo>
                    <a:pt x="293" y="356"/>
                    <a:pt x="293" y="356"/>
                    <a:pt x="293" y="356"/>
                  </a:cubicBezTo>
                  <a:cubicBezTo>
                    <a:pt x="295" y="355"/>
                    <a:pt x="295" y="353"/>
                    <a:pt x="295" y="352"/>
                  </a:cubicBezTo>
                  <a:cubicBezTo>
                    <a:pt x="295" y="351"/>
                    <a:pt x="295" y="350"/>
                    <a:pt x="296" y="350"/>
                  </a:cubicBezTo>
                  <a:cubicBezTo>
                    <a:pt x="296" y="348"/>
                    <a:pt x="298" y="347"/>
                    <a:pt x="301" y="346"/>
                  </a:cubicBezTo>
                  <a:cubicBezTo>
                    <a:pt x="302" y="346"/>
                    <a:pt x="302" y="346"/>
                    <a:pt x="303" y="346"/>
                  </a:cubicBezTo>
                  <a:cubicBezTo>
                    <a:pt x="307" y="344"/>
                    <a:pt x="310" y="343"/>
                    <a:pt x="313" y="339"/>
                  </a:cubicBezTo>
                  <a:cubicBezTo>
                    <a:pt x="315" y="338"/>
                    <a:pt x="317" y="337"/>
                    <a:pt x="319" y="337"/>
                  </a:cubicBezTo>
                  <a:cubicBezTo>
                    <a:pt x="319" y="337"/>
                    <a:pt x="320" y="336"/>
                    <a:pt x="321" y="336"/>
                  </a:cubicBezTo>
                  <a:cubicBezTo>
                    <a:pt x="323" y="335"/>
                    <a:pt x="324" y="334"/>
                    <a:pt x="326" y="332"/>
                  </a:cubicBezTo>
                  <a:cubicBezTo>
                    <a:pt x="327" y="331"/>
                    <a:pt x="327" y="331"/>
                    <a:pt x="327" y="331"/>
                  </a:cubicBezTo>
                  <a:cubicBezTo>
                    <a:pt x="329" y="328"/>
                    <a:pt x="331" y="328"/>
                    <a:pt x="333" y="328"/>
                  </a:cubicBezTo>
                  <a:cubicBezTo>
                    <a:pt x="335" y="328"/>
                    <a:pt x="337" y="328"/>
                    <a:pt x="339" y="329"/>
                  </a:cubicBezTo>
                  <a:cubicBezTo>
                    <a:pt x="340" y="329"/>
                    <a:pt x="340" y="329"/>
                    <a:pt x="340" y="329"/>
                  </a:cubicBezTo>
                  <a:cubicBezTo>
                    <a:pt x="342" y="329"/>
                    <a:pt x="343" y="329"/>
                    <a:pt x="344" y="329"/>
                  </a:cubicBezTo>
                  <a:cubicBezTo>
                    <a:pt x="346" y="329"/>
                    <a:pt x="347" y="329"/>
                    <a:pt x="348" y="329"/>
                  </a:cubicBezTo>
                  <a:cubicBezTo>
                    <a:pt x="349" y="329"/>
                    <a:pt x="350" y="329"/>
                    <a:pt x="351" y="329"/>
                  </a:cubicBezTo>
                  <a:cubicBezTo>
                    <a:pt x="354" y="329"/>
                    <a:pt x="356" y="329"/>
                    <a:pt x="357" y="330"/>
                  </a:cubicBezTo>
                  <a:cubicBezTo>
                    <a:pt x="357" y="330"/>
                    <a:pt x="357" y="330"/>
                    <a:pt x="357" y="330"/>
                  </a:cubicBezTo>
                  <a:cubicBezTo>
                    <a:pt x="358" y="331"/>
                    <a:pt x="358" y="331"/>
                    <a:pt x="358" y="331"/>
                  </a:cubicBezTo>
                  <a:cubicBezTo>
                    <a:pt x="358" y="330"/>
                    <a:pt x="358" y="330"/>
                    <a:pt x="358" y="330"/>
                  </a:cubicBezTo>
                  <a:cubicBezTo>
                    <a:pt x="361" y="331"/>
                    <a:pt x="364" y="331"/>
                    <a:pt x="366" y="331"/>
                  </a:cubicBezTo>
                  <a:cubicBezTo>
                    <a:pt x="368" y="331"/>
                    <a:pt x="369" y="331"/>
                    <a:pt x="370" y="331"/>
                  </a:cubicBezTo>
                  <a:cubicBezTo>
                    <a:pt x="371" y="331"/>
                    <a:pt x="372" y="331"/>
                    <a:pt x="373" y="331"/>
                  </a:cubicBezTo>
                  <a:cubicBezTo>
                    <a:pt x="376" y="331"/>
                    <a:pt x="376" y="331"/>
                    <a:pt x="376" y="331"/>
                  </a:cubicBezTo>
                  <a:cubicBezTo>
                    <a:pt x="380" y="331"/>
                    <a:pt x="383" y="331"/>
                    <a:pt x="386" y="327"/>
                  </a:cubicBezTo>
                  <a:cubicBezTo>
                    <a:pt x="389" y="323"/>
                    <a:pt x="391" y="321"/>
                    <a:pt x="397" y="321"/>
                  </a:cubicBezTo>
                  <a:cubicBezTo>
                    <a:pt x="399" y="321"/>
                    <a:pt x="401" y="321"/>
                    <a:pt x="402" y="321"/>
                  </a:cubicBezTo>
                  <a:cubicBezTo>
                    <a:pt x="404" y="321"/>
                    <a:pt x="406" y="321"/>
                    <a:pt x="409" y="321"/>
                  </a:cubicBezTo>
                  <a:cubicBezTo>
                    <a:pt x="410" y="321"/>
                    <a:pt x="411" y="321"/>
                    <a:pt x="413" y="321"/>
                  </a:cubicBezTo>
                  <a:cubicBezTo>
                    <a:pt x="414" y="321"/>
                    <a:pt x="414" y="321"/>
                    <a:pt x="414" y="321"/>
                  </a:cubicBezTo>
                  <a:cubicBezTo>
                    <a:pt x="416" y="321"/>
                    <a:pt x="418" y="321"/>
                    <a:pt x="420" y="321"/>
                  </a:cubicBezTo>
                  <a:cubicBezTo>
                    <a:pt x="422" y="321"/>
                    <a:pt x="424" y="320"/>
                    <a:pt x="426" y="320"/>
                  </a:cubicBezTo>
                  <a:cubicBezTo>
                    <a:pt x="427" y="320"/>
                    <a:pt x="428" y="320"/>
                    <a:pt x="429" y="320"/>
                  </a:cubicBezTo>
                  <a:cubicBezTo>
                    <a:pt x="430" y="321"/>
                    <a:pt x="430" y="321"/>
                    <a:pt x="430" y="321"/>
                  </a:cubicBezTo>
                  <a:cubicBezTo>
                    <a:pt x="431" y="321"/>
                    <a:pt x="432" y="321"/>
                    <a:pt x="432" y="321"/>
                  </a:cubicBezTo>
                  <a:cubicBezTo>
                    <a:pt x="434" y="321"/>
                    <a:pt x="435" y="320"/>
                    <a:pt x="436" y="320"/>
                  </a:cubicBezTo>
                  <a:cubicBezTo>
                    <a:pt x="437" y="320"/>
                    <a:pt x="438" y="319"/>
                    <a:pt x="439" y="319"/>
                  </a:cubicBezTo>
                  <a:cubicBezTo>
                    <a:pt x="440" y="318"/>
                    <a:pt x="441" y="317"/>
                    <a:pt x="442" y="317"/>
                  </a:cubicBezTo>
                  <a:cubicBezTo>
                    <a:pt x="443" y="317"/>
                    <a:pt x="443" y="317"/>
                    <a:pt x="444" y="317"/>
                  </a:cubicBezTo>
                  <a:cubicBezTo>
                    <a:pt x="445" y="317"/>
                    <a:pt x="446" y="317"/>
                    <a:pt x="448" y="317"/>
                  </a:cubicBezTo>
                  <a:cubicBezTo>
                    <a:pt x="449" y="318"/>
                    <a:pt x="450" y="318"/>
                    <a:pt x="451" y="318"/>
                  </a:cubicBezTo>
                  <a:cubicBezTo>
                    <a:pt x="453" y="318"/>
                    <a:pt x="454" y="317"/>
                    <a:pt x="455" y="316"/>
                  </a:cubicBezTo>
                  <a:cubicBezTo>
                    <a:pt x="456" y="315"/>
                    <a:pt x="456" y="314"/>
                    <a:pt x="457" y="313"/>
                  </a:cubicBezTo>
                  <a:cubicBezTo>
                    <a:pt x="457" y="312"/>
                    <a:pt x="458" y="311"/>
                    <a:pt x="459" y="310"/>
                  </a:cubicBezTo>
                  <a:cubicBezTo>
                    <a:pt x="460" y="310"/>
                    <a:pt x="460" y="309"/>
                    <a:pt x="461" y="309"/>
                  </a:cubicBezTo>
                  <a:cubicBezTo>
                    <a:pt x="462" y="308"/>
                    <a:pt x="463" y="308"/>
                    <a:pt x="464" y="307"/>
                  </a:cubicBezTo>
                  <a:cubicBezTo>
                    <a:pt x="466" y="304"/>
                    <a:pt x="466" y="301"/>
                    <a:pt x="467" y="298"/>
                  </a:cubicBezTo>
                  <a:cubicBezTo>
                    <a:pt x="467" y="295"/>
                    <a:pt x="467" y="292"/>
                    <a:pt x="469" y="290"/>
                  </a:cubicBezTo>
                  <a:cubicBezTo>
                    <a:pt x="471" y="285"/>
                    <a:pt x="474" y="280"/>
                    <a:pt x="474" y="274"/>
                  </a:cubicBezTo>
                  <a:cubicBezTo>
                    <a:pt x="474" y="268"/>
                    <a:pt x="474" y="268"/>
                    <a:pt x="474" y="268"/>
                  </a:cubicBezTo>
                  <a:cubicBezTo>
                    <a:pt x="474" y="254"/>
                    <a:pt x="474" y="240"/>
                    <a:pt x="475" y="226"/>
                  </a:cubicBezTo>
                  <a:cubicBezTo>
                    <a:pt x="475" y="222"/>
                    <a:pt x="475" y="219"/>
                    <a:pt x="474" y="215"/>
                  </a:cubicBezTo>
                  <a:cubicBezTo>
                    <a:pt x="474" y="212"/>
                    <a:pt x="474" y="209"/>
                    <a:pt x="474" y="205"/>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35" name="Freeform 31">
              <a:extLst>
                <a:ext uri="{FF2B5EF4-FFF2-40B4-BE49-F238E27FC236}">
                  <a16:creationId xmlns:a16="http://schemas.microsoft.com/office/drawing/2014/main" id="{B6FB7020-420F-4DE0-8D49-B08D201EA4CC}"/>
                </a:ext>
              </a:extLst>
            </p:cNvPr>
            <p:cNvSpPr>
              <a:spLocks/>
            </p:cNvSpPr>
            <p:nvPr/>
          </p:nvSpPr>
          <p:spPr bwMode="auto">
            <a:xfrm>
              <a:off x="1004522" y="845051"/>
              <a:ext cx="694166" cy="773595"/>
            </a:xfrm>
            <a:custGeom>
              <a:avLst/>
              <a:gdLst>
                <a:gd name="T0" fmla="*/ 298 w 343"/>
                <a:gd name="T1" fmla="*/ 76 h 415"/>
                <a:gd name="T2" fmla="*/ 330 w 343"/>
                <a:gd name="T3" fmla="*/ 66 h 415"/>
                <a:gd name="T4" fmla="*/ 268 w 343"/>
                <a:gd name="T5" fmla="*/ 20 h 415"/>
                <a:gd name="T6" fmla="*/ 258 w 343"/>
                <a:gd name="T7" fmla="*/ 13 h 415"/>
                <a:gd name="T8" fmla="*/ 247 w 343"/>
                <a:gd name="T9" fmla="*/ 5 h 415"/>
                <a:gd name="T10" fmla="*/ 242 w 343"/>
                <a:gd name="T11" fmla="*/ 0 h 415"/>
                <a:gd name="T12" fmla="*/ 240 w 343"/>
                <a:gd name="T13" fmla="*/ 41 h 415"/>
                <a:gd name="T14" fmla="*/ 145 w 343"/>
                <a:gd name="T15" fmla="*/ 54 h 415"/>
                <a:gd name="T16" fmla="*/ 143 w 343"/>
                <a:gd name="T17" fmla="*/ 100 h 415"/>
                <a:gd name="T18" fmla="*/ 143 w 343"/>
                <a:gd name="T19" fmla="*/ 115 h 415"/>
                <a:gd name="T20" fmla="*/ 143 w 343"/>
                <a:gd name="T21" fmla="*/ 122 h 415"/>
                <a:gd name="T22" fmla="*/ 129 w 343"/>
                <a:gd name="T23" fmla="*/ 130 h 415"/>
                <a:gd name="T24" fmla="*/ 110 w 343"/>
                <a:gd name="T25" fmla="*/ 144 h 415"/>
                <a:gd name="T26" fmla="*/ 112 w 343"/>
                <a:gd name="T27" fmla="*/ 195 h 415"/>
                <a:gd name="T28" fmla="*/ 0 w 343"/>
                <a:gd name="T29" fmla="*/ 203 h 415"/>
                <a:gd name="T30" fmla="*/ 1 w 343"/>
                <a:gd name="T31" fmla="*/ 206 h 415"/>
                <a:gd name="T32" fmla="*/ 3 w 343"/>
                <a:gd name="T33" fmla="*/ 211 h 415"/>
                <a:gd name="T34" fmla="*/ 9 w 343"/>
                <a:gd name="T35" fmla="*/ 220 h 415"/>
                <a:gd name="T36" fmla="*/ 12 w 343"/>
                <a:gd name="T37" fmla="*/ 221 h 415"/>
                <a:gd name="T38" fmla="*/ 15 w 343"/>
                <a:gd name="T39" fmla="*/ 229 h 415"/>
                <a:gd name="T40" fmla="*/ 16 w 343"/>
                <a:gd name="T41" fmla="*/ 237 h 415"/>
                <a:gd name="T42" fmla="*/ 13 w 343"/>
                <a:gd name="T43" fmla="*/ 245 h 415"/>
                <a:gd name="T44" fmla="*/ 11 w 343"/>
                <a:gd name="T45" fmla="*/ 252 h 415"/>
                <a:gd name="T46" fmla="*/ 10 w 343"/>
                <a:gd name="T47" fmla="*/ 256 h 415"/>
                <a:gd name="T48" fmla="*/ 11 w 343"/>
                <a:gd name="T49" fmla="*/ 264 h 415"/>
                <a:gd name="T50" fmla="*/ 14 w 343"/>
                <a:gd name="T51" fmla="*/ 269 h 415"/>
                <a:gd name="T52" fmla="*/ 17 w 343"/>
                <a:gd name="T53" fmla="*/ 286 h 415"/>
                <a:gd name="T54" fmla="*/ 18 w 343"/>
                <a:gd name="T55" fmla="*/ 299 h 415"/>
                <a:gd name="T56" fmla="*/ 16 w 343"/>
                <a:gd name="T57" fmla="*/ 322 h 415"/>
                <a:gd name="T58" fmla="*/ 4 w 343"/>
                <a:gd name="T59" fmla="*/ 360 h 415"/>
                <a:gd name="T60" fmla="*/ 3 w 343"/>
                <a:gd name="T61" fmla="*/ 371 h 415"/>
                <a:gd name="T62" fmla="*/ 11 w 343"/>
                <a:gd name="T63" fmla="*/ 362 h 415"/>
                <a:gd name="T64" fmla="*/ 19 w 343"/>
                <a:gd name="T65" fmla="*/ 354 h 415"/>
                <a:gd name="T66" fmla="*/ 25 w 343"/>
                <a:gd name="T67" fmla="*/ 354 h 415"/>
                <a:gd name="T68" fmla="*/ 44 w 343"/>
                <a:gd name="T69" fmla="*/ 352 h 415"/>
                <a:gd name="T70" fmla="*/ 62 w 343"/>
                <a:gd name="T71" fmla="*/ 349 h 415"/>
                <a:gd name="T72" fmla="*/ 77 w 343"/>
                <a:gd name="T73" fmla="*/ 358 h 415"/>
                <a:gd name="T74" fmla="*/ 98 w 343"/>
                <a:gd name="T75" fmla="*/ 378 h 415"/>
                <a:gd name="T76" fmla="*/ 108 w 343"/>
                <a:gd name="T77" fmla="*/ 391 h 415"/>
                <a:gd name="T78" fmla="*/ 112 w 343"/>
                <a:gd name="T79" fmla="*/ 397 h 415"/>
                <a:gd name="T80" fmla="*/ 118 w 343"/>
                <a:gd name="T81" fmla="*/ 402 h 415"/>
                <a:gd name="T82" fmla="*/ 129 w 343"/>
                <a:gd name="T83" fmla="*/ 413 h 415"/>
                <a:gd name="T84" fmla="*/ 132 w 343"/>
                <a:gd name="T85" fmla="*/ 413 h 415"/>
                <a:gd name="T86" fmla="*/ 132 w 343"/>
                <a:gd name="T87" fmla="*/ 415 h 415"/>
                <a:gd name="T88" fmla="*/ 139 w 343"/>
                <a:gd name="T89" fmla="*/ 409 h 415"/>
                <a:gd name="T90" fmla="*/ 141 w 343"/>
                <a:gd name="T91" fmla="*/ 396 h 415"/>
                <a:gd name="T92" fmla="*/ 150 w 343"/>
                <a:gd name="T93" fmla="*/ 384 h 415"/>
                <a:gd name="T94" fmla="*/ 159 w 343"/>
                <a:gd name="T95" fmla="*/ 391 h 415"/>
                <a:gd name="T96" fmla="*/ 164 w 343"/>
                <a:gd name="T97" fmla="*/ 396 h 415"/>
                <a:gd name="T98" fmla="*/ 166 w 343"/>
                <a:gd name="T99" fmla="*/ 398 h 415"/>
                <a:gd name="T100" fmla="*/ 169 w 343"/>
                <a:gd name="T101" fmla="*/ 398 h 415"/>
                <a:gd name="T102" fmla="*/ 170 w 343"/>
                <a:gd name="T103" fmla="*/ 395 h 415"/>
                <a:gd name="T104" fmla="*/ 178 w 343"/>
                <a:gd name="T105" fmla="*/ 389 h 415"/>
                <a:gd name="T106" fmla="*/ 181 w 343"/>
                <a:gd name="T107" fmla="*/ 389 h 415"/>
                <a:gd name="T108" fmla="*/ 194 w 343"/>
                <a:gd name="T109" fmla="*/ 391 h 415"/>
                <a:gd name="T110" fmla="*/ 202 w 343"/>
                <a:gd name="T111" fmla="*/ 390 h 415"/>
                <a:gd name="T112" fmla="*/ 208 w 343"/>
                <a:gd name="T113" fmla="*/ 389 h 415"/>
                <a:gd name="T114" fmla="*/ 210 w 343"/>
                <a:gd name="T115" fmla="*/ 384 h 415"/>
                <a:gd name="T116" fmla="*/ 214 w 343"/>
                <a:gd name="T117" fmla="*/ 386 h 415"/>
                <a:gd name="T118" fmla="*/ 215 w 343"/>
                <a:gd name="T119" fmla="*/ 388 h 415"/>
                <a:gd name="T120" fmla="*/ 327 w 343"/>
                <a:gd name="T121" fmla="*/ 36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3" h="415">
                  <a:moveTo>
                    <a:pt x="320" y="355"/>
                  </a:moveTo>
                  <a:cubicBezTo>
                    <a:pt x="298" y="76"/>
                    <a:pt x="298" y="76"/>
                    <a:pt x="298" y="76"/>
                  </a:cubicBezTo>
                  <a:cubicBezTo>
                    <a:pt x="343" y="76"/>
                    <a:pt x="343" y="76"/>
                    <a:pt x="343" y="76"/>
                  </a:cubicBezTo>
                  <a:cubicBezTo>
                    <a:pt x="330" y="66"/>
                    <a:pt x="330" y="66"/>
                    <a:pt x="330" y="66"/>
                  </a:cubicBezTo>
                  <a:cubicBezTo>
                    <a:pt x="317" y="56"/>
                    <a:pt x="306" y="48"/>
                    <a:pt x="296" y="40"/>
                  </a:cubicBezTo>
                  <a:cubicBezTo>
                    <a:pt x="287" y="34"/>
                    <a:pt x="279" y="28"/>
                    <a:pt x="268" y="20"/>
                  </a:cubicBezTo>
                  <a:cubicBezTo>
                    <a:pt x="265" y="18"/>
                    <a:pt x="262" y="16"/>
                    <a:pt x="259" y="14"/>
                  </a:cubicBezTo>
                  <a:cubicBezTo>
                    <a:pt x="258" y="13"/>
                    <a:pt x="258" y="13"/>
                    <a:pt x="258" y="13"/>
                  </a:cubicBezTo>
                  <a:cubicBezTo>
                    <a:pt x="255" y="10"/>
                    <a:pt x="252" y="8"/>
                    <a:pt x="249" y="6"/>
                  </a:cubicBezTo>
                  <a:cubicBezTo>
                    <a:pt x="247" y="5"/>
                    <a:pt x="247" y="5"/>
                    <a:pt x="247" y="5"/>
                  </a:cubicBezTo>
                  <a:cubicBezTo>
                    <a:pt x="247" y="4"/>
                    <a:pt x="246" y="4"/>
                    <a:pt x="246" y="3"/>
                  </a:cubicBezTo>
                  <a:cubicBezTo>
                    <a:pt x="242" y="0"/>
                    <a:pt x="242" y="0"/>
                    <a:pt x="242" y="0"/>
                  </a:cubicBezTo>
                  <a:cubicBezTo>
                    <a:pt x="241" y="4"/>
                    <a:pt x="241" y="4"/>
                    <a:pt x="241" y="4"/>
                  </a:cubicBezTo>
                  <a:cubicBezTo>
                    <a:pt x="240" y="41"/>
                    <a:pt x="240" y="41"/>
                    <a:pt x="240" y="41"/>
                  </a:cubicBezTo>
                  <a:cubicBezTo>
                    <a:pt x="146" y="44"/>
                    <a:pt x="146" y="44"/>
                    <a:pt x="146" y="44"/>
                  </a:cubicBezTo>
                  <a:cubicBezTo>
                    <a:pt x="145" y="54"/>
                    <a:pt x="145" y="54"/>
                    <a:pt x="145" y="54"/>
                  </a:cubicBezTo>
                  <a:cubicBezTo>
                    <a:pt x="145" y="59"/>
                    <a:pt x="145" y="65"/>
                    <a:pt x="145" y="71"/>
                  </a:cubicBezTo>
                  <a:cubicBezTo>
                    <a:pt x="144" y="80"/>
                    <a:pt x="144" y="90"/>
                    <a:pt x="143" y="100"/>
                  </a:cubicBezTo>
                  <a:cubicBezTo>
                    <a:pt x="143" y="100"/>
                    <a:pt x="143" y="100"/>
                    <a:pt x="143" y="100"/>
                  </a:cubicBezTo>
                  <a:cubicBezTo>
                    <a:pt x="143" y="105"/>
                    <a:pt x="143" y="110"/>
                    <a:pt x="143" y="115"/>
                  </a:cubicBezTo>
                  <a:cubicBezTo>
                    <a:pt x="143" y="117"/>
                    <a:pt x="143" y="117"/>
                    <a:pt x="143" y="117"/>
                  </a:cubicBezTo>
                  <a:cubicBezTo>
                    <a:pt x="143" y="119"/>
                    <a:pt x="143" y="121"/>
                    <a:pt x="143" y="122"/>
                  </a:cubicBezTo>
                  <a:cubicBezTo>
                    <a:pt x="143" y="126"/>
                    <a:pt x="138" y="128"/>
                    <a:pt x="134" y="129"/>
                  </a:cubicBezTo>
                  <a:cubicBezTo>
                    <a:pt x="132" y="129"/>
                    <a:pt x="131" y="130"/>
                    <a:pt x="129" y="130"/>
                  </a:cubicBezTo>
                  <a:cubicBezTo>
                    <a:pt x="128" y="131"/>
                    <a:pt x="126" y="131"/>
                    <a:pt x="125" y="132"/>
                  </a:cubicBezTo>
                  <a:cubicBezTo>
                    <a:pt x="119" y="133"/>
                    <a:pt x="113" y="139"/>
                    <a:pt x="110" y="144"/>
                  </a:cubicBezTo>
                  <a:cubicBezTo>
                    <a:pt x="109" y="147"/>
                    <a:pt x="109" y="152"/>
                    <a:pt x="110" y="155"/>
                  </a:cubicBezTo>
                  <a:cubicBezTo>
                    <a:pt x="112" y="195"/>
                    <a:pt x="112" y="195"/>
                    <a:pt x="112" y="195"/>
                  </a:cubicBezTo>
                  <a:cubicBezTo>
                    <a:pt x="0" y="195"/>
                    <a:pt x="0" y="195"/>
                    <a:pt x="0" y="195"/>
                  </a:cubicBezTo>
                  <a:cubicBezTo>
                    <a:pt x="0" y="203"/>
                    <a:pt x="0" y="203"/>
                    <a:pt x="0" y="203"/>
                  </a:cubicBezTo>
                  <a:cubicBezTo>
                    <a:pt x="0" y="204"/>
                    <a:pt x="0" y="204"/>
                    <a:pt x="0" y="204"/>
                  </a:cubicBezTo>
                  <a:cubicBezTo>
                    <a:pt x="0" y="204"/>
                    <a:pt x="0" y="205"/>
                    <a:pt x="1" y="206"/>
                  </a:cubicBezTo>
                  <a:cubicBezTo>
                    <a:pt x="1" y="207"/>
                    <a:pt x="1" y="208"/>
                    <a:pt x="2" y="209"/>
                  </a:cubicBezTo>
                  <a:cubicBezTo>
                    <a:pt x="2" y="210"/>
                    <a:pt x="3" y="211"/>
                    <a:pt x="3" y="211"/>
                  </a:cubicBezTo>
                  <a:cubicBezTo>
                    <a:pt x="4" y="213"/>
                    <a:pt x="5" y="214"/>
                    <a:pt x="6" y="216"/>
                  </a:cubicBezTo>
                  <a:cubicBezTo>
                    <a:pt x="6" y="218"/>
                    <a:pt x="7" y="220"/>
                    <a:pt x="9" y="220"/>
                  </a:cubicBezTo>
                  <a:cubicBezTo>
                    <a:pt x="11" y="220"/>
                    <a:pt x="11" y="219"/>
                    <a:pt x="12" y="219"/>
                  </a:cubicBezTo>
                  <a:cubicBezTo>
                    <a:pt x="12" y="219"/>
                    <a:pt x="12" y="220"/>
                    <a:pt x="12" y="221"/>
                  </a:cubicBezTo>
                  <a:cubicBezTo>
                    <a:pt x="13" y="222"/>
                    <a:pt x="13" y="222"/>
                    <a:pt x="13" y="223"/>
                  </a:cubicBezTo>
                  <a:cubicBezTo>
                    <a:pt x="13" y="225"/>
                    <a:pt x="13" y="227"/>
                    <a:pt x="15" y="229"/>
                  </a:cubicBezTo>
                  <a:cubicBezTo>
                    <a:pt x="16" y="230"/>
                    <a:pt x="17" y="231"/>
                    <a:pt x="16" y="233"/>
                  </a:cubicBezTo>
                  <a:cubicBezTo>
                    <a:pt x="16" y="234"/>
                    <a:pt x="16" y="236"/>
                    <a:pt x="16" y="237"/>
                  </a:cubicBezTo>
                  <a:cubicBezTo>
                    <a:pt x="16" y="239"/>
                    <a:pt x="16" y="241"/>
                    <a:pt x="15" y="242"/>
                  </a:cubicBezTo>
                  <a:cubicBezTo>
                    <a:pt x="15" y="243"/>
                    <a:pt x="14" y="244"/>
                    <a:pt x="13" y="245"/>
                  </a:cubicBezTo>
                  <a:cubicBezTo>
                    <a:pt x="12" y="246"/>
                    <a:pt x="11" y="247"/>
                    <a:pt x="11" y="249"/>
                  </a:cubicBezTo>
                  <a:cubicBezTo>
                    <a:pt x="11" y="250"/>
                    <a:pt x="11" y="251"/>
                    <a:pt x="11" y="252"/>
                  </a:cubicBezTo>
                  <a:cubicBezTo>
                    <a:pt x="11" y="254"/>
                    <a:pt x="11" y="254"/>
                    <a:pt x="10" y="255"/>
                  </a:cubicBezTo>
                  <a:cubicBezTo>
                    <a:pt x="10" y="255"/>
                    <a:pt x="10" y="255"/>
                    <a:pt x="10" y="256"/>
                  </a:cubicBezTo>
                  <a:cubicBezTo>
                    <a:pt x="9" y="256"/>
                    <a:pt x="6" y="258"/>
                    <a:pt x="8" y="261"/>
                  </a:cubicBezTo>
                  <a:cubicBezTo>
                    <a:pt x="9" y="262"/>
                    <a:pt x="10" y="263"/>
                    <a:pt x="11" y="264"/>
                  </a:cubicBezTo>
                  <a:cubicBezTo>
                    <a:pt x="11" y="264"/>
                    <a:pt x="11" y="264"/>
                    <a:pt x="12" y="265"/>
                  </a:cubicBezTo>
                  <a:cubicBezTo>
                    <a:pt x="13" y="266"/>
                    <a:pt x="13" y="267"/>
                    <a:pt x="14" y="269"/>
                  </a:cubicBezTo>
                  <a:cubicBezTo>
                    <a:pt x="16" y="272"/>
                    <a:pt x="16" y="276"/>
                    <a:pt x="17" y="280"/>
                  </a:cubicBezTo>
                  <a:cubicBezTo>
                    <a:pt x="17" y="282"/>
                    <a:pt x="17" y="284"/>
                    <a:pt x="17" y="286"/>
                  </a:cubicBezTo>
                  <a:cubicBezTo>
                    <a:pt x="17" y="289"/>
                    <a:pt x="18" y="291"/>
                    <a:pt x="18" y="294"/>
                  </a:cubicBezTo>
                  <a:cubicBezTo>
                    <a:pt x="18" y="296"/>
                    <a:pt x="18" y="297"/>
                    <a:pt x="18" y="299"/>
                  </a:cubicBezTo>
                  <a:cubicBezTo>
                    <a:pt x="18" y="301"/>
                    <a:pt x="18" y="302"/>
                    <a:pt x="18" y="304"/>
                  </a:cubicBezTo>
                  <a:cubicBezTo>
                    <a:pt x="19" y="310"/>
                    <a:pt x="18" y="317"/>
                    <a:pt x="16" y="322"/>
                  </a:cubicBezTo>
                  <a:cubicBezTo>
                    <a:pt x="15" y="327"/>
                    <a:pt x="12" y="334"/>
                    <a:pt x="9" y="340"/>
                  </a:cubicBezTo>
                  <a:cubicBezTo>
                    <a:pt x="6" y="345"/>
                    <a:pt x="4" y="351"/>
                    <a:pt x="4" y="360"/>
                  </a:cubicBezTo>
                  <a:cubicBezTo>
                    <a:pt x="4" y="362"/>
                    <a:pt x="4" y="364"/>
                    <a:pt x="3" y="365"/>
                  </a:cubicBezTo>
                  <a:cubicBezTo>
                    <a:pt x="3" y="371"/>
                    <a:pt x="3" y="371"/>
                    <a:pt x="3" y="371"/>
                  </a:cubicBezTo>
                  <a:cubicBezTo>
                    <a:pt x="7" y="368"/>
                    <a:pt x="7" y="368"/>
                    <a:pt x="7" y="368"/>
                  </a:cubicBezTo>
                  <a:cubicBezTo>
                    <a:pt x="8" y="367"/>
                    <a:pt x="9" y="365"/>
                    <a:pt x="11" y="362"/>
                  </a:cubicBezTo>
                  <a:cubicBezTo>
                    <a:pt x="11" y="361"/>
                    <a:pt x="11" y="360"/>
                    <a:pt x="11" y="360"/>
                  </a:cubicBezTo>
                  <a:cubicBezTo>
                    <a:pt x="13" y="355"/>
                    <a:pt x="16" y="354"/>
                    <a:pt x="19" y="354"/>
                  </a:cubicBezTo>
                  <a:cubicBezTo>
                    <a:pt x="21" y="354"/>
                    <a:pt x="22" y="354"/>
                    <a:pt x="24" y="354"/>
                  </a:cubicBezTo>
                  <a:cubicBezTo>
                    <a:pt x="25" y="354"/>
                    <a:pt x="25" y="354"/>
                    <a:pt x="25" y="354"/>
                  </a:cubicBezTo>
                  <a:cubicBezTo>
                    <a:pt x="26" y="355"/>
                    <a:pt x="27" y="355"/>
                    <a:pt x="28" y="355"/>
                  </a:cubicBezTo>
                  <a:cubicBezTo>
                    <a:pt x="34" y="355"/>
                    <a:pt x="39" y="353"/>
                    <a:pt x="44" y="352"/>
                  </a:cubicBezTo>
                  <a:cubicBezTo>
                    <a:pt x="49" y="350"/>
                    <a:pt x="54" y="349"/>
                    <a:pt x="59" y="349"/>
                  </a:cubicBezTo>
                  <a:cubicBezTo>
                    <a:pt x="60" y="349"/>
                    <a:pt x="61" y="349"/>
                    <a:pt x="62" y="349"/>
                  </a:cubicBezTo>
                  <a:cubicBezTo>
                    <a:pt x="68" y="350"/>
                    <a:pt x="73" y="353"/>
                    <a:pt x="76" y="358"/>
                  </a:cubicBezTo>
                  <a:cubicBezTo>
                    <a:pt x="77" y="358"/>
                    <a:pt x="77" y="358"/>
                    <a:pt x="77" y="358"/>
                  </a:cubicBezTo>
                  <a:cubicBezTo>
                    <a:pt x="80" y="363"/>
                    <a:pt x="82" y="366"/>
                    <a:pt x="88" y="367"/>
                  </a:cubicBezTo>
                  <a:cubicBezTo>
                    <a:pt x="96" y="368"/>
                    <a:pt x="97" y="371"/>
                    <a:pt x="98" y="378"/>
                  </a:cubicBezTo>
                  <a:cubicBezTo>
                    <a:pt x="100" y="382"/>
                    <a:pt x="102" y="384"/>
                    <a:pt x="104" y="387"/>
                  </a:cubicBezTo>
                  <a:cubicBezTo>
                    <a:pt x="105" y="388"/>
                    <a:pt x="107" y="389"/>
                    <a:pt x="108" y="391"/>
                  </a:cubicBezTo>
                  <a:cubicBezTo>
                    <a:pt x="109" y="392"/>
                    <a:pt x="109" y="393"/>
                    <a:pt x="110" y="394"/>
                  </a:cubicBezTo>
                  <a:cubicBezTo>
                    <a:pt x="110" y="395"/>
                    <a:pt x="111" y="396"/>
                    <a:pt x="112" y="397"/>
                  </a:cubicBezTo>
                  <a:cubicBezTo>
                    <a:pt x="113" y="399"/>
                    <a:pt x="115" y="400"/>
                    <a:pt x="116" y="401"/>
                  </a:cubicBezTo>
                  <a:cubicBezTo>
                    <a:pt x="117" y="401"/>
                    <a:pt x="117" y="401"/>
                    <a:pt x="118" y="402"/>
                  </a:cubicBezTo>
                  <a:cubicBezTo>
                    <a:pt x="120" y="403"/>
                    <a:pt x="122" y="405"/>
                    <a:pt x="123" y="407"/>
                  </a:cubicBezTo>
                  <a:cubicBezTo>
                    <a:pt x="125" y="410"/>
                    <a:pt x="126" y="412"/>
                    <a:pt x="129" y="413"/>
                  </a:cubicBezTo>
                  <a:cubicBezTo>
                    <a:pt x="129" y="414"/>
                    <a:pt x="130" y="414"/>
                    <a:pt x="131" y="414"/>
                  </a:cubicBezTo>
                  <a:cubicBezTo>
                    <a:pt x="132" y="413"/>
                    <a:pt x="132" y="413"/>
                    <a:pt x="132" y="413"/>
                  </a:cubicBezTo>
                  <a:cubicBezTo>
                    <a:pt x="131" y="414"/>
                    <a:pt x="131" y="414"/>
                    <a:pt x="131" y="414"/>
                  </a:cubicBezTo>
                  <a:cubicBezTo>
                    <a:pt x="132" y="415"/>
                    <a:pt x="132" y="415"/>
                    <a:pt x="132" y="415"/>
                  </a:cubicBezTo>
                  <a:cubicBezTo>
                    <a:pt x="134" y="413"/>
                    <a:pt x="134" y="413"/>
                    <a:pt x="134" y="413"/>
                  </a:cubicBezTo>
                  <a:cubicBezTo>
                    <a:pt x="136" y="412"/>
                    <a:pt x="138" y="411"/>
                    <a:pt x="139" y="409"/>
                  </a:cubicBezTo>
                  <a:cubicBezTo>
                    <a:pt x="141" y="406"/>
                    <a:pt x="141" y="403"/>
                    <a:pt x="140" y="401"/>
                  </a:cubicBezTo>
                  <a:cubicBezTo>
                    <a:pt x="140" y="399"/>
                    <a:pt x="140" y="397"/>
                    <a:pt x="141" y="396"/>
                  </a:cubicBezTo>
                  <a:cubicBezTo>
                    <a:pt x="141" y="392"/>
                    <a:pt x="145" y="385"/>
                    <a:pt x="149" y="384"/>
                  </a:cubicBezTo>
                  <a:cubicBezTo>
                    <a:pt x="150" y="384"/>
                    <a:pt x="150" y="384"/>
                    <a:pt x="150" y="384"/>
                  </a:cubicBezTo>
                  <a:cubicBezTo>
                    <a:pt x="153" y="384"/>
                    <a:pt x="156" y="388"/>
                    <a:pt x="158" y="390"/>
                  </a:cubicBezTo>
                  <a:cubicBezTo>
                    <a:pt x="159" y="391"/>
                    <a:pt x="159" y="391"/>
                    <a:pt x="159" y="391"/>
                  </a:cubicBezTo>
                  <a:cubicBezTo>
                    <a:pt x="160" y="392"/>
                    <a:pt x="161" y="394"/>
                    <a:pt x="163" y="395"/>
                  </a:cubicBezTo>
                  <a:cubicBezTo>
                    <a:pt x="164" y="396"/>
                    <a:pt x="164" y="396"/>
                    <a:pt x="164" y="396"/>
                  </a:cubicBezTo>
                  <a:cubicBezTo>
                    <a:pt x="165" y="397"/>
                    <a:pt x="165" y="397"/>
                    <a:pt x="165" y="397"/>
                  </a:cubicBezTo>
                  <a:cubicBezTo>
                    <a:pt x="165" y="398"/>
                    <a:pt x="165" y="398"/>
                    <a:pt x="166" y="398"/>
                  </a:cubicBezTo>
                  <a:cubicBezTo>
                    <a:pt x="168" y="401"/>
                    <a:pt x="168" y="401"/>
                    <a:pt x="168" y="401"/>
                  </a:cubicBezTo>
                  <a:cubicBezTo>
                    <a:pt x="169" y="398"/>
                    <a:pt x="169" y="398"/>
                    <a:pt x="169" y="398"/>
                  </a:cubicBezTo>
                  <a:cubicBezTo>
                    <a:pt x="169" y="397"/>
                    <a:pt x="170" y="396"/>
                    <a:pt x="170" y="396"/>
                  </a:cubicBezTo>
                  <a:cubicBezTo>
                    <a:pt x="170" y="395"/>
                    <a:pt x="170" y="395"/>
                    <a:pt x="170" y="395"/>
                  </a:cubicBezTo>
                  <a:cubicBezTo>
                    <a:pt x="171" y="393"/>
                    <a:pt x="172" y="391"/>
                    <a:pt x="174" y="390"/>
                  </a:cubicBezTo>
                  <a:cubicBezTo>
                    <a:pt x="175" y="389"/>
                    <a:pt x="176" y="389"/>
                    <a:pt x="178" y="389"/>
                  </a:cubicBezTo>
                  <a:cubicBezTo>
                    <a:pt x="179" y="389"/>
                    <a:pt x="180" y="389"/>
                    <a:pt x="181" y="389"/>
                  </a:cubicBezTo>
                  <a:cubicBezTo>
                    <a:pt x="181" y="389"/>
                    <a:pt x="181" y="389"/>
                    <a:pt x="181" y="389"/>
                  </a:cubicBezTo>
                  <a:cubicBezTo>
                    <a:pt x="185" y="390"/>
                    <a:pt x="189" y="391"/>
                    <a:pt x="194" y="391"/>
                  </a:cubicBezTo>
                  <a:cubicBezTo>
                    <a:pt x="194" y="391"/>
                    <a:pt x="194" y="391"/>
                    <a:pt x="194" y="391"/>
                  </a:cubicBezTo>
                  <a:cubicBezTo>
                    <a:pt x="197" y="391"/>
                    <a:pt x="199" y="391"/>
                    <a:pt x="202" y="390"/>
                  </a:cubicBezTo>
                  <a:cubicBezTo>
                    <a:pt x="202" y="390"/>
                    <a:pt x="202" y="390"/>
                    <a:pt x="202" y="390"/>
                  </a:cubicBezTo>
                  <a:cubicBezTo>
                    <a:pt x="203" y="390"/>
                    <a:pt x="203" y="390"/>
                    <a:pt x="204" y="390"/>
                  </a:cubicBezTo>
                  <a:cubicBezTo>
                    <a:pt x="205" y="390"/>
                    <a:pt x="206" y="390"/>
                    <a:pt x="208" y="389"/>
                  </a:cubicBezTo>
                  <a:cubicBezTo>
                    <a:pt x="209" y="388"/>
                    <a:pt x="209" y="387"/>
                    <a:pt x="209" y="386"/>
                  </a:cubicBezTo>
                  <a:cubicBezTo>
                    <a:pt x="210" y="386"/>
                    <a:pt x="210" y="385"/>
                    <a:pt x="210" y="384"/>
                  </a:cubicBezTo>
                  <a:cubicBezTo>
                    <a:pt x="211" y="384"/>
                    <a:pt x="211" y="383"/>
                    <a:pt x="211" y="383"/>
                  </a:cubicBezTo>
                  <a:cubicBezTo>
                    <a:pt x="212" y="383"/>
                    <a:pt x="213" y="385"/>
                    <a:pt x="214" y="386"/>
                  </a:cubicBezTo>
                  <a:cubicBezTo>
                    <a:pt x="214" y="386"/>
                    <a:pt x="214" y="387"/>
                    <a:pt x="214" y="387"/>
                  </a:cubicBezTo>
                  <a:cubicBezTo>
                    <a:pt x="215" y="388"/>
                    <a:pt x="215" y="388"/>
                    <a:pt x="215" y="388"/>
                  </a:cubicBezTo>
                  <a:cubicBezTo>
                    <a:pt x="322" y="388"/>
                    <a:pt x="322" y="388"/>
                    <a:pt x="322" y="388"/>
                  </a:cubicBezTo>
                  <a:cubicBezTo>
                    <a:pt x="327" y="367"/>
                    <a:pt x="327" y="367"/>
                    <a:pt x="327" y="367"/>
                  </a:cubicBezTo>
                  <a:cubicBezTo>
                    <a:pt x="327" y="366"/>
                    <a:pt x="330" y="360"/>
                    <a:pt x="320" y="355"/>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36" name="Freeform 32">
              <a:extLst>
                <a:ext uri="{FF2B5EF4-FFF2-40B4-BE49-F238E27FC236}">
                  <a16:creationId xmlns:a16="http://schemas.microsoft.com/office/drawing/2014/main" id="{C79F7ACC-6C0B-4396-B802-A5FC200DBE86}"/>
                </a:ext>
              </a:extLst>
            </p:cNvPr>
            <p:cNvSpPr>
              <a:spLocks/>
            </p:cNvSpPr>
            <p:nvPr/>
          </p:nvSpPr>
          <p:spPr bwMode="auto">
            <a:xfrm>
              <a:off x="1494456" y="240969"/>
              <a:ext cx="1170707" cy="1116730"/>
            </a:xfrm>
            <a:custGeom>
              <a:avLst/>
              <a:gdLst>
                <a:gd name="T0" fmla="*/ 537 w 578"/>
                <a:gd name="T1" fmla="*/ 418 h 599"/>
                <a:gd name="T2" fmla="*/ 530 w 578"/>
                <a:gd name="T3" fmla="*/ 410 h 599"/>
                <a:gd name="T4" fmla="*/ 525 w 578"/>
                <a:gd name="T5" fmla="*/ 405 h 599"/>
                <a:gd name="T6" fmla="*/ 508 w 578"/>
                <a:gd name="T7" fmla="*/ 366 h 599"/>
                <a:gd name="T8" fmla="*/ 520 w 578"/>
                <a:gd name="T9" fmla="*/ 350 h 599"/>
                <a:gd name="T10" fmla="*/ 522 w 578"/>
                <a:gd name="T11" fmla="*/ 303 h 599"/>
                <a:gd name="T12" fmla="*/ 517 w 578"/>
                <a:gd name="T13" fmla="*/ 260 h 599"/>
                <a:gd name="T14" fmla="*/ 504 w 578"/>
                <a:gd name="T15" fmla="*/ 234 h 599"/>
                <a:gd name="T16" fmla="*/ 479 w 578"/>
                <a:gd name="T17" fmla="*/ 155 h 599"/>
                <a:gd name="T18" fmla="*/ 459 w 578"/>
                <a:gd name="T19" fmla="*/ 126 h 599"/>
                <a:gd name="T20" fmla="*/ 454 w 578"/>
                <a:gd name="T21" fmla="*/ 113 h 599"/>
                <a:gd name="T22" fmla="*/ 465 w 578"/>
                <a:gd name="T23" fmla="*/ 91 h 599"/>
                <a:gd name="T24" fmla="*/ 477 w 578"/>
                <a:gd name="T25" fmla="*/ 69 h 599"/>
                <a:gd name="T26" fmla="*/ 475 w 578"/>
                <a:gd name="T27" fmla="*/ 47 h 599"/>
                <a:gd name="T28" fmla="*/ 475 w 578"/>
                <a:gd name="T29" fmla="*/ 20 h 599"/>
                <a:gd name="T30" fmla="*/ 483 w 578"/>
                <a:gd name="T31" fmla="*/ 11 h 599"/>
                <a:gd name="T32" fmla="*/ 476 w 578"/>
                <a:gd name="T33" fmla="*/ 6 h 599"/>
                <a:gd name="T34" fmla="*/ 464 w 578"/>
                <a:gd name="T35" fmla="*/ 8 h 599"/>
                <a:gd name="T36" fmla="*/ 456 w 578"/>
                <a:gd name="T37" fmla="*/ 3 h 599"/>
                <a:gd name="T38" fmla="*/ 439 w 578"/>
                <a:gd name="T39" fmla="*/ 7 h 599"/>
                <a:gd name="T40" fmla="*/ 434 w 578"/>
                <a:gd name="T41" fmla="*/ 7 h 599"/>
                <a:gd name="T42" fmla="*/ 418 w 578"/>
                <a:gd name="T43" fmla="*/ 5 h 599"/>
                <a:gd name="T44" fmla="*/ 397 w 578"/>
                <a:gd name="T45" fmla="*/ 13 h 599"/>
                <a:gd name="T46" fmla="*/ 389 w 578"/>
                <a:gd name="T47" fmla="*/ 11 h 599"/>
                <a:gd name="T48" fmla="*/ 363 w 578"/>
                <a:gd name="T49" fmla="*/ 7 h 599"/>
                <a:gd name="T50" fmla="*/ 355 w 578"/>
                <a:gd name="T51" fmla="*/ 6 h 599"/>
                <a:gd name="T52" fmla="*/ 335 w 578"/>
                <a:gd name="T53" fmla="*/ 8 h 599"/>
                <a:gd name="T54" fmla="*/ 317 w 578"/>
                <a:gd name="T55" fmla="*/ 15 h 599"/>
                <a:gd name="T56" fmla="*/ 279 w 578"/>
                <a:gd name="T57" fmla="*/ 20 h 599"/>
                <a:gd name="T58" fmla="*/ 250 w 578"/>
                <a:gd name="T59" fmla="*/ 37 h 599"/>
                <a:gd name="T60" fmla="*/ 233 w 578"/>
                <a:gd name="T61" fmla="*/ 42 h 599"/>
                <a:gd name="T62" fmla="*/ 206 w 578"/>
                <a:gd name="T63" fmla="*/ 59 h 599"/>
                <a:gd name="T64" fmla="*/ 200 w 578"/>
                <a:gd name="T65" fmla="*/ 78 h 599"/>
                <a:gd name="T66" fmla="*/ 200 w 578"/>
                <a:gd name="T67" fmla="*/ 85 h 599"/>
                <a:gd name="T68" fmla="*/ 201 w 578"/>
                <a:gd name="T69" fmla="*/ 109 h 599"/>
                <a:gd name="T70" fmla="*/ 203 w 578"/>
                <a:gd name="T71" fmla="*/ 131 h 599"/>
                <a:gd name="T72" fmla="*/ 214 w 578"/>
                <a:gd name="T73" fmla="*/ 156 h 599"/>
                <a:gd name="T74" fmla="*/ 199 w 578"/>
                <a:gd name="T75" fmla="*/ 165 h 599"/>
                <a:gd name="T76" fmla="*/ 175 w 578"/>
                <a:gd name="T77" fmla="*/ 166 h 599"/>
                <a:gd name="T78" fmla="*/ 155 w 578"/>
                <a:gd name="T79" fmla="*/ 178 h 599"/>
                <a:gd name="T80" fmla="*/ 138 w 578"/>
                <a:gd name="T81" fmla="*/ 181 h 599"/>
                <a:gd name="T82" fmla="*/ 144 w 578"/>
                <a:gd name="T83" fmla="*/ 200 h 599"/>
                <a:gd name="T84" fmla="*/ 126 w 578"/>
                <a:gd name="T85" fmla="*/ 211 h 599"/>
                <a:gd name="T86" fmla="*/ 108 w 578"/>
                <a:gd name="T87" fmla="*/ 218 h 599"/>
                <a:gd name="T88" fmla="*/ 74 w 578"/>
                <a:gd name="T89" fmla="*/ 240 h 599"/>
                <a:gd name="T90" fmla="*/ 58 w 578"/>
                <a:gd name="T91" fmla="*/ 247 h 599"/>
                <a:gd name="T92" fmla="*/ 39 w 578"/>
                <a:gd name="T93" fmla="*/ 252 h 599"/>
                <a:gd name="T94" fmla="*/ 15 w 578"/>
                <a:gd name="T95" fmla="*/ 267 h 599"/>
                <a:gd name="T96" fmla="*/ 5 w 578"/>
                <a:gd name="T97" fmla="*/ 329 h 599"/>
                <a:gd name="T98" fmla="*/ 88 w 578"/>
                <a:gd name="T99" fmla="*/ 390 h 599"/>
                <a:gd name="T100" fmla="*/ 201 w 578"/>
                <a:gd name="T101" fmla="*/ 474 h 599"/>
                <a:gd name="T102" fmla="*/ 261 w 578"/>
                <a:gd name="T103" fmla="*/ 519 h 599"/>
                <a:gd name="T104" fmla="*/ 273 w 578"/>
                <a:gd name="T105" fmla="*/ 541 h 599"/>
                <a:gd name="T106" fmla="*/ 286 w 578"/>
                <a:gd name="T107" fmla="*/ 547 h 599"/>
                <a:gd name="T108" fmla="*/ 296 w 578"/>
                <a:gd name="T109" fmla="*/ 558 h 599"/>
                <a:gd name="T110" fmla="*/ 305 w 578"/>
                <a:gd name="T111" fmla="*/ 559 h 599"/>
                <a:gd name="T112" fmla="*/ 330 w 578"/>
                <a:gd name="T113" fmla="*/ 574 h 599"/>
                <a:gd name="T114" fmla="*/ 328 w 578"/>
                <a:gd name="T115" fmla="*/ 591 h 599"/>
                <a:gd name="T116" fmla="*/ 406 w 578"/>
                <a:gd name="T117" fmla="*/ 583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8" h="599">
                  <a:moveTo>
                    <a:pt x="569" y="424"/>
                  </a:moveTo>
                  <a:cubicBezTo>
                    <a:pt x="547" y="417"/>
                    <a:pt x="547" y="417"/>
                    <a:pt x="547" y="417"/>
                  </a:cubicBezTo>
                  <a:cubicBezTo>
                    <a:pt x="546" y="417"/>
                    <a:pt x="545" y="416"/>
                    <a:pt x="544" y="416"/>
                  </a:cubicBezTo>
                  <a:cubicBezTo>
                    <a:pt x="542" y="416"/>
                    <a:pt x="541" y="417"/>
                    <a:pt x="540" y="417"/>
                  </a:cubicBezTo>
                  <a:cubicBezTo>
                    <a:pt x="539" y="417"/>
                    <a:pt x="538" y="418"/>
                    <a:pt x="538" y="418"/>
                  </a:cubicBezTo>
                  <a:cubicBezTo>
                    <a:pt x="537" y="418"/>
                    <a:pt x="537" y="418"/>
                    <a:pt x="537" y="418"/>
                  </a:cubicBezTo>
                  <a:cubicBezTo>
                    <a:pt x="535" y="418"/>
                    <a:pt x="535" y="417"/>
                    <a:pt x="534" y="416"/>
                  </a:cubicBezTo>
                  <a:cubicBezTo>
                    <a:pt x="533" y="416"/>
                    <a:pt x="533" y="416"/>
                    <a:pt x="533" y="416"/>
                  </a:cubicBezTo>
                  <a:cubicBezTo>
                    <a:pt x="533" y="416"/>
                    <a:pt x="533" y="415"/>
                    <a:pt x="532" y="415"/>
                  </a:cubicBezTo>
                  <a:cubicBezTo>
                    <a:pt x="532" y="415"/>
                    <a:pt x="531" y="415"/>
                    <a:pt x="531" y="414"/>
                  </a:cubicBezTo>
                  <a:cubicBezTo>
                    <a:pt x="530" y="413"/>
                    <a:pt x="530" y="413"/>
                    <a:pt x="530" y="412"/>
                  </a:cubicBezTo>
                  <a:cubicBezTo>
                    <a:pt x="530" y="412"/>
                    <a:pt x="530" y="411"/>
                    <a:pt x="530" y="410"/>
                  </a:cubicBezTo>
                  <a:cubicBezTo>
                    <a:pt x="530" y="409"/>
                    <a:pt x="529" y="409"/>
                    <a:pt x="528" y="408"/>
                  </a:cubicBezTo>
                  <a:cubicBezTo>
                    <a:pt x="528" y="408"/>
                    <a:pt x="528" y="408"/>
                    <a:pt x="527" y="408"/>
                  </a:cubicBezTo>
                  <a:cubicBezTo>
                    <a:pt x="527" y="407"/>
                    <a:pt x="527" y="407"/>
                    <a:pt x="526" y="406"/>
                  </a:cubicBezTo>
                  <a:cubicBezTo>
                    <a:pt x="526" y="406"/>
                    <a:pt x="526" y="406"/>
                    <a:pt x="526" y="405"/>
                  </a:cubicBezTo>
                  <a:cubicBezTo>
                    <a:pt x="526" y="405"/>
                    <a:pt x="526" y="405"/>
                    <a:pt x="526" y="405"/>
                  </a:cubicBezTo>
                  <a:cubicBezTo>
                    <a:pt x="525" y="405"/>
                    <a:pt x="525" y="405"/>
                    <a:pt x="525" y="405"/>
                  </a:cubicBezTo>
                  <a:cubicBezTo>
                    <a:pt x="525" y="403"/>
                    <a:pt x="525" y="400"/>
                    <a:pt x="524" y="398"/>
                  </a:cubicBezTo>
                  <a:cubicBezTo>
                    <a:pt x="524" y="394"/>
                    <a:pt x="524" y="391"/>
                    <a:pt x="523" y="388"/>
                  </a:cubicBezTo>
                  <a:cubicBezTo>
                    <a:pt x="522" y="385"/>
                    <a:pt x="520" y="382"/>
                    <a:pt x="518" y="379"/>
                  </a:cubicBezTo>
                  <a:cubicBezTo>
                    <a:pt x="517" y="378"/>
                    <a:pt x="516" y="377"/>
                    <a:pt x="515" y="376"/>
                  </a:cubicBezTo>
                  <a:cubicBezTo>
                    <a:pt x="514" y="374"/>
                    <a:pt x="513" y="373"/>
                    <a:pt x="512" y="372"/>
                  </a:cubicBezTo>
                  <a:cubicBezTo>
                    <a:pt x="511" y="370"/>
                    <a:pt x="509" y="368"/>
                    <a:pt x="508" y="366"/>
                  </a:cubicBezTo>
                  <a:cubicBezTo>
                    <a:pt x="507" y="364"/>
                    <a:pt x="506" y="362"/>
                    <a:pt x="507" y="361"/>
                  </a:cubicBezTo>
                  <a:cubicBezTo>
                    <a:pt x="507" y="358"/>
                    <a:pt x="510" y="357"/>
                    <a:pt x="512" y="356"/>
                  </a:cubicBezTo>
                  <a:cubicBezTo>
                    <a:pt x="513" y="355"/>
                    <a:pt x="514" y="355"/>
                    <a:pt x="515" y="354"/>
                  </a:cubicBezTo>
                  <a:cubicBezTo>
                    <a:pt x="516" y="353"/>
                    <a:pt x="517" y="352"/>
                    <a:pt x="519" y="352"/>
                  </a:cubicBezTo>
                  <a:cubicBezTo>
                    <a:pt x="520" y="351"/>
                    <a:pt x="520" y="351"/>
                    <a:pt x="520" y="351"/>
                  </a:cubicBezTo>
                  <a:cubicBezTo>
                    <a:pt x="520" y="350"/>
                    <a:pt x="520" y="350"/>
                    <a:pt x="520" y="350"/>
                  </a:cubicBezTo>
                  <a:cubicBezTo>
                    <a:pt x="520" y="345"/>
                    <a:pt x="520" y="341"/>
                    <a:pt x="519" y="337"/>
                  </a:cubicBezTo>
                  <a:cubicBezTo>
                    <a:pt x="519" y="335"/>
                    <a:pt x="518" y="333"/>
                    <a:pt x="517" y="331"/>
                  </a:cubicBezTo>
                  <a:cubicBezTo>
                    <a:pt x="514" y="327"/>
                    <a:pt x="516" y="322"/>
                    <a:pt x="517" y="318"/>
                  </a:cubicBezTo>
                  <a:cubicBezTo>
                    <a:pt x="518" y="316"/>
                    <a:pt x="519" y="314"/>
                    <a:pt x="519" y="313"/>
                  </a:cubicBezTo>
                  <a:cubicBezTo>
                    <a:pt x="520" y="310"/>
                    <a:pt x="520" y="310"/>
                    <a:pt x="520" y="310"/>
                  </a:cubicBezTo>
                  <a:cubicBezTo>
                    <a:pt x="521" y="307"/>
                    <a:pt x="522" y="305"/>
                    <a:pt x="522" y="303"/>
                  </a:cubicBezTo>
                  <a:cubicBezTo>
                    <a:pt x="521" y="302"/>
                    <a:pt x="520" y="301"/>
                    <a:pt x="519" y="300"/>
                  </a:cubicBezTo>
                  <a:cubicBezTo>
                    <a:pt x="518" y="299"/>
                    <a:pt x="518" y="299"/>
                    <a:pt x="517" y="298"/>
                  </a:cubicBezTo>
                  <a:cubicBezTo>
                    <a:pt x="515" y="294"/>
                    <a:pt x="517" y="287"/>
                    <a:pt x="518" y="284"/>
                  </a:cubicBezTo>
                  <a:cubicBezTo>
                    <a:pt x="519" y="279"/>
                    <a:pt x="519" y="275"/>
                    <a:pt x="519" y="269"/>
                  </a:cubicBezTo>
                  <a:cubicBezTo>
                    <a:pt x="519" y="266"/>
                    <a:pt x="518" y="264"/>
                    <a:pt x="517" y="262"/>
                  </a:cubicBezTo>
                  <a:cubicBezTo>
                    <a:pt x="517" y="261"/>
                    <a:pt x="517" y="261"/>
                    <a:pt x="517" y="260"/>
                  </a:cubicBezTo>
                  <a:cubicBezTo>
                    <a:pt x="516" y="259"/>
                    <a:pt x="516" y="258"/>
                    <a:pt x="516" y="256"/>
                  </a:cubicBezTo>
                  <a:cubicBezTo>
                    <a:pt x="516" y="256"/>
                    <a:pt x="516" y="255"/>
                    <a:pt x="516" y="255"/>
                  </a:cubicBezTo>
                  <a:cubicBezTo>
                    <a:pt x="516" y="254"/>
                    <a:pt x="516" y="253"/>
                    <a:pt x="516" y="252"/>
                  </a:cubicBezTo>
                  <a:cubicBezTo>
                    <a:pt x="515" y="250"/>
                    <a:pt x="514" y="248"/>
                    <a:pt x="512" y="246"/>
                  </a:cubicBezTo>
                  <a:cubicBezTo>
                    <a:pt x="511" y="245"/>
                    <a:pt x="511" y="244"/>
                    <a:pt x="510" y="243"/>
                  </a:cubicBezTo>
                  <a:cubicBezTo>
                    <a:pt x="508" y="240"/>
                    <a:pt x="506" y="237"/>
                    <a:pt x="504" y="234"/>
                  </a:cubicBezTo>
                  <a:cubicBezTo>
                    <a:pt x="505" y="233"/>
                    <a:pt x="506" y="231"/>
                    <a:pt x="508" y="230"/>
                  </a:cubicBezTo>
                  <a:cubicBezTo>
                    <a:pt x="510" y="229"/>
                    <a:pt x="510" y="229"/>
                    <a:pt x="510" y="229"/>
                  </a:cubicBezTo>
                  <a:cubicBezTo>
                    <a:pt x="496" y="167"/>
                    <a:pt x="496" y="167"/>
                    <a:pt x="496" y="167"/>
                  </a:cubicBezTo>
                  <a:cubicBezTo>
                    <a:pt x="496" y="166"/>
                    <a:pt x="496" y="166"/>
                    <a:pt x="496" y="166"/>
                  </a:cubicBezTo>
                  <a:cubicBezTo>
                    <a:pt x="493" y="163"/>
                    <a:pt x="489" y="161"/>
                    <a:pt x="485" y="158"/>
                  </a:cubicBezTo>
                  <a:cubicBezTo>
                    <a:pt x="483" y="157"/>
                    <a:pt x="481" y="156"/>
                    <a:pt x="479" y="155"/>
                  </a:cubicBezTo>
                  <a:cubicBezTo>
                    <a:pt x="476" y="153"/>
                    <a:pt x="476" y="150"/>
                    <a:pt x="475" y="147"/>
                  </a:cubicBezTo>
                  <a:cubicBezTo>
                    <a:pt x="475" y="144"/>
                    <a:pt x="475" y="142"/>
                    <a:pt x="473" y="139"/>
                  </a:cubicBezTo>
                  <a:cubicBezTo>
                    <a:pt x="472" y="137"/>
                    <a:pt x="470" y="135"/>
                    <a:pt x="467" y="133"/>
                  </a:cubicBezTo>
                  <a:cubicBezTo>
                    <a:pt x="467" y="132"/>
                    <a:pt x="465" y="132"/>
                    <a:pt x="464" y="131"/>
                  </a:cubicBezTo>
                  <a:cubicBezTo>
                    <a:pt x="462" y="131"/>
                    <a:pt x="461" y="131"/>
                    <a:pt x="460" y="130"/>
                  </a:cubicBezTo>
                  <a:cubicBezTo>
                    <a:pt x="459" y="129"/>
                    <a:pt x="459" y="127"/>
                    <a:pt x="459" y="126"/>
                  </a:cubicBezTo>
                  <a:cubicBezTo>
                    <a:pt x="459" y="124"/>
                    <a:pt x="459" y="123"/>
                    <a:pt x="459" y="122"/>
                  </a:cubicBezTo>
                  <a:cubicBezTo>
                    <a:pt x="459" y="121"/>
                    <a:pt x="458" y="120"/>
                    <a:pt x="458" y="120"/>
                  </a:cubicBezTo>
                  <a:cubicBezTo>
                    <a:pt x="457" y="120"/>
                    <a:pt x="457" y="119"/>
                    <a:pt x="457" y="119"/>
                  </a:cubicBezTo>
                  <a:cubicBezTo>
                    <a:pt x="456" y="118"/>
                    <a:pt x="456" y="118"/>
                    <a:pt x="456" y="117"/>
                  </a:cubicBezTo>
                  <a:cubicBezTo>
                    <a:pt x="456" y="116"/>
                    <a:pt x="456" y="116"/>
                    <a:pt x="455" y="115"/>
                  </a:cubicBezTo>
                  <a:cubicBezTo>
                    <a:pt x="455" y="114"/>
                    <a:pt x="455" y="113"/>
                    <a:pt x="454" y="113"/>
                  </a:cubicBezTo>
                  <a:cubicBezTo>
                    <a:pt x="453" y="111"/>
                    <a:pt x="453" y="110"/>
                    <a:pt x="452" y="108"/>
                  </a:cubicBezTo>
                  <a:cubicBezTo>
                    <a:pt x="452" y="104"/>
                    <a:pt x="452" y="103"/>
                    <a:pt x="455" y="100"/>
                  </a:cubicBezTo>
                  <a:cubicBezTo>
                    <a:pt x="456" y="100"/>
                    <a:pt x="457" y="99"/>
                    <a:pt x="458" y="99"/>
                  </a:cubicBezTo>
                  <a:cubicBezTo>
                    <a:pt x="459" y="98"/>
                    <a:pt x="460" y="97"/>
                    <a:pt x="461" y="96"/>
                  </a:cubicBezTo>
                  <a:cubicBezTo>
                    <a:pt x="462" y="95"/>
                    <a:pt x="462" y="94"/>
                    <a:pt x="463" y="93"/>
                  </a:cubicBezTo>
                  <a:cubicBezTo>
                    <a:pt x="463" y="92"/>
                    <a:pt x="464" y="91"/>
                    <a:pt x="465" y="91"/>
                  </a:cubicBezTo>
                  <a:cubicBezTo>
                    <a:pt x="465" y="90"/>
                    <a:pt x="466" y="90"/>
                    <a:pt x="467" y="89"/>
                  </a:cubicBezTo>
                  <a:cubicBezTo>
                    <a:pt x="468" y="89"/>
                    <a:pt x="469" y="88"/>
                    <a:pt x="470" y="88"/>
                  </a:cubicBezTo>
                  <a:cubicBezTo>
                    <a:pt x="472" y="86"/>
                    <a:pt x="474" y="82"/>
                    <a:pt x="474" y="80"/>
                  </a:cubicBezTo>
                  <a:cubicBezTo>
                    <a:pt x="475" y="79"/>
                    <a:pt x="475" y="77"/>
                    <a:pt x="475" y="76"/>
                  </a:cubicBezTo>
                  <a:cubicBezTo>
                    <a:pt x="475" y="75"/>
                    <a:pt x="475" y="74"/>
                    <a:pt x="475" y="73"/>
                  </a:cubicBezTo>
                  <a:cubicBezTo>
                    <a:pt x="475" y="71"/>
                    <a:pt x="476" y="70"/>
                    <a:pt x="477" y="69"/>
                  </a:cubicBezTo>
                  <a:cubicBezTo>
                    <a:pt x="477" y="68"/>
                    <a:pt x="478" y="68"/>
                    <a:pt x="478" y="67"/>
                  </a:cubicBezTo>
                  <a:cubicBezTo>
                    <a:pt x="479" y="66"/>
                    <a:pt x="479" y="64"/>
                    <a:pt x="479" y="63"/>
                  </a:cubicBezTo>
                  <a:cubicBezTo>
                    <a:pt x="479" y="62"/>
                    <a:pt x="478" y="62"/>
                    <a:pt x="477" y="61"/>
                  </a:cubicBezTo>
                  <a:cubicBezTo>
                    <a:pt x="477" y="61"/>
                    <a:pt x="477" y="61"/>
                    <a:pt x="477" y="60"/>
                  </a:cubicBezTo>
                  <a:cubicBezTo>
                    <a:pt x="475" y="59"/>
                    <a:pt x="476" y="56"/>
                    <a:pt x="476" y="54"/>
                  </a:cubicBezTo>
                  <a:cubicBezTo>
                    <a:pt x="476" y="51"/>
                    <a:pt x="476" y="49"/>
                    <a:pt x="475" y="47"/>
                  </a:cubicBezTo>
                  <a:cubicBezTo>
                    <a:pt x="475" y="45"/>
                    <a:pt x="474" y="42"/>
                    <a:pt x="475" y="40"/>
                  </a:cubicBezTo>
                  <a:cubicBezTo>
                    <a:pt x="475" y="38"/>
                    <a:pt x="475" y="36"/>
                    <a:pt x="476" y="34"/>
                  </a:cubicBezTo>
                  <a:cubicBezTo>
                    <a:pt x="476" y="32"/>
                    <a:pt x="477" y="29"/>
                    <a:pt x="476" y="26"/>
                  </a:cubicBezTo>
                  <a:cubicBezTo>
                    <a:pt x="476" y="25"/>
                    <a:pt x="476" y="24"/>
                    <a:pt x="475" y="23"/>
                  </a:cubicBezTo>
                  <a:cubicBezTo>
                    <a:pt x="475" y="22"/>
                    <a:pt x="475" y="22"/>
                    <a:pt x="475" y="22"/>
                  </a:cubicBezTo>
                  <a:cubicBezTo>
                    <a:pt x="475" y="21"/>
                    <a:pt x="474" y="21"/>
                    <a:pt x="475" y="20"/>
                  </a:cubicBezTo>
                  <a:cubicBezTo>
                    <a:pt x="475" y="20"/>
                    <a:pt x="475" y="19"/>
                    <a:pt x="476" y="19"/>
                  </a:cubicBezTo>
                  <a:cubicBezTo>
                    <a:pt x="476" y="19"/>
                    <a:pt x="477" y="19"/>
                    <a:pt x="477" y="18"/>
                  </a:cubicBezTo>
                  <a:cubicBezTo>
                    <a:pt x="477" y="18"/>
                    <a:pt x="477" y="17"/>
                    <a:pt x="478" y="17"/>
                  </a:cubicBezTo>
                  <a:cubicBezTo>
                    <a:pt x="478" y="17"/>
                    <a:pt x="478" y="16"/>
                    <a:pt x="478" y="16"/>
                  </a:cubicBezTo>
                  <a:cubicBezTo>
                    <a:pt x="479" y="15"/>
                    <a:pt x="480" y="14"/>
                    <a:pt x="481" y="13"/>
                  </a:cubicBezTo>
                  <a:cubicBezTo>
                    <a:pt x="482" y="13"/>
                    <a:pt x="483" y="12"/>
                    <a:pt x="483" y="11"/>
                  </a:cubicBezTo>
                  <a:cubicBezTo>
                    <a:pt x="484" y="11"/>
                    <a:pt x="484" y="11"/>
                    <a:pt x="484" y="10"/>
                  </a:cubicBezTo>
                  <a:cubicBezTo>
                    <a:pt x="485" y="7"/>
                    <a:pt x="485" y="7"/>
                    <a:pt x="485" y="7"/>
                  </a:cubicBezTo>
                  <a:cubicBezTo>
                    <a:pt x="482" y="7"/>
                    <a:pt x="482" y="7"/>
                    <a:pt x="482" y="7"/>
                  </a:cubicBezTo>
                  <a:cubicBezTo>
                    <a:pt x="481" y="7"/>
                    <a:pt x="480" y="7"/>
                    <a:pt x="480" y="7"/>
                  </a:cubicBezTo>
                  <a:cubicBezTo>
                    <a:pt x="479" y="6"/>
                    <a:pt x="478" y="6"/>
                    <a:pt x="477" y="6"/>
                  </a:cubicBezTo>
                  <a:cubicBezTo>
                    <a:pt x="477" y="6"/>
                    <a:pt x="476" y="6"/>
                    <a:pt x="476" y="6"/>
                  </a:cubicBezTo>
                  <a:cubicBezTo>
                    <a:pt x="475" y="5"/>
                    <a:pt x="474" y="5"/>
                    <a:pt x="473" y="5"/>
                  </a:cubicBezTo>
                  <a:cubicBezTo>
                    <a:pt x="472" y="5"/>
                    <a:pt x="472" y="5"/>
                    <a:pt x="471" y="5"/>
                  </a:cubicBezTo>
                  <a:cubicBezTo>
                    <a:pt x="470" y="5"/>
                    <a:pt x="470" y="5"/>
                    <a:pt x="470" y="5"/>
                  </a:cubicBezTo>
                  <a:cubicBezTo>
                    <a:pt x="469" y="6"/>
                    <a:pt x="467" y="7"/>
                    <a:pt x="466" y="8"/>
                  </a:cubicBezTo>
                  <a:cubicBezTo>
                    <a:pt x="466" y="8"/>
                    <a:pt x="466" y="8"/>
                    <a:pt x="466" y="8"/>
                  </a:cubicBezTo>
                  <a:cubicBezTo>
                    <a:pt x="465" y="8"/>
                    <a:pt x="465" y="8"/>
                    <a:pt x="464" y="8"/>
                  </a:cubicBezTo>
                  <a:cubicBezTo>
                    <a:pt x="463" y="8"/>
                    <a:pt x="463" y="8"/>
                    <a:pt x="463" y="7"/>
                  </a:cubicBezTo>
                  <a:cubicBezTo>
                    <a:pt x="463" y="7"/>
                    <a:pt x="463" y="7"/>
                    <a:pt x="463" y="7"/>
                  </a:cubicBezTo>
                  <a:cubicBezTo>
                    <a:pt x="463" y="6"/>
                    <a:pt x="462" y="5"/>
                    <a:pt x="460" y="4"/>
                  </a:cubicBezTo>
                  <a:cubicBezTo>
                    <a:pt x="460" y="4"/>
                    <a:pt x="459" y="4"/>
                    <a:pt x="459" y="4"/>
                  </a:cubicBezTo>
                  <a:cubicBezTo>
                    <a:pt x="458" y="4"/>
                    <a:pt x="458" y="4"/>
                    <a:pt x="458" y="4"/>
                  </a:cubicBezTo>
                  <a:cubicBezTo>
                    <a:pt x="457" y="3"/>
                    <a:pt x="457" y="3"/>
                    <a:pt x="456" y="3"/>
                  </a:cubicBezTo>
                  <a:cubicBezTo>
                    <a:pt x="455" y="2"/>
                    <a:pt x="455" y="1"/>
                    <a:pt x="453" y="1"/>
                  </a:cubicBezTo>
                  <a:cubicBezTo>
                    <a:pt x="452" y="1"/>
                    <a:pt x="451" y="0"/>
                    <a:pt x="450" y="0"/>
                  </a:cubicBezTo>
                  <a:cubicBezTo>
                    <a:pt x="448" y="0"/>
                    <a:pt x="447" y="1"/>
                    <a:pt x="446" y="1"/>
                  </a:cubicBezTo>
                  <a:cubicBezTo>
                    <a:pt x="445" y="2"/>
                    <a:pt x="445" y="3"/>
                    <a:pt x="444" y="4"/>
                  </a:cubicBezTo>
                  <a:cubicBezTo>
                    <a:pt x="444" y="5"/>
                    <a:pt x="444" y="5"/>
                    <a:pt x="444" y="5"/>
                  </a:cubicBezTo>
                  <a:cubicBezTo>
                    <a:pt x="443" y="6"/>
                    <a:pt x="441" y="7"/>
                    <a:pt x="439" y="7"/>
                  </a:cubicBezTo>
                  <a:cubicBezTo>
                    <a:pt x="439" y="7"/>
                    <a:pt x="438" y="6"/>
                    <a:pt x="438" y="6"/>
                  </a:cubicBezTo>
                  <a:cubicBezTo>
                    <a:pt x="438" y="6"/>
                    <a:pt x="438" y="6"/>
                    <a:pt x="437" y="5"/>
                  </a:cubicBezTo>
                  <a:cubicBezTo>
                    <a:pt x="436" y="5"/>
                    <a:pt x="435" y="5"/>
                    <a:pt x="435" y="5"/>
                  </a:cubicBezTo>
                  <a:cubicBezTo>
                    <a:pt x="435" y="5"/>
                    <a:pt x="435" y="5"/>
                    <a:pt x="435" y="5"/>
                  </a:cubicBezTo>
                  <a:cubicBezTo>
                    <a:pt x="434" y="7"/>
                    <a:pt x="434" y="7"/>
                    <a:pt x="434" y="7"/>
                  </a:cubicBezTo>
                  <a:cubicBezTo>
                    <a:pt x="434" y="7"/>
                    <a:pt x="434" y="7"/>
                    <a:pt x="434" y="7"/>
                  </a:cubicBezTo>
                  <a:cubicBezTo>
                    <a:pt x="434" y="5"/>
                    <a:pt x="434" y="5"/>
                    <a:pt x="434" y="5"/>
                  </a:cubicBezTo>
                  <a:cubicBezTo>
                    <a:pt x="434" y="5"/>
                    <a:pt x="433" y="5"/>
                    <a:pt x="433" y="4"/>
                  </a:cubicBezTo>
                  <a:cubicBezTo>
                    <a:pt x="432" y="4"/>
                    <a:pt x="432" y="4"/>
                    <a:pt x="431" y="4"/>
                  </a:cubicBezTo>
                  <a:cubicBezTo>
                    <a:pt x="430" y="3"/>
                    <a:pt x="430" y="3"/>
                    <a:pt x="429" y="2"/>
                  </a:cubicBezTo>
                  <a:cubicBezTo>
                    <a:pt x="428" y="1"/>
                    <a:pt x="426" y="0"/>
                    <a:pt x="424" y="0"/>
                  </a:cubicBezTo>
                  <a:cubicBezTo>
                    <a:pt x="421" y="0"/>
                    <a:pt x="419" y="3"/>
                    <a:pt x="418" y="5"/>
                  </a:cubicBezTo>
                  <a:cubicBezTo>
                    <a:pt x="417" y="6"/>
                    <a:pt x="417" y="7"/>
                    <a:pt x="417" y="7"/>
                  </a:cubicBezTo>
                  <a:cubicBezTo>
                    <a:pt x="416" y="8"/>
                    <a:pt x="414" y="8"/>
                    <a:pt x="412" y="8"/>
                  </a:cubicBezTo>
                  <a:cubicBezTo>
                    <a:pt x="411" y="8"/>
                    <a:pt x="411" y="9"/>
                    <a:pt x="410" y="9"/>
                  </a:cubicBezTo>
                  <a:cubicBezTo>
                    <a:pt x="407" y="9"/>
                    <a:pt x="404" y="10"/>
                    <a:pt x="401" y="11"/>
                  </a:cubicBezTo>
                  <a:cubicBezTo>
                    <a:pt x="401" y="12"/>
                    <a:pt x="400" y="12"/>
                    <a:pt x="400" y="12"/>
                  </a:cubicBezTo>
                  <a:cubicBezTo>
                    <a:pt x="399" y="12"/>
                    <a:pt x="398" y="12"/>
                    <a:pt x="397" y="13"/>
                  </a:cubicBezTo>
                  <a:cubicBezTo>
                    <a:pt x="397" y="13"/>
                    <a:pt x="397" y="14"/>
                    <a:pt x="396" y="14"/>
                  </a:cubicBezTo>
                  <a:cubicBezTo>
                    <a:pt x="396" y="14"/>
                    <a:pt x="396" y="14"/>
                    <a:pt x="395" y="14"/>
                  </a:cubicBezTo>
                  <a:cubicBezTo>
                    <a:pt x="395" y="14"/>
                    <a:pt x="394" y="14"/>
                    <a:pt x="394" y="14"/>
                  </a:cubicBezTo>
                  <a:cubicBezTo>
                    <a:pt x="393" y="14"/>
                    <a:pt x="392" y="14"/>
                    <a:pt x="392" y="14"/>
                  </a:cubicBezTo>
                  <a:cubicBezTo>
                    <a:pt x="392" y="14"/>
                    <a:pt x="391" y="13"/>
                    <a:pt x="391" y="13"/>
                  </a:cubicBezTo>
                  <a:cubicBezTo>
                    <a:pt x="391" y="12"/>
                    <a:pt x="390" y="11"/>
                    <a:pt x="389" y="11"/>
                  </a:cubicBezTo>
                  <a:cubicBezTo>
                    <a:pt x="388" y="10"/>
                    <a:pt x="388" y="10"/>
                    <a:pt x="387" y="10"/>
                  </a:cubicBezTo>
                  <a:cubicBezTo>
                    <a:pt x="386" y="9"/>
                    <a:pt x="384" y="7"/>
                    <a:pt x="381" y="7"/>
                  </a:cubicBezTo>
                  <a:cubicBezTo>
                    <a:pt x="379" y="7"/>
                    <a:pt x="376" y="7"/>
                    <a:pt x="374" y="7"/>
                  </a:cubicBezTo>
                  <a:cubicBezTo>
                    <a:pt x="372" y="7"/>
                    <a:pt x="372" y="7"/>
                    <a:pt x="372" y="7"/>
                  </a:cubicBezTo>
                  <a:cubicBezTo>
                    <a:pt x="371" y="7"/>
                    <a:pt x="369" y="7"/>
                    <a:pt x="367" y="7"/>
                  </a:cubicBezTo>
                  <a:cubicBezTo>
                    <a:pt x="366" y="7"/>
                    <a:pt x="365" y="7"/>
                    <a:pt x="363" y="7"/>
                  </a:cubicBezTo>
                  <a:cubicBezTo>
                    <a:pt x="363" y="7"/>
                    <a:pt x="362" y="7"/>
                    <a:pt x="362" y="7"/>
                  </a:cubicBezTo>
                  <a:cubicBezTo>
                    <a:pt x="361" y="7"/>
                    <a:pt x="361" y="7"/>
                    <a:pt x="360" y="7"/>
                  </a:cubicBezTo>
                  <a:cubicBezTo>
                    <a:pt x="360" y="7"/>
                    <a:pt x="360" y="7"/>
                    <a:pt x="359" y="7"/>
                  </a:cubicBezTo>
                  <a:cubicBezTo>
                    <a:pt x="359" y="7"/>
                    <a:pt x="359" y="7"/>
                    <a:pt x="358" y="7"/>
                  </a:cubicBezTo>
                  <a:cubicBezTo>
                    <a:pt x="357" y="6"/>
                    <a:pt x="356" y="6"/>
                    <a:pt x="355" y="6"/>
                  </a:cubicBezTo>
                  <a:cubicBezTo>
                    <a:pt x="355" y="6"/>
                    <a:pt x="355" y="6"/>
                    <a:pt x="355" y="6"/>
                  </a:cubicBezTo>
                  <a:cubicBezTo>
                    <a:pt x="352" y="6"/>
                    <a:pt x="349" y="8"/>
                    <a:pt x="346" y="10"/>
                  </a:cubicBezTo>
                  <a:cubicBezTo>
                    <a:pt x="345" y="11"/>
                    <a:pt x="344" y="11"/>
                    <a:pt x="343" y="11"/>
                  </a:cubicBezTo>
                  <a:cubicBezTo>
                    <a:pt x="343" y="11"/>
                    <a:pt x="343" y="11"/>
                    <a:pt x="343" y="11"/>
                  </a:cubicBezTo>
                  <a:cubicBezTo>
                    <a:pt x="343" y="11"/>
                    <a:pt x="343" y="11"/>
                    <a:pt x="342" y="10"/>
                  </a:cubicBezTo>
                  <a:cubicBezTo>
                    <a:pt x="342" y="10"/>
                    <a:pt x="341" y="9"/>
                    <a:pt x="340" y="9"/>
                  </a:cubicBezTo>
                  <a:cubicBezTo>
                    <a:pt x="338" y="9"/>
                    <a:pt x="336" y="8"/>
                    <a:pt x="335" y="8"/>
                  </a:cubicBezTo>
                  <a:cubicBezTo>
                    <a:pt x="330" y="8"/>
                    <a:pt x="327" y="10"/>
                    <a:pt x="323" y="13"/>
                  </a:cubicBezTo>
                  <a:cubicBezTo>
                    <a:pt x="322" y="13"/>
                    <a:pt x="322" y="14"/>
                    <a:pt x="322" y="14"/>
                  </a:cubicBezTo>
                  <a:cubicBezTo>
                    <a:pt x="321" y="15"/>
                    <a:pt x="321" y="15"/>
                    <a:pt x="320" y="15"/>
                  </a:cubicBezTo>
                  <a:cubicBezTo>
                    <a:pt x="320" y="15"/>
                    <a:pt x="320" y="16"/>
                    <a:pt x="319" y="16"/>
                  </a:cubicBezTo>
                  <a:cubicBezTo>
                    <a:pt x="319" y="16"/>
                    <a:pt x="318" y="16"/>
                    <a:pt x="318" y="15"/>
                  </a:cubicBezTo>
                  <a:cubicBezTo>
                    <a:pt x="317" y="15"/>
                    <a:pt x="317" y="15"/>
                    <a:pt x="317" y="15"/>
                  </a:cubicBezTo>
                  <a:cubicBezTo>
                    <a:pt x="316" y="15"/>
                    <a:pt x="314" y="15"/>
                    <a:pt x="313" y="15"/>
                  </a:cubicBezTo>
                  <a:cubicBezTo>
                    <a:pt x="311" y="15"/>
                    <a:pt x="309" y="15"/>
                    <a:pt x="308" y="16"/>
                  </a:cubicBezTo>
                  <a:cubicBezTo>
                    <a:pt x="304" y="16"/>
                    <a:pt x="300" y="16"/>
                    <a:pt x="297" y="16"/>
                  </a:cubicBezTo>
                  <a:cubicBezTo>
                    <a:pt x="295" y="17"/>
                    <a:pt x="293" y="17"/>
                    <a:pt x="292" y="17"/>
                  </a:cubicBezTo>
                  <a:cubicBezTo>
                    <a:pt x="290" y="17"/>
                    <a:pt x="289" y="17"/>
                    <a:pt x="288" y="17"/>
                  </a:cubicBezTo>
                  <a:cubicBezTo>
                    <a:pt x="284" y="18"/>
                    <a:pt x="281" y="19"/>
                    <a:pt x="279" y="20"/>
                  </a:cubicBezTo>
                  <a:cubicBezTo>
                    <a:pt x="277" y="20"/>
                    <a:pt x="276" y="21"/>
                    <a:pt x="275" y="21"/>
                  </a:cubicBezTo>
                  <a:cubicBezTo>
                    <a:pt x="274" y="21"/>
                    <a:pt x="272" y="22"/>
                    <a:pt x="271" y="23"/>
                  </a:cubicBezTo>
                  <a:cubicBezTo>
                    <a:pt x="269" y="23"/>
                    <a:pt x="267" y="24"/>
                    <a:pt x="265" y="25"/>
                  </a:cubicBezTo>
                  <a:cubicBezTo>
                    <a:pt x="264" y="26"/>
                    <a:pt x="263" y="27"/>
                    <a:pt x="262" y="28"/>
                  </a:cubicBezTo>
                  <a:cubicBezTo>
                    <a:pt x="259" y="29"/>
                    <a:pt x="256" y="31"/>
                    <a:pt x="254" y="33"/>
                  </a:cubicBezTo>
                  <a:cubicBezTo>
                    <a:pt x="252" y="34"/>
                    <a:pt x="251" y="36"/>
                    <a:pt x="250" y="37"/>
                  </a:cubicBezTo>
                  <a:cubicBezTo>
                    <a:pt x="248" y="40"/>
                    <a:pt x="247" y="41"/>
                    <a:pt x="245" y="41"/>
                  </a:cubicBezTo>
                  <a:cubicBezTo>
                    <a:pt x="244" y="41"/>
                    <a:pt x="244" y="41"/>
                    <a:pt x="243" y="41"/>
                  </a:cubicBezTo>
                  <a:cubicBezTo>
                    <a:pt x="243" y="41"/>
                    <a:pt x="242" y="41"/>
                    <a:pt x="242" y="40"/>
                  </a:cubicBezTo>
                  <a:cubicBezTo>
                    <a:pt x="240" y="40"/>
                    <a:pt x="239" y="39"/>
                    <a:pt x="238" y="39"/>
                  </a:cubicBezTo>
                  <a:cubicBezTo>
                    <a:pt x="237" y="39"/>
                    <a:pt x="236" y="39"/>
                    <a:pt x="235" y="40"/>
                  </a:cubicBezTo>
                  <a:cubicBezTo>
                    <a:pt x="234" y="40"/>
                    <a:pt x="233" y="41"/>
                    <a:pt x="233" y="42"/>
                  </a:cubicBezTo>
                  <a:cubicBezTo>
                    <a:pt x="232" y="42"/>
                    <a:pt x="231" y="43"/>
                    <a:pt x="230" y="43"/>
                  </a:cubicBezTo>
                  <a:cubicBezTo>
                    <a:pt x="228" y="43"/>
                    <a:pt x="228" y="43"/>
                    <a:pt x="228" y="43"/>
                  </a:cubicBezTo>
                  <a:cubicBezTo>
                    <a:pt x="226" y="43"/>
                    <a:pt x="223" y="44"/>
                    <a:pt x="220" y="45"/>
                  </a:cubicBezTo>
                  <a:cubicBezTo>
                    <a:pt x="218" y="47"/>
                    <a:pt x="216" y="50"/>
                    <a:pt x="214" y="53"/>
                  </a:cubicBezTo>
                  <a:cubicBezTo>
                    <a:pt x="213" y="55"/>
                    <a:pt x="211" y="57"/>
                    <a:pt x="209" y="58"/>
                  </a:cubicBezTo>
                  <a:cubicBezTo>
                    <a:pt x="208" y="58"/>
                    <a:pt x="207" y="58"/>
                    <a:pt x="206" y="59"/>
                  </a:cubicBezTo>
                  <a:cubicBezTo>
                    <a:pt x="205" y="59"/>
                    <a:pt x="203" y="60"/>
                    <a:pt x="202" y="61"/>
                  </a:cubicBezTo>
                  <a:cubicBezTo>
                    <a:pt x="198" y="64"/>
                    <a:pt x="194" y="66"/>
                    <a:pt x="191" y="66"/>
                  </a:cubicBezTo>
                  <a:cubicBezTo>
                    <a:pt x="189" y="66"/>
                    <a:pt x="189" y="66"/>
                    <a:pt x="189" y="66"/>
                  </a:cubicBezTo>
                  <a:cubicBezTo>
                    <a:pt x="189" y="68"/>
                    <a:pt x="189" y="68"/>
                    <a:pt x="189" y="68"/>
                  </a:cubicBezTo>
                  <a:cubicBezTo>
                    <a:pt x="190" y="70"/>
                    <a:pt x="190" y="71"/>
                    <a:pt x="192" y="73"/>
                  </a:cubicBezTo>
                  <a:cubicBezTo>
                    <a:pt x="194" y="75"/>
                    <a:pt x="197" y="77"/>
                    <a:pt x="200" y="78"/>
                  </a:cubicBezTo>
                  <a:cubicBezTo>
                    <a:pt x="200" y="79"/>
                    <a:pt x="200" y="80"/>
                    <a:pt x="199" y="81"/>
                  </a:cubicBezTo>
                  <a:cubicBezTo>
                    <a:pt x="199" y="82"/>
                    <a:pt x="199" y="82"/>
                    <a:pt x="199" y="83"/>
                  </a:cubicBezTo>
                  <a:cubicBezTo>
                    <a:pt x="198" y="84"/>
                    <a:pt x="198" y="84"/>
                    <a:pt x="198" y="84"/>
                  </a:cubicBezTo>
                  <a:cubicBezTo>
                    <a:pt x="198" y="84"/>
                    <a:pt x="198" y="85"/>
                    <a:pt x="198" y="85"/>
                  </a:cubicBezTo>
                  <a:cubicBezTo>
                    <a:pt x="198" y="86"/>
                    <a:pt x="198" y="86"/>
                    <a:pt x="198" y="86"/>
                  </a:cubicBezTo>
                  <a:cubicBezTo>
                    <a:pt x="200" y="85"/>
                    <a:pt x="200" y="85"/>
                    <a:pt x="200" y="85"/>
                  </a:cubicBezTo>
                  <a:cubicBezTo>
                    <a:pt x="199" y="86"/>
                    <a:pt x="199" y="86"/>
                    <a:pt x="199" y="86"/>
                  </a:cubicBezTo>
                  <a:cubicBezTo>
                    <a:pt x="199" y="87"/>
                    <a:pt x="199" y="87"/>
                    <a:pt x="199" y="87"/>
                  </a:cubicBezTo>
                  <a:cubicBezTo>
                    <a:pt x="200" y="90"/>
                    <a:pt x="200" y="92"/>
                    <a:pt x="200" y="96"/>
                  </a:cubicBezTo>
                  <a:cubicBezTo>
                    <a:pt x="200" y="97"/>
                    <a:pt x="200" y="99"/>
                    <a:pt x="200" y="100"/>
                  </a:cubicBezTo>
                  <a:cubicBezTo>
                    <a:pt x="201" y="103"/>
                    <a:pt x="201" y="105"/>
                    <a:pt x="201" y="107"/>
                  </a:cubicBezTo>
                  <a:cubicBezTo>
                    <a:pt x="201" y="108"/>
                    <a:pt x="201" y="108"/>
                    <a:pt x="201" y="109"/>
                  </a:cubicBezTo>
                  <a:cubicBezTo>
                    <a:pt x="201" y="110"/>
                    <a:pt x="201" y="111"/>
                    <a:pt x="201" y="112"/>
                  </a:cubicBezTo>
                  <a:cubicBezTo>
                    <a:pt x="201" y="113"/>
                    <a:pt x="201" y="114"/>
                    <a:pt x="202" y="115"/>
                  </a:cubicBezTo>
                  <a:cubicBezTo>
                    <a:pt x="202" y="116"/>
                    <a:pt x="203" y="116"/>
                    <a:pt x="203" y="117"/>
                  </a:cubicBezTo>
                  <a:cubicBezTo>
                    <a:pt x="203" y="119"/>
                    <a:pt x="202" y="120"/>
                    <a:pt x="202" y="122"/>
                  </a:cubicBezTo>
                  <a:cubicBezTo>
                    <a:pt x="201" y="123"/>
                    <a:pt x="200" y="125"/>
                    <a:pt x="200" y="126"/>
                  </a:cubicBezTo>
                  <a:cubicBezTo>
                    <a:pt x="200" y="129"/>
                    <a:pt x="201" y="130"/>
                    <a:pt x="203" y="131"/>
                  </a:cubicBezTo>
                  <a:cubicBezTo>
                    <a:pt x="203" y="132"/>
                    <a:pt x="204" y="133"/>
                    <a:pt x="205" y="134"/>
                  </a:cubicBezTo>
                  <a:cubicBezTo>
                    <a:pt x="205" y="135"/>
                    <a:pt x="205" y="137"/>
                    <a:pt x="205" y="139"/>
                  </a:cubicBezTo>
                  <a:cubicBezTo>
                    <a:pt x="205" y="141"/>
                    <a:pt x="205" y="143"/>
                    <a:pt x="206" y="144"/>
                  </a:cubicBezTo>
                  <a:cubicBezTo>
                    <a:pt x="207" y="145"/>
                    <a:pt x="208" y="146"/>
                    <a:pt x="209" y="146"/>
                  </a:cubicBezTo>
                  <a:cubicBezTo>
                    <a:pt x="211" y="147"/>
                    <a:pt x="212" y="148"/>
                    <a:pt x="213" y="149"/>
                  </a:cubicBezTo>
                  <a:cubicBezTo>
                    <a:pt x="216" y="152"/>
                    <a:pt x="216" y="153"/>
                    <a:pt x="214" y="156"/>
                  </a:cubicBezTo>
                  <a:cubicBezTo>
                    <a:pt x="214" y="157"/>
                    <a:pt x="213" y="157"/>
                    <a:pt x="213" y="157"/>
                  </a:cubicBezTo>
                  <a:cubicBezTo>
                    <a:pt x="212" y="158"/>
                    <a:pt x="212" y="158"/>
                    <a:pt x="211" y="160"/>
                  </a:cubicBezTo>
                  <a:cubicBezTo>
                    <a:pt x="211" y="161"/>
                    <a:pt x="211" y="162"/>
                    <a:pt x="211" y="164"/>
                  </a:cubicBezTo>
                  <a:cubicBezTo>
                    <a:pt x="211" y="165"/>
                    <a:pt x="211" y="165"/>
                    <a:pt x="211" y="166"/>
                  </a:cubicBezTo>
                  <a:cubicBezTo>
                    <a:pt x="211" y="166"/>
                    <a:pt x="211" y="166"/>
                    <a:pt x="209" y="166"/>
                  </a:cubicBezTo>
                  <a:cubicBezTo>
                    <a:pt x="205" y="166"/>
                    <a:pt x="200" y="166"/>
                    <a:pt x="199" y="165"/>
                  </a:cubicBezTo>
                  <a:cubicBezTo>
                    <a:pt x="197" y="165"/>
                    <a:pt x="195" y="165"/>
                    <a:pt x="192" y="165"/>
                  </a:cubicBezTo>
                  <a:cubicBezTo>
                    <a:pt x="190" y="165"/>
                    <a:pt x="188" y="165"/>
                    <a:pt x="186" y="165"/>
                  </a:cubicBezTo>
                  <a:cubicBezTo>
                    <a:pt x="183" y="165"/>
                    <a:pt x="183" y="165"/>
                    <a:pt x="183" y="165"/>
                  </a:cubicBezTo>
                  <a:cubicBezTo>
                    <a:pt x="182" y="165"/>
                    <a:pt x="182" y="165"/>
                    <a:pt x="181" y="165"/>
                  </a:cubicBezTo>
                  <a:cubicBezTo>
                    <a:pt x="181" y="165"/>
                    <a:pt x="181" y="165"/>
                    <a:pt x="181" y="165"/>
                  </a:cubicBezTo>
                  <a:cubicBezTo>
                    <a:pt x="179" y="165"/>
                    <a:pt x="177" y="165"/>
                    <a:pt x="175" y="166"/>
                  </a:cubicBezTo>
                  <a:cubicBezTo>
                    <a:pt x="173" y="167"/>
                    <a:pt x="170" y="167"/>
                    <a:pt x="168" y="167"/>
                  </a:cubicBezTo>
                  <a:cubicBezTo>
                    <a:pt x="165" y="168"/>
                    <a:pt x="164" y="169"/>
                    <a:pt x="164" y="172"/>
                  </a:cubicBezTo>
                  <a:cubicBezTo>
                    <a:pt x="164" y="172"/>
                    <a:pt x="164" y="173"/>
                    <a:pt x="165" y="174"/>
                  </a:cubicBezTo>
                  <a:cubicBezTo>
                    <a:pt x="164" y="174"/>
                    <a:pt x="162" y="175"/>
                    <a:pt x="162" y="175"/>
                  </a:cubicBezTo>
                  <a:cubicBezTo>
                    <a:pt x="161" y="176"/>
                    <a:pt x="160" y="177"/>
                    <a:pt x="158" y="177"/>
                  </a:cubicBezTo>
                  <a:cubicBezTo>
                    <a:pt x="157" y="178"/>
                    <a:pt x="156" y="178"/>
                    <a:pt x="155" y="178"/>
                  </a:cubicBezTo>
                  <a:cubicBezTo>
                    <a:pt x="154" y="178"/>
                    <a:pt x="153" y="178"/>
                    <a:pt x="152" y="179"/>
                  </a:cubicBezTo>
                  <a:cubicBezTo>
                    <a:pt x="151" y="179"/>
                    <a:pt x="150" y="179"/>
                    <a:pt x="149" y="179"/>
                  </a:cubicBezTo>
                  <a:cubicBezTo>
                    <a:pt x="148" y="179"/>
                    <a:pt x="147" y="179"/>
                    <a:pt x="147" y="179"/>
                  </a:cubicBezTo>
                  <a:cubicBezTo>
                    <a:pt x="146" y="179"/>
                    <a:pt x="145" y="178"/>
                    <a:pt x="145" y="178"/>
                  </a:cubicBezTo>
                  <a:cubicBezTo>
                    <a:pt x="144" y="178"/>
                    <a:pt x="143" y="178"/>
                    <a:pt x="143" y="178"/>
                  </a:cubicBezTo>
                  <a:cubicBezTo>
                    <a:pt x="141" y="178"/>
                    <a:pt x="139" y="179"/>
                    <a:pt x="138" y="181"/>
                  </a:cubicBezTo>
                  <a:cubicBezTo>
                    <a:pt x="137" y="183"/>
                    <a:pt x="138" y="184"/>
                    <a:pt x="139" y="185"/>
                  </a:cubicBezTo>
                  <a:cubicBezTo>
                    <a:pt x="139" y="186"/>
                    <a:pt x="140" y="187"/>
                    <a:pt x="140" y="187"/>
                  </a:cubicBezTo>
                  <a:cubicBezTo>
                    <a:pt x="140" y="189"/>
                    <a:pt x="140" y="190"/>
                    <a:pt x="139" y="191"/>
                  </a:cubicBezTo>
                  <a:cubicBezTo>
                    <a:pt x="139" y="192"/>
                    <a:pt x="138" y="194"/>
                    <a:pt x="139" y="195"/>
                  </a:cubicBezTo>
                  <a:cubicBezTo>
                    <a:pt x="140" y="196"/>
                    <a:pt x="141" y="197"/>
                    <a:pt x="142" y="197"/>
                  </a:cubicBezTo>
                  <a:cubicBezTo>
                    <a:pt x="143" y="198"/>
                    <a:pt x="144" y="198"/>
                    <a:pt x="144" y="200"/>
                  </a:cubicBezTo>
                  <a:cubicBezTo>
                    <a:pt x="145" y="202"/>
                    <a:pt x="143" y="203"/>
                    <a:pt x="141" y="203"/>
                  </a:cubicBezTo>
                  <a:cubicBezTo>
                    <a:pt x="141" y="203"/>
                    <a:pt x="140" y="204"/>
                    <a:pt x="140" y="204"/>
                  </a:cubicBezTo>
                  <a:cubicBezTo>
                    <a:pt x="138" y="204"/>
                    <a:pt x="138" y="204"/>
                    <a:pt x="138" y="204"/>
                  </a:cubicBezTo>
                  <a:cubicBezTo>
                    <a:pt x="136" y="205"/>
                    <a:pt x="133" y="205"/>
                    <a:pt x="132" y="206"/>
                  </a:cubicBezTo>
                  <a:cubicBezTo>
                    <a:pt x="131" y="207"/>
                    <a:pt x="130" y="208"/>
                    <a:pt x="129" y="209"/>
                  </a:cubicBezTo>
                  <a:cubicBezTo>
                    <a:pt x="129" y="210"/>
                    <a:pt x="128" y="211"/>
                    <a:pt x="126" y="211"/>
                  </a:cubicBezTo>
                  <a:cubicBezTo>
                    <a:pt x="125" y="212"/>
                    <a:pt x="123" y="213"/>
                    <a:pt x="122" y="214"/>
                  </a:cubicBezTo>
                  <a:cubicBezTo>
                    <a:pt x="120" y="214"/>
                    <a:pt x="120" y="214"/>
                    <a:pt x="120" y="214"/>
                  </a:cubicBezTo>
                  <a:cubicBezTo>
                    <a:pt x="119" y="215"/>
                    <a:pt x="118" y="215"/>
                    <a:pt x="117" y="215"/>
                  </a:cubicBezTo>
                  <a:cubicBezTo>
                    <a:pt x="116" y="216"/>
                    <a:pt x="115" y="216"/>
                    <a:pt x="114" y="216"/>
                  </a:cubicBezTo>
                  <a:cubicBezTo>
                    <a:pt x="114" y="216"/>
                    <a:pt x="113" y="216"/>
                    <a:pt x="112" y="217"/>
                  </a:cubicBezTo>
                  <a:cubicBezTo>
                    <a:pt x="111" y="217"/>
                    <a:pt x="109" y="217"/>
                    <a:pt x="108" y="218"/>
                  </a:cubicBezTo>
                  <a:cubicBezTo>
                    <a:pt x="107" y="219"/>
                    <a:pt x="104" y="223"/>
                    <a:pt x="103" y="224"/>
                  </a:cubicBezTo>
                  <a:cubicBezTo>
                    <a:pt x="101" y="229"/>
                    <a:pt x="98" y="232"/>
                    <a:pt x="94" y="236"/>
                  </a:cubicBezTo>
                  <a:cubicBezTo>
                    <a:pt x="91" y="239"/>
                    <a:pt x="87" y="239"/>
                    <a:pt x="83" y="239"/>
                  </a:cubicBezTo>
                  <a:cubicBezTo>
                    <a:pt x="82" y="240"/>
                    <a:pt x="82" y="240"/>
                    <a:pt x="81" y="240"/>
                  </a:cubicBezTo>
                  <a:cubicBezTo>
                    <a:pt x="80" y="240"/>
                    <a:pt x="79" y="240"/>
                    <a:pt x="78" y="240"/>
                  </a:cubicBezTo>
                  <a:cubicBezTo>
                    <a:pt x="77" y="240"/>
                    <a:pt x="75" y="240"/>
                    <a:pt x="74" y="240"/>
                  </a:cubicBezTo>
                  <a:cubicBezTo>
                    <a:pt x="72" y="240"/>
                    <a:pt x="70" y="239"/>
                    <a:pt x="69" y="239"/>
                  </a:cubicBezTo>
                  <a:cubicBezTo>
                    <a:pt x="68" y="239"/>
                    <a:pt x="67" y="239"/>
                    <a:pt x="66" y="240"/>
                  </a:cubicBezTo>
                  <a:cubicBezTo>
                    <a:pt x="64" y="240"/>
                    <a:pt x="64" y="240"/>
                    <a:pt x="64" y="240"/>
                  </a:cubicBezTo>
                  <a:cubicBezTo>
                    <a:pt x="64" y="242"/>
                    <a:pt x="64" y="242"/>
                    <a:pt x="64" y="242"/>
                  </a:cubicBezTo>
                  <a:cubicBezTo>
                    <a:pt x="64" y="245"/>
                    <a:pt x="63" y="246"/>
                    <a:pt x="62" y="247"/>
                  </a:cubicBezTo>
                  <a:cubicBezTo>
                    <a:pt x="61" y="247"/>
                    <a:pt x="59" y="247"/>
                    <a:pt x="58" y="247"/>
                  </a:cubicBezTo>
                  <a:cubicBezTo>
                    <a:pt x="55" y="247"/>
                    <a:pt x="55" y="247"/>
                    <a:pt x="55" y="247"/>
                  </a:cubicBezTo>
                  <a:cubicBezTo>
                    <a:pt x="55" y="247"/>
                    <a:pt x="54" y="247"/>
                    <a:pt x="54" y="247"/>
                  </a:cubicBezTo>
                  <a:cubicBezTo>
                    <a:pt x="53" y="247"/>
                    <a:pt x="52" y="247"/>
                    <a:pt x="51" y="247"/>
                  </a:cubicBezTo>
                  <a:cubicBezTo>
                    <a:pt x="50" y="247"/>
                    <a:pt x="46" y="247"/>
                    <a:pt x="46" y="247"/>
                  </a:cubicBezTo>
                  <a:cubicBezTo>
                    <a:pt x="43" y="247"/>
                    <a:pt x="41" y="248"/>
                    <a:pt x="39" y="251"/>
                  </a:cubicBezTo>
                  <a:cubicBezTo>
                    <a:pt x="39" y="251"/>
                    <a:pt x="39" y="252"/>
                    <a:pt x="39" y="252"/>
                  </a:cubicBezTo>
                  <a:cubicBezTo>
                    <a:pt x="38" y="254"/>
                    <a:pt x="37" y="255"/>
                    <a:pt x="35" y="256"/>
                  </a:cubicBezTo>
                  <a:cubicBezTo>
                    <a:pt x="34" y="256"/>
                    <a:pt x="33" y="256"/>
                    <a:pt x="32" y="256"/>
                  </a:cubicBezTo>
                  <a:cubicBezTo>
                    <a:pt x="30" y="256"/>
                    <a:pt x="29" y="256"/>
                    <a:pt x="27" y="257"/>
                  </a:cubicBezTo>
                  <a:cubicBezTo>
                    <a:pt x="25" y="258"/>
                    <a:pt x="23" y="260"/>
                    <a:pt x="21" y="262"/>
                  </a:cubicBezTo>
                  <a:cubicBezTo>
                    <a:pt x="20" y="263"/>
                    <a:pt x="19" y="264"/>
                    <a:pt x="18" y="265"/>
                  </a:cubicBezTo>
                  <a:cubicBezTo>
                    <a:pt x="17" y="266"/>
                    <a:pt x="16" y="266"/>
                    <a:pt x="15" y="267"/>
                  </a:cubicBezTo>
                  <a:cubicBezTo>
                    <a:pt x="13" y="269"/>
                    <a:pt x="11" y="272"/>
                    <a:pt x="8" y="273"/>
                  </a:cubicBezTo>
                  <a:cubicBezTo>
                    <a:pt x="6" y="274"/>
                    <a:pt x="4" y="275"/>
                    <a:pt x="3" y="276"/>
                  </a:cubicBezTo>
                  <a:cubicBezTo>
                    <a:pt x="1" y="277"/>
                    <a:pt x="1" y="277"/>
                    <a:pt x="1" y="277"/>
                  </a:cubicBezTo>
                  <a:cubicBezTo>
                    <a:pt x="0" y="325"/>
                    <a:pt x="0" y="325"/>
                    <a:pt x="0" y="325"/>
                  </a:cubicBezTo>
                  <a:cubicBezTo>
                    <a:pt x="0" y="325"/>
                    <a:pt x="0" y="325"/>
                    <a:pt x="0" y="325"/>
                  </a:cubicBezTo>
                  <a:cubicBezTo>
                    <a:pt x="2" y="327"/>
                    <a:pt x="4" y="328"/>
                    <a:pt x="5" y="329"/>
                  </a:cubicBezTo>
                  <a:cubicBezTo>
                    <a:pt x="7" y="330"/>
                    <a:pt x="7" y="330"/>
                    <a:pt x="7" y="330"/>
                  </a:cubicBezTo>
                  <a:cubicBezTo>
                    <a:pt x="9" y="332"/>
                    <a:pt x="12" y="334"/>
                    <a:pt x="15" y="336"/>
                  </a:cubicBezTo>
                  <a:cubicBezTo>
                    <a:pt x="16" y="337"/>
                    <a:pt x="16" y="337"/>
                    <a:pt x="16" y="337"/>
                  </a:cubicBezTo>
                  <a:cubicBezTo>
                    <a:pt x="19" y="339"/>
                    <a:pt x="22" y="342"/>
                    <a:pt x="25" y="344"/>
                  </a:cubicBezTo>
                  <a:cubicBezTo>
                    <a:pt x="36" y="352"/>
                    <a:pt x="45" y="359"/>
                    <a:pt x="53" y="365"/>
                  </a:cubicBezTo>
                  <a:cubicBezTo>
                    <a:pt x="63" y="372"/>
                    <a:pt x="74" y="380"/>
                    <a:pt x="88" y="390"/>
                  </a:cubicBezTo>
                  <a:cubicBezTo>
                    <a:pt x="94" y="395"/>
                    <a:pt x="100" y="399"/>
                    <a:pt x="107" y="404"/>
                  </a:cubicBezTo>
                  <a:cubicBezTo>
                    <a:pt x="108" y="405"/>
                    <a:pt x="108" y="405"/>
                    <a:pt x="108" y="405"/>
                  </a:cubicBezTo>
                  <a:cubicBezTo>
                    <a:pt x="114" y="409"/>
                    <a:pt x="120" y="414"/>
                    <a:pt x="126" y="418"/>
                  </a:cubicBezTo>
                  <a:cubicBezTo>
                    <a:pt x="126" y="419"/>
                    <a:pt x="126" y="419"/>
                    <a:pt x="126" y="419"/>
                  </a:cubicBezTo>
                  <a:cubicBezTo>
                    <a:pt x="139" y="428"/>
                    <a:pt x="152" y="438"/>
                    <a:pt x="164" y="447"/>
                  </a:cubicBezTo>
                  <a:cubicBezTo>
                    <a:pt x="178" y="457"/>
                    <a:pt x="190" y="466"/>
                    <a:pt x="201" y="474"/>
                  </a:cubicBezTo>
                  <a:cubicBezTo>
                    <a:pt x="209" y="480"/>
                    <a:pt x="217" y="486"/>
                    <a:pt x="225" y="492"/>
                  </a:cubicBezTo>
                  <a:cubicBezTo>
                    <a:pt x="233" y="498"/>
                    <a:pt x="233" y="498"/>
                    <a:pt x="233" y="498"/>
                  </a:cubicBezTo>
                  <a:cubicBezTo>
                    <a:pt x="235" y="499"/>
                    <a:pt x="236" y="500"/>
                    <a:pt x="239" y="502"/>
                  </a:cubicBezTo>
                  <a:cubicBezTo>
                    <a:pt x="241" y="503"/>
                    <a:pt x="244" y="505"/>
                    <a:pt x="246" y="507"/>
                  </a:cubicBezTo>
                  <a:cubicBezTo>
                    <a:pt x="250" y="511"/>
                    <a:pt x="253" y="513"/>
                    <a:pt x="257" y="515"/>
                  </a:cubicBezTo>
                  <a:cubicBezTo>
                    <a:pt x="259" y="516"/>
                    <a:pt x="260" y="518"/>
                    <a:pt x="261" y="519"/>
                  </a:cubicBezTo>
                  <a:cubicBezTo>
                    <a:pt x="262" y="520"/>
                    <a:pt x="263" y="521"/>
                    <a:pt x="264" y="522"/>
                  </a:cubicBezTo>
                  <a:cubicBezTo>
                    <a:pt x="265" y="522"/>
                    <a:pt x="266" y="523"/>
                    <a:pt x="267" y="523"/>
                  </a:cubicBezTo>
                  <a:cubicBezTo>
                    <a:pt x="269" y="525"/>
                    <a:pt x="271" y="526"/>
                    <a:pt x="272" y="528"/>
                  </a:cubicBezTo>
                  <a:cubicBezTo>
                    <a:pt x="273" y="530"/>
                    <a:pt x="273" y="534"/>
                    <a:pt x="273" y="537"/>
                  </a:cubicBezTo>
                  <a:cubicBezTo>
                    <a:pt x="273" y="538"/>
                    <a:pt x="273" y="539"/>
                    <a:pt x="273" y="539"/>
                  </a:cubicBezTo>
                  <a:cubicBezTo>
                    <a:pt x="273" y="541"/>
                    <a:pt x="273" y="541"/>
                    <a:pt x="273" y="541"/>
                  </a:cubicBezTo>
                  <a:cubicBezTo>
                    <a:pt x="274" y="541"/>
                    <a:pt x="274" y="541"/>
                    <a:pt x="274" y="541"/>
                  </a:cubicBezTo>
                  <a:cubicBezTo>
                    <a:pt x="275" y="541"/>
                    <a:pt x="276" y="542"/>
                    <a:pt x="276" y="542"/>
                  </a:cubicBezTo>
                  <a:cubicBezTo>
                    <a:pt x="277" y="542"/>
                    <a:pt x="277" y="543"/>
                    <a:pt x="278" y="543"/>
                  </a:cubicBezTo>
                  <a:cubicBezTo>
                    <a:pt x="278" y="543"/>
                    <a:pt x="279" y="543"/>
                    <a:pt x="280" y="543"/>
                  </a:cubicBezTo>
                  <a:cubicBezTo>
                    <a:pt x="281" y="544"/>
                    <a:pt x="282" y="544"/>
                    <a:pt x="282" y="544"/>
                  </a:cubicBezTo>
                  <a:cubicBezTo>
                    <a:pt x="283" y="545"/>
                    <a:pt x="284" y="546"/>
                    <a:pt x="286" y="547"/>
                  </a:cubicBezTo>
                  <a:cubicBezTo>
                    <a:pt x="286" y="548"/>
                    <a:pt x="287" y="549"/>
                    <a:pt x="287" y="550"/>
                  </a:cubicBezTo>
                  <a:cubicBezTo>
                    <a:pt x="287" y="551"/>
                    <a:pt x="287" y="552"/>
                    <a:pt x="288" y="553"/>
                  </a:cubicBezTo>
                  <a:cubicBezTo>
                    <a:pt x="288" y="554"/>
                    <a:pt x="289" y="554"/>
                    <a:pt x="291" y="555"/>
                  </a:cubicBezTo>
                  <a:cubicBezTo>
                    <a:pt x="292" y="556"/>
                    <a:pt x="292" y="556"/>
                    <a:pt x="293" y="556"/>
                  </a:cubicBezTo>
                  <a:cubicBezTo>
                    <a:pt x="294" y="557"/>
                    <a:pt x="295" y="557"/>
                    <a:pt x="296" y="557"/>
                  </a:cubicBezTo>
                  <a:cubicBezTo>
                    <a:pt x="296" y="558"/>
                    <a:pt x="296" y="558"/>
                    <a:pt x="296" y="558"/>
                  </a:cubicBezTo>
                  <a:cubicBezTo>
                    <a:pt x="297" y="558"/>
                    <a:pt x="297" y="558"/>
                    <a:pt x="297" y="558"/>
                  </a:cubicBezTo>
                  <a:cubicBezTo>
                    <a:pt x="298" y="558"/>
                    <a:pt x="298" y="557"/>
                    <a:pt x="299" y="557"/>
                  </a:cubicBezTo>
                  <a:cubicBezTo>
                    <a:pt x="300" y="557"/>
                    <a:pt x="301" y="556"/>
                    <a:pt x="302" y="556"/>
                  </a:cubicBezTo>
                  <a:cubicBezTo>
                    <a:pt x="302" y="556"/>
                    <a:pt x="302" y="556"/>
                    <a:pt x="302" y="556"/>
                  </a:cubicBezTo>
                  <a:cubicBezTo>
                    <a:pt x="304" y="556"/>
                    <a:pt x="304" y="557"/>
                    <a:pt x="305" y="558"/>
                  </a:cubicBezTo>
                  <a:cubicBezTo>
                    <a:pt x="305" y="559"/>
                    <a:pt x="305" y="559"/>
                    <a:pt x="305" y="559"/>
                  </a:cubicBezTo>
                  <a:cubicBezTo>
                    <a:pt x="306" y="561"/>
                    <a:pt x="308" y="562"/>
                    <a:pt x="310" y="563"/>
                  </a:cubicBezTo>
                  <a:cubicBezTo>
                    <a:pt x="311" y="564"/>
                    <a:pt x="313" y="564"/>
                    <a:pt x="315" y="564"/>
                  </a:cubicBezTo>
                  <a:cubicBezTo>
                    <a:pt x="316" y="564"/>
                    <a:pt x="317" y="564"/>
                    <a:pt x="318" y="564"/>
                  </a:cubicBezTo>
                  <a:cubicBezTo>
                    <a:pt x="320" y="565"/>
                    <a:pt x="322" y="565"/>
                    <a:pt x="323" y="566"/>
                  </a:cubicBezTo>
                  <a:cubicBezTo>
                    <a:pt x="324" y="567"/>
                    <a:pt x="325" y="567"/>
                    <a:pt x="325" y="567"/>
                  </a:cubicBezTo>
                  <a:cubicBezTo>
                    <a:pt x="329" y="569"/>
                    <a:pt x="329" y="571"/>
                    <a:pt x="330" y="574"/>
                  </a:cubicBezTo>
                  <a:cubicBezTo>
                    <a:pt x="330" y="576"/>
                    <a:pt x="330" y="576"/>
                    <a:pt x="330" y="576"/>
                  </a:cubicBezTo>
                  <a:cubicBezTo>
                    <a:pt x="330" y="577"/>
                    <a:pt x="330" y="578"/>
                    <a:pt x="330" y="579"/>
                  </a:cubicBezTo>
                  <a:cubicBezTo>
                    <a:pt x="331" y="580"/>
                    <a:pt x="331" y="580"/>
                    <a:pt x="331" y="581"/>
                  </a:cubicBezTo>
                  <a:cubicBezTo>
                    <a:pt x="332" y="582"/>
                    <a:pt x="332" y="582"/>
                    <a:pt x="332" y="583"/>
                  </a:cubicBezTo>
                  <a:cubicBezTo>
                    <a:pt x="332" y="585"/>
                    <a:pt x="331" y="587"/>
                    <a:pt x="329" y="589"/>
                  </a:cubicBezTo>
                  <a:cubicBezTo>
                    <a:pt x="329" y="589"/>
                    <a:pt x="328" y="590"/>
                    <a:pt x="328" y="591"/>
                  </a:cubicBezTo>
                  <a:cubicBezTo>
                    <a:pt x="327" y="593"/>
                    <a:pt x="327" y="593"/>
                    <a:pt x="327" y="593"/>
                  </a:cubicBezTo>
                  <a:cubicBezTo>
                    <a:pt x="328" y="594"/>
                    <a:pt x="328" y="594"/>
                    <a:pt x="328" y="594"/>
                  </a:cubicBezTo>
                  <a:cubicBezTo>
                    <a:pt x="329" y="594"/>
                    <a:pt x="329" y="594"/>
                    <a:pt x="329" y="594"/>
                  </a:cubicBezTo>
                  <a:cubicBezTo>
                    <a:pt x="330" y="595"/>
                    <a:pt x="331" y="596"/>
                    <a:pt x="332" y="598"/>
                  </a:cubicBezTo>
                  <a:cubicBezTo>
                    <a:pt x="333" y="599"/>
                    <a:pt x="333" y="599"/>
                    <a:pt x="333" y="599"/>
                  </a:cubicBezTo>
                  <a:cubicBezTo>
                    <a:pt x="406" y="583"/>
                    <a:pt x="406" y="583"/>
                    <a:pt x="406" y="583"/>
                  </a:cubicBezTo>
                  <a:cubicBezTo>
                    <a:pt x="407" y="583"/>
                    <a:pt x="407" y="583"/>
                    <a:pt x="407" y="583"/>
                  </a:cubicBezTo>
                  <a:cubicBezTo>
                    <a:pt x="411" y="578"/>
                    <a:pt x="446" y="539"/>
                    <a:pt x="461" y="530"/>
                  </a:cubicBezTo>
                  <a:cubicBezTo>
                    <a:pt x="578" y="450"/>
                    <a:pt x="578" y="450"/>
                    <a:pt x="578" y="450"/>
                  </a:cubicBezTo>
                  <a:lnTo>
                    <a:pt x="569" y="424"/>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37" name="Freeform 33">
              <a:extLst>
                <a:ext uri="{FF2B5EF4-FFF2-40B4-BE49-F238E27FC236}">
                  <a16:creationId xmlns:a16="http://schemas.microsoft.com/office/drawing/2014/main" id="{447332FC-54F6-4667-96F3-5832BFD5040F}"/>
                </a:ext>
              </a:extLst>
            </p:cNvPr>
            <p:cNvSpPr>
              <a:spLocks/>
            </p:cNvSpPr>
            <p:nvPr/>
          </p:nvSpPr>
          <p:spPr bwMode="auto">
            <a:xfrm>
              <a:off x="1648467" y="1593989"/>
              <a:ext cx="467613" cy="345190"/>
            </a:xfrm>
            <a:custGeom>
              <a:avLst/>
              <a:gdLst>
                <a:gd name="T0" fmla="*/ 225 w 231"/>
                <a:gd name="T1" fmla="*/ 98 h 185"/>
                <a:gd name="T2" fmla="*/ 226 w 231"/>
                <a:gd name="T3" fmla="*/ 86 h 185"/>
                <a:gd name="T4" fmla="*/ 215 w 231"/>
                <a:gd name="T5" fmla="*/ 80 h 185"/>
                <a:gd name="T6" fmla="*/ 206 w 231"/>
                <a:gd name="T7" fmla="*/ 80 h 185"/>
                <a:gd name="T8" fmla="*/ 189 w 231"/>
                <a:gd name="T9" fmla="*/ 60 h 185"/>
                <a:gd name="T10" fmla="*/ 200 w 231"/>
                <a:gd name="T11" fmla="*/ 58 h 185"/>
                <a:gd name="T12" fmla="*/ 191 w 231"/>
                <a:gd name="T13" fmla="*/ 51 h 185"/>
                <a:gd name="T14" fmla="*/ 177 w 231"/>
                <a:gd name="T15" fmla="*/ 41 h 185"/>
                <a:gd name="T16" fmla="*/ 173 w 231"/>
                <a:gd name="T17" fmla="*/ 29 h 185"/>
                <a:gd name="T18" fmla="*/ 167 w 231"/>
                <a:gd name="T19" fmla="*/ 22 h 185"/>
                <a:gd name="T20" fmla="*/ 166 w 231"/>
                <a:gd name="T21" fmla="*/ 3 h 185"/>
                <a:gd name="T22" fmla="*/ 153 w 231"/>
                <a:gd name="T23" fmla="*/ 2 h 185"/>
                <a:gd name="T24" fmla="*/ 142 w 231"/>
                <a:gd name="T25" fmla="*/ 0 h 185"/>
                <a:gd name="T26" fmla="*/ 130 w 231"/>
                <a:gd name="T27" fmla="*/ 9 h 185"/>
                <a:gd name="T28" fmla="*/ 112 w 231"/>
                <a:gd name="T29" fmla="*/ 18 h 185"/>
                <a:gd name="T30" fmla="*/ 104 w 231"/>
                <a:gd name="T31" fmla="*/ 25 h 185"/>
                <a:gd name="T32" fmla="*/ 96 w 231"/>
                <a:gd name="T33" fmla="*/ 27 h 185"/>
                <a:gd name="T34" fmla="*/ 81 w 231"/>
                <a:gd name="T35" fmla="*/ 31 h 185"/>
                <a:gd name="T36" fmla="*/ 75 w 231"/>
                <a:gd name="T37" fmla="*/ 46 h 185"/>
                <a:gd name="T38" fmla="*/ 70 w 231"/>
                <a:gd name="T39" fmla="*/ 45 h 185"/>
                <a:gd name="T40" fmla="*/ 67 w 231"/>
                <a:gd name="T41" fmla="*/ 56 h 185"/>
                <a:gd name="T42" fmla="*/ 63 w 231"/>
                <a:gd name="T43" fmla="*/ 60 h 185"/>
                <a:gd name="T44" fmla="*/ 54 w 231"/>
                <a:gd name="T45" fmla="*/ 57 h 185"/>
                <a:gd name="T46" fmla="*/ 45 w 231"/>
                <a:gd name="T47" fmla="*/ 54 h 185"/>
                <a:gd name="T48" fmla="*/ 40 w 231"/>
                <a:gd name="T49" fmla="*/ 76 h 185"/>
                <a:gd name="T50" fmla="*/ 33 w 231"/>
                <a:gd name="T51" fmla="*/ 76 h 185"/>
                <a:gd name="T52" fmla="*/ 34 w 231"/>
                <a:gd name="T53" fmla="*/ 88 h 185"/>
                <a:gd name="T54" fmla="*/ 18 w 231"/>
                <a:gd name="T55" fmla="*/ 101 h 185"/>
                <a:gd name="T56" fmla="*/ 10 w 231"/>
                <a:gd name="T57" fmla="*/ 120 h 185"/>
                <a:gd name="T58" fmla="*/ 3 w 231"/>
                <a:gd name="T59" fmla="*/ 136 h 185"/>
                <a:gd name="T60" fmla="*/ 2 w 231"/>
                <a:gd name="T61" fmla="*/ 151 h 185"/>
                <a:gd name="T62" fmla="*/ 2 w 231"/>
                <a:gd name="T63" fmla="*/ 156 h 185"/>
                <a:gd name="T64" fmla="*/ 20 w 231"/>
                <a:gd name="T65" fmla="*/ 171 h 185"/>
                <a:gd name="T66" fmla="*/ 31 w 231"/>
                <a:gd name="T67" fmla="*/ 178 h 185"/>
                <a:gd name="T68" fmla="*/ 35 w 231"/>
                <a:gd name="T69" fmla="*/ 180 h 185"/>
                <a:gd name="T70" fmla="*/ 45 w 231"/>
                <a:gd name="T71" fmla="*/ 173 h 185"/>
                <a:gd name="T72" fmla="*/ 71 w 231"/>
                <a:gd name="T73" fmla="*/ 174 h 185"/>
                <a:gd name="T74" fmla="*/ 80 w 231"/>
                <a:gd name="T75" fmla="*/ 155 h 185"/>
                <a:gd name="T76" fmla="*/ 144 w 231"/>
                <a:gd name="T77" fmla="*/ 137 h 185"/>
                <a:gd name="T78" fmla="*/ 163 w 231"/>
                <a:gd name="T79" fmla="*/ 133 h 185"/>
                <a:gd name="T80" fmla="*/ 170 w 231"/>
                <a:gd name="T81" fmla="*/ 134 h 185"/>
                <a:gd name="T82" fmla="*/ 177 w 231"/>
                <a:gd name="T83" fmla="*/ 137 h 185"/>
                <a:gd name="T84" fmla="*/ 188 w 231"/>
                <a:gd name="T85" fmla="*/ 133 h 185"/>
                <a:gd name="T86" fmla="*/ 195 w 231"/>
                <a:gd name="T87" fmla="*/ 127 h 185"/>
                <a:gd name="T88" fmla="*/ 201 w 231"/>
                <a:gd name="T89" fmla="*/ 121 h 185"/>
                <a:gd name="T90" fmla="*/ 205 w 231"/>
                <a:gd name="T91" fmla="*/ 121 h 185"/>
                <a:gd name="T92" fmla="*/ 209 w 231"/>
                <a:gd name="T93" fmla="*/ 121 h 185"/>
                <a:gd name="T94" fmla="*/ 216 w 231"/>
                <a:gd name="T95" fmla="*/ 122 h 185"/>
                <a:gd name="T96" fmla="*/ 224 w 231"/>
                <a:gd name="T97" fmla="*/ 115 h 185"/>
                <a:gd name="T98" fmla="*/ 227 w 231"/>
                <a:gd name="T99" fmla="*/ 10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1" h="185">
                  <a:moveTo>
                    <a:pt x="227" y="100"/>
                  </a:moveTo>
                  <a:cubicBezTo>
                    <a:pt x="226" y="99"/>
                    <a:pt x="226" y="99"/>
                    <a:pt x="226" y="99"/>
                  </a:cubicBezTo>
                  <a:cubicBezTo>
                    <a:pt x="226" y="99"/>
                    <a:pt x="226" y="98"/>
                    <a:pt x="225" y="98"/>
                  </a:cubicBezTo>
                  <a:cubicBezTo>
                    <a:pt x="223" y="96"/>
                    <a:pt x="221" y="93"/>
                    <a:pt x="221" y="92"/>
                  </a:cubicBezTo>
                  <a:cubicBezTo>
                    <a:pt x="221" y="91"/>
                    <a:pt x="222" y="90"/>
                    <a:pt x="224" y="89"/>
                  </a:cubicBezTo>
                  <a:cubicBezTo>
                    <a:pt x="225" y="88"/>
                    <a:pt x="226" y="88"/>
                    <a:pt x="226" y="86"/>
                  </a:cubicBezTo>
                  <a:cubicBezTo>
                    <a:pt x="227" y="84"/>
                    <a:pt x="224" y="79"/>
                    <a:pt x="222" y="78"/>
                  </a:cubicBezTo>
                  <a:cubicBezTo>
                    <a:pt x="221" y="78"/>
                    <a:pt x="221" y="78"/>
                    <a:pt x="220" y="78"/>
                  </a:cubicBezTo>
                  <a:cubicBezTo>
                    <a:pt x="218" y="78"/>
                    <a:pt x="217" y="79"/>
                    <a:pt x="215" y="80"/>
                  </a:cubicBezTo>
                  <a:cubicBezTo>
                    <a:pt x="215" y="81"/>
                    <a:pt x="214" y="81"/>
                    <a:pt x="214" y="82"/>
                  </a:cubicBezTo>
                  <a:cubicBezTo>
                    <a:pt x="213" y="83"/>
                    <a:pt x="212" y="83"/>
                    <a:pt x="211" y="83"/>
                  </a:cubicBezTo>
                  <a:cubicBezTo>
                    <a:pt x="209" y="83"/>
                    <a:pt x="207" y="81"/>
                    <a:pt x="206" y="80"/>
                  </a:cubicBezTo>
                  <a:cubicBezTo>
                    <a:pt x="204" y="79"/>
                    <a:pt x="203" y="77"/>
                    <a:pt x="201" y="76"/>
                  </a:cubicBezTo>
                  <a:cubicBezTo>
                    <a:pt x="199" y="72"/>
                    <a:pt x="196" y="69"/>
                    <a:pt x="191" y="67"/>
                  </a:cubicBezTo>
                  <a:cubicBezTo>
                    <a:pt x="190" y="65"/>
                    <a:pt x="189" y="62"/>
                    <a:pt x="189" y="60"/>
                  </a:cubicBezTo>
                  <a:cubicBezTo>
                    <a:pt x="191" y="60"/>
                    <a:pt x="191" y="60"/>
                    <a:pt x="191" y="60"/>
                  </a:cubicBezTo>
                  <a:cubicBezTo>
                    <a:pt x="195" y="60"/>
                    <a:pt x="196" y="60"/>
                    <a:pt x="197" y="59"/>
                  </a:cubicBezTo>
                  <a:cubicBezTo>
                    <a:pt x="200" y="58"/>
                    <a:pt x="200" y="58"/>
                    <a:pt x="200" y="58"/>
                  </a:cubicBezTo>
                  <a:cubicBezTo>
                    <a:pt x="200" y="58"/>
                    <a:pt x="197" y="56"/>
                    <a:pt x="197" y="56"/>
                  </a:cubicBezTo>
                  <a:cubicBezTo>
                    <a:pt x="197" y="56"/>
                    <a:pt x="197" y="55"/>
                    <a:pt x="196" y="55"/>
                  </a:cubicBezTo>
                  <a:cubicBezTo>
                    <a:pt x="195" y="53"/>
                    <a:pt x="193" y="52"/>
                    <a:pt x="191" y="51"/>
                  </a:cubicBezTo>
                  <a:cubicBezTo>
                    <a:pt x="189" y="50"/>
                    <a:pt x="188" y="49"/>
                    <a:pt x="187" y="49"/>
                  </a:cubicBezTo>
                  <a:cubicBezTo>
                    <a:pt x="184" y="47"/>
                    <a:pt x="181" y="44"/>
                    <a:pt x="178" y="42"/>
                  </a:cubicBezTo>
                  <a:cubicBezTo>
                    <a:pt x="177" y="41"/>
                    <a:pt x="177" y="41"/>
                    <a:pt x="177" y="41"/>
                  </a:cubicBezTo>
                  <a:cubicBezTo>
                    <a:pt x="173" y="38"/>
                    <a:pt x="173" y="36"/>
                    <a:pt x="173" y="33"/>
                  </a:cubicBezTo>
                  <a:cubicBezTo>
                    <a:pt x="173" y="32"/>
                    <a:pt x="173" y="31"/>
                    <a:pt x="173" y="29"/>
                  </a:cubicBezTo>
                  <a:cubicBezTo>
                    <a:pt x="173" y="29"/>
                    <a:pt x="173" y="29"/>
                    <a:pt x="173" y="29"/>
                  </a:cubicBezTo>
                  <a:cubicBezTo>
                    <a:pt x="172" y="27"/>
                    <a:pt x="172" y="26"/>
                    <a:pt x="171" y="25"/>
                  </a:cubicBezTo>
                  <a:cubicBezTo>
                    <a:pt x="171" y="24"/>
                    <a:pt x="170" y="24"/>
                    <a:pt x="169" y="23"/>
                  </a:cubicBezTo>
                  <a:cubicBezTo>
                    <a:pt x="169" y="23"/>
                    <a:pt x="168" y="23"/>
                    <a:pt x="167" y="22"/>
                  </a:cubicBezTo>
                  <a:cubicBezTo>
                    <a:pt x="166" y="21"/>
                    <a:pt x="166" y="20"/>
                    <a:pt x="167" y="18"/>
                  </a:cubicBezTo>
                  <a:cubicBezTo>
                    <a:pt x="167" y="18"/>
                    <a:pt x="167" y="16"/>
                    <a:pt x="167" y="16"/>
                  </a:cubicBezTo>
                  <a:cubicBezTo>
                    <a:pt x="169" y="10"/>
                    <a:pt x="169" y="4"/>
                    <a:pt x="166" y="3"/>
                  </a:cubicBezTo>
                  <a:cubicBezTo>
                    <a:pt x="165" y="2"/>
                    <a:pt x="163" y="2"/>
                    <a:pt x="160" y="2"/>
                  </a:cubicBezTo>
                  <a:cubicBezTo>
                    <a:pt x="159" y="2"/>
                    <a:pt x="158" y="2"/>
                    <a:pt x="157" y="2"/>
                  </a:cubicBezTo>
                  <a:cubicBezTo>
                    <a:pt x="156" y="2"/>
                    <a:pt x="155" y="2"/>
                    <a:pt x="153" y="2"/>
                  </a:cubicBezTo>
                  <a:cubicBezTo>
                    <a:pt x="152" y="2"/>
                    <a:pt x="151" y="2"/>
                    <a:pt x="150" y="2"/>
                  </a:cubicBezTo>
                  <a:cubicBezTo>
                    <a:pt x="148" y="1"/>
                    <a:pt x="148" y="1"/>
                    <a:pt x="148" y="1"/>
                  </a:cubicBezTo>
                  <a:cubicBezTo>
                    <a:pt x="146" y="1"/>
                    <a:pt x="144" y="0"/>
                    <a:pt x="142" y="0"/>
                  </a:cubicBezTo>
                  <a:cubicBezTo>
                    <a:pt x="140" y="0"/>
                    <a:pt x="137" y="1"/>
                    <a:pt x="135" y="4"/>
                  </a:cubicBezTo>
                  <a:cubicBezTo>
                    <a:pt x="135" y="5"/>
                    <a:pt x="135" y="5"/>
                    <a:pt x="135" y="5"/>
                  </a:cubicBezTo>
                  <a:cubicBezTo>
                    <a:pt x="133" y="6"/>
                    <a:pt x="132" y="8"/>
                    <a:pt x="130" y="9"/>
                  </a:cubicBezTo>
                  <a:cubicBezTo>
                    <a:pt x="129" y="9"/>
                    <a:pt x="128" y="9"/>
                    <a:pt x="128" y="9"/>
                  </a:cubicBezTo>
                  <a:cubicBezTo>
                    <a:pt x="126" y="10"/>
                    <a:pt x="124" y="11"/>
                    <a:pt x="122" y="12"/>
                  </a:cubicBezTo>
                  <a:cubicBezTo>
                    <a:pt x="119" y="15"/>
                    <a:pt x="115" y="17"/>
                    <a:pt x="112" y="18"/>
                  </a:cubicBezTo>
                  <a:cubicBezTo>
                    <a:pt x="111" y="19"/>
                    <a:pt x="110" y="19"/>
                    <a:pt x="110" y="19"/>
                  </a:cubicBezTo>
                  <a:cubicBezTo>
                    <a:pt x="107" y="20"/>
                    <a:pt x="105" y="20"/>
                    <a:pt x="104" y="23"/>
                  </a:cubicBezTo>
                  <a:cubicBezTo>
                    <a:pt x="104" y="23"/>
                    <a:pt x="104" y="24"/>
                    <a:pt x="104" y="25"/>
                  </a:cubicBezTo>
                  <a:cubicBezTo>
                    <a:pt x="104" y="27"/>
                    <a:pt x="104" y="28"/>
                    <a:pt x="102" y="29"/>
                  </a:cubicBezTo>
                  <a:cubicBezTo>
                    <a:pt x="102" y="29"/>
                    <a:pt x="101" y="29"/>
                    <a:pt x="101" y="29"/>
                  </a:cubicBezTo>
                  <a:cubicBezTo>
                    <a:pt x="100" y="29"/>
                    <a:pt x="98" y="28"/>
                    <a:pt x="96" y="27"/>
                  </a:cubicBezTo>
                  <a:cubicBezTo>
                    <a:pt x="94" y="26"/>
                    <a:pt x="93" y="26"/>
                    <a:pt x="92" y="26"/>
                  </a:cubicBezTo>
                  <a:cubicBezTo>
                    <a:pt x="91" y="26"/>
                    <a:pt x="91" y="26"/>
                    <a:pt x="91" y="26"/>
                  </a:cubicBezTo>
                  <a:cubicBezTo>
                    <a:pt x="88" y="27"/>
                    <a:pt x="83" y="29"/>
                    <a:pt x="81" y="31"/>
                  </a:cubicBezTo>
                  <a:cubicBezTo>
                    <a:pt x="78" y="34"/>
                    <a:pt x="78" y="37"/>
                    <a:pt x="77" y="40"/>
                  </a:cubicBezTo>
                  <a:cubicBezTo>
                    <a:pt x="77" y="41"/>
                    <a:pt x="77" y="42"/>
                    <a:pt x="77" y="43"/>
                  </a:cubicBezTo>
                  <a:cubicBezTo>
                    <a:pt x="76" y="46"/>
                    <a:pt x="76" y="46"/>
                    <a:pt x="75" y="46"/>
                  </a:cubicBezTo>
                  <a:cubicBezTo>
                    <a:pt x="75" y="46"/>
                    <a:pt x="75" y="47"/>
                    <a:pt x="75" y="47"/>
                  </a:cubicBezTo>
                  <a:cubicBezTo>
                    <a:pt x="74" y="47"/>
                    <a:pt x="73" y="46"/>
                    <a:pt x="73" y="46"/>
                  </a:cubicBezTo>
                  <a:cubicBezTo>
                    <a:pt x="72" y="46"/>
                    <a:pt x="71" y="45"/>
                    <a:pt x="70" y="45"/>
                  </a:cubicBezTo>
                  <a:cubicBezTo>
                    <a:pt x="68" y="45"/>
                    <a:pt x="68" y="45"/>
                    <a:pt x="68" y="45"/>
                  </a:cubicBezTo>
                  <a:cubicBezTo>
                    <a:pt x="68" y="49"/>
                    <a:pt x="68" y="49"/>
                    <a:pt x="68" y="49"/>
                  </a:cubicBezTo>
                  <a:cubicBezTo>
                    <a:pt x="68" y="51"/>
                    <a:pt x="68" y="54"/>
                    <a:pt x="67" y="56"/>
                  </a:cubicBezTo>
                  <a:cubicBezTo>
                    <a:pt x="67" y="58"/>
                    <a:pt x="66" y="58"/>
                    <a:pt x="66" y="58"/>
                  </a:cubicBezTo>
                  <a:cubicBezTo>
                    <a:pt x="65" y="58"/>
                    <a:pt x="65" y="58"/>
                    <a:pt x="64" y="59"/>
                  </a:cubicBezTo>
                  <a:cubicBezTo>
                    <a:pt x="64" y="59"/>
                    <a:pt x="63" y="59"/>
                    <a:pt x="63" y="60"/>
                  </a:cubicBezTo>
                  <a:cubicBezTo>
                    <a:pt x="62" y="61"/>
                    <a:pt x="61" y="62"/>
                    <a:pt x="61" y="62"/>
                  </a:cubicBezTo>
                  <a:cubicBezTo>
                    <a:pt x="60" y="62"/>
                    <a:pt x="60" y="62"/>
                    <a:pt x="60" y="62"/>
                  </a:cubicBezTo>
                  <a:cubicBezTo>
                    <a:pt x="58" y="62"/>
                    <a:pt x="56" y="59"/>
                    <a:pt x="54" y="57"/>
                  </a:cubicBezTo>
                  <a:cubicBezTo>
                    <a:pt x="53" y="55"/>
                    <a:pt x="51" y="54"/>
                    <a:pt x="50" y="53"/>
                  </a:cubicBezTo>
                  <a:cubicBezTo>
                    <a:pt x="49" y="53"/>
                    <a:pt x="49" y="53"/>
                    <a:pt x="48" y="53"/>
                  </a:cubicBezTo>
                  <a:cubicBezTo>
                    <a:pt x="47" y="53"/>
                    <a:pt x="46" y="53"/>
                    <a:pt x="45" y="54"/>
                  </a:cubicBezTo>
                  <a:cubicBezTo>
                    <a:pt x="41" y="56"/>
                    <a:pt x="37" y="61"/>
                    <a:pt x="37" y="64"/>
                  </a:cubicBezTo>
                  <a:cubicBezTo>
                    <a:pt x="37" y="66"/>
                    <a:pt x="38" y="68"/>
                    <a:pt x="39" y="69"/>
                  </a:cubicBezTo>
                  <a:cubicBezTo>
                    <a:pt x="40" y="71"/>
                    <a:pt x="41" y="73"/>
                    <a:pt x="40" y="76"/>
                  </a:cubicBezTo>
                  <a:cubicBezTo>
                    <a:pt x="39" y="76"/>
                    <a:pt x="38" y="76"/>
                    <a:pt x="38" y="76"/>
                  </a:cubicBezTo>
                  <a:cubicBezTo>
                    <a:pt x="37" y="76"/>
                    <a:pt x="36" y="76"/>
                    <a:pt x="35" y="76"/>
                  </a:cubicBezTo>
                  <a:cubicBezTo>
                    <a:pt x="33" y="76"/>
                    <a:pt x="33" y="76"/>
                    <a:pt x="33" y="76"/>
                  </a:cubicBezTo>
                  <a:cubicBezTo>
                    <a:pt x="33" y="78"/>
                    <a:pt x="33" y="78"/>
                    <a:pt x="33" y="78"/>
                  </a:cubicBezTo>
                  <a:cubicBezTo>
                    <a:pt x="33" y="79"/>
                    <a:pt x="34" y="80"/>
                    <a:pt x="34" y="81"/>
                  </a:cubicBezTo>
                  <a:cubicBezTo>
                    <a:pt x="34" y="83"/>
                    <a:pt x="35" y="85"/>
                    <a:pt x="34" y="88"/>
                  </a:cubicBezTo>
                  <a:cubicBezTo>
                    <a:pt x="33" y="90"/>
                    <a:pt x="31" y="92"/>
                    <a:pt x="29" y="95"/>
                  </a:cubicBezTo>
                  <a:cubicBezTo>
                    <a:pt x="28" y="96"/>
                    <a:pt x="28" y="96"/>
                    <a:pt x="28" y="96"/>
                  </a:cubicBezTo>
                  <a:cubicBezTo>
                    <a:pt x="26" y="100"/>
                    <a:pt x="22" y="100"/>
                    <a:pt x="18" y="101"/>
                  </a:cubicBezTo>
                  <a:cubicBezTo>
                    <a:pt x="16" y="102"/>
                    <a:pt x="14" y="102"/>
                    <a:pt x="11" y="103"/>
                  </a:cubicBezTo>
                  <a:cubicBezTo>
                    <a:pt x="6" y="106"/>
                    <a:pt x="8" y="110"/>
                    <a:pt x="9" y="113"/>
                  </a:cubicBezTo>
                  <a:cubicBezTo>
                    <a:pt x="10" y="116"/>
                    <a:pt x="11" y="118"/>
                    <a:pt x="10" y="120"/>
                  </a:cubicBezTo>
                  <a:cubicBezTo>
                    <a:pt x="10" y="124"/>
                    <a:pt x="9" y="128"/>
                    <a:pt x="8" y="130"/>
                  </a:cubicBezTo>
                  <a:cubicBezTo>
                    <a:pt x="7" y="131"/>
                    <a:pt x="6" y="131"/>
                    <a:pt x="5" y="132"/>
                  </a:cubicBezTo>
                  <a:cubicBezTo>
                    <a:pt x="3" y="132"/>
                    <a:pt x="3" y="134"/>
                    <a:pt x="3" y="136"/>
                  </a:cubicBezTo>
                  <a:cubicBezTo>
                    <a:pt x="3" y="137"/>
                    <a:pt x="3" y="138"/>
                    <a:pt x="3" y="140"/>
                  </a:cubicBezTo>
                  <a:cubicBezTo>
                    <a:pt x="3" y="142"/>
                    <a:pt x="3" y="144"/>
                    <a:pt x="3" y="146"/>
                  </a:cubicBezTo>
                  <a:cubicBezTo>
                    <a:pt x="3" y="148"/>
                    <a:pt x="2" y="149"/>
                    <a:pt x="2" y="151"/>
                  </a:cubicBezTo>
                  <a:cubicBezTo>
                    <a:pt x="1" y="152"/>
                    <a:pt x="1" y="153"/>
                    <a:pt x="1" y="154"/>
                  </a:cubicBezTo>
                  <a:cubicBezTo>
                    <a:pt x="0" y="156"/>
                    <a:pt x="0" y="156"/>
                    <a:pt x="0" y="156"/>
                  </a:cubicBezTo>
                  <a:cubicBezTo>
                    <a:pt x="2" y="156"/>
                    <a:pt x="2" y="156"/>
                    <a:pt x="2" y="156"/>
                  </a:cubicBezTo>
                  <a:cubicBezTo>
                    <a:pt x="3" y="157"/>
                    <a:pt x="4" y="157"/>
                    <a:pt x="5" y="157"/>
                  </a:cubicBezTo>
                  <a:cubicBezTo>
                    <a:pt x="6" y="157"/>
                    <a:pt x="6" y="157"/>
                    <a:pt x="7" y="157"/>
                  </a:cubicBezTo>
                  <a:cubicBezTo>
                    <a:pt x="13" y="158"/>
                    <a:pt x="18" y="168"/>
                    <a:pt x="20" y="171"/>
                  </a:cubicBezTo>
                  <a:cubicBezTo>
                    <a:pt x="21" y="175"/>
                    <a:pt x="22" y="175"/>
                    <a:pt x="25" y="176"/>
                  </a:cubicBezTo>
                  <a:cubicBezTo>
                    <a:pt x="26" y="176"/>
                    <a:pt x="26" y="176"/>
                    <a:pt x="27" y="176"/>
                  </a:cubicBezTo>
                  <a:cubicBezTo>
                    <a:pt x="28" y="176"/>
                    <a:pt x="29" y="177"/>
                    <a:pt x="31" y="178"/>
                  </a:cubicBezTo>
                  <a:cubicBezTo>
                    <a:pt x="32" y="180"/>
                    <a:pt x="33" y="180"/>
                    <a:pt x="34" y="180"/>
                  </a:cubicBezTo>
                  <a:cubicBezTo>
                    <a:pt x="34" y="180"/>
                    <a:pt x="34" y="180"/>
                    <a:pt x="34" y="180"/>
                  </a:cubicBezTo>
                  <a:cubicBezTo>
                    <a:pt x="35" y="180"/>
                    <a:pt x="35" y="180"/>
                    <a:pt x="35" y="180"/>
                  </a:cubicBezTo>
                  <a:cubicBezTo>
                    <a:pt x="36" y="180"/>
                    <a:pt x="37" y="179"/>
                    <a:pt x="39" y="177"/>
                  </a:cubicBezTo>
                  <a:cubicBezTo>
                    <a:pt x="40" y="176"/>
                    <a:pt x="41" y="174"/>
                    <a:pt x="42" y="174"/>
                  </a:cubicBezTo>
                  <a:cubicBezTo>
                    <a:pt x="43" y="173"/>
                    <a:pt x="44" y="173"/>
                    <a:pt x="45" y="173"/>
                  </a:cubicBezTo>
                  <a:cubicBezTo>
                    <a:pt x="47" y="171"/>
                    <a:pt x="49" y="170"/>
                    <a:pt x="52" y="170"/>
                  </a:cubicBezTo>
                  <a:cubicBezTo>
                    <a:pt x="54" y="169"/>
                    <a:pt x="56" y="169"/>
                    <a:pt x="59" y="169"/>
                  </a:cubicBezTo>
                  <a:cubicBezTo>
                    <a:pt x="64" y="169"/>
                    <a:pt x="68" y="171"/>
                    <a:pt x="71" y="174"/>
                  </a:cubicBezTo>
                  <a:cubicBezTo>
                    <a:pt x="73" y="176"/>
                    <a:pt x="75" y="178"/>
                    <a:pt x="77" y="180"/>
                  </a:cubicBezTo>
                  <a:cubicBezTo>
                    <a:pt x="80" y="185"/>
                    <a:pt x="80" y="185"/>
                    <a:pt x="80" y="185"/>
                  </a:cubicBezTo>
                  <a:cubicBezTo>
                    <a:pt x="80" y="155"/>
                    <a:pt x="80" y="155"/>
                    <a:pt x="80" y="155"/>
                  </a:cubicBezTo>
                  <a:cubicBezTo>
                    <a:pt x="80" y="155"/>
                    <a:pt x="80" y="155"/>
                    <a:pt x="80" y="155"/>
                  </a:cubicBezTo>
                  <a:cubicBezTo>
                    <a:pt x="73" y="148"/>
                    <a:pt x="80" y="135"/>
                    <a:pt x="80" y="135"/>
                  </a:cubicBezTo>
                  <a:cubicBezTo>
                    <a:pt x="144" y="137"/>
                    <a:pt x="144" y="137"/>
                    <a:pt x="144" y="137"/>
                  </a:cubicBezTo>
                  <a:cubicBezTo>
                    <a:pt x="155" y="129"/>
                    <a:pt x="155" y="129"/>
                    <a:pt x="155" y="129"/>
                  </a:cubicBezTo>
                  <a:cubicBezTo>
                    <a:pt x="163" y="132"/>
                    <a:pt x="163" y="132"/>
                    <a:pt x="163" y="132"/>
                  </a:cubicBezTo>
                  <a:cubicBezTo>
                    <a:pt x="163" y="133"/>
                    <a:pt x="163" y="133"/>
                    <a:pt x="163" y="133"/>
                  </a:cubicBezTo>
                  <a:cubicBezTo>
                    <a:pt x="163" y="133"/>
                    <a:pt x="163" y="133"/>
                    <a:pt x="163" y="133"/>
                  </a:cubicBezTo>
                  <a:cubicBezTo>
                    <a:pt x="165" y="133"/>
                    <a:pt x="165" y="133"/>
                    <a:pt x="165" y="133"/>
                  </a:cubicBezTo>
                  <a:cubicBezTo>
                    <a:pt x="167" y="133"/>
                    <a:pt x="169" y="133"/>
                    <a:pt x="170" y="134"/>
                  </a:cubicBezTo>
                  <a:cubicBezTo>
                    <a:pt x="171" y="134"/>
                    <a:pt x="172" y="134"/>
                    <a:pt x="173" y="135"/>
                  </a:cubicBezTo>
                  <a:cubicBezTo>
                    <a:pt x="174" y="136"/>
                    <a:pt x="175" y="136"/>
                    <a:pt x="176" y="137"/>
                  </a:cubicBezTo>
                  <a:cubicBezTo>
                    <a:pt x="177" y="137"/>
                    <a:pt x="177" y="137"/>
                    <a:pt x="177" y="137"/>
                  </a:cubicBezTo>
                  <a:cubicBezTo>
                    <a:pt x="178" y="137"/>
                    <a:pt x="180" y="136"/>
                    <a:pt x="181" y="136"/>
                  </a:cubicBezTo>
                  <a:cubicBezTo>
                    <a:pt x="182" y="136"/>
                    <a:pt x="183" y="136"/>
                    <a:pt x="183" y="136"/>
                  </a:cubicBezTo>
                  <a:cubicBezTo>
                    <a:pt x="186" y="136"/>
                    <a:pt x="187" y="135"/>
                    <a:pt x="188" y="133"/>
                  </a:cubicBezTo>
                  <a:cubicBezTo>
                    <a:pt x="189" y="133"/>
                    <a:pt x="189" y="132"/>
                    <a:pt x="190" y="132"/>
                  </a:cubicBezTo>
                  <a:cubicBezTo>
                    <a:pt x="191" y="131"/>
                    <a:pt x="191" y="129"/>
                    <a:pt x="193" y="129"/>
                  </a:cubicBezTo>
                  <a:cubicBezTo>
                    <a:pt x="193" y="128"/>
                    <a:pt x="194" y="128"/>
                    <a:pt x="195" y="127"/>
                  </a:cubicBezTo>
                  <a:cubicBezTo>
                    <a:pt x="196" y="127"/>
                    <a:pt x="197" y="126"/>
                    <a:pt x="198" y="126"/>
                  </a:cubicBezTo>
                  <a:cubicBezTo>
                    <a:pt x="199" y="125"/>
                    <a:pt x="199" y="124"/>
                    <a:pt x="199" y="123"/>
                  </a:cubicBezTo>
                  <a:cubicBezTo>
                    <a:pt x="200" y="122"/>
                    <a:pt x="200" y="121"/>
                    <a:pt x="201" y="121"/>
                  </a:cubicBezTo>
                  <a:cubicBezTo>
                    <a:pt x="201" y="120"/>
                    <a:pt x="202" y="119"/>
                    <a:pt x="203" y="119"/>
                  </a:cubicBezTo>
                  <a:cubicBezTo>
                    <a:pt x="204" y="119"/>
                    <a:pt x="205" y="120"/>
                    <a:pt x="205" y="120"/>
                  </a:cubicBezTo>
                  <a:cubicBezTo>
                    <a:pt x="205" y="121"/>
                    <a:pt x="205" y="121"/>
                    <a:pt x="205" y="121"/>
                  </a:cubicBezTo>
                  <a:cubicBezTo>
                    <a:pt x="206" y="121"/>
                    <a:pt x="206" y="121"/>
                    <a:pt x="206" y="121"/>
                  </a:cubicBezTo>
                  <a:cubicBezTo>
                    <a:pt x="206" y="121"/>
                    <a:pt x="207" y="121"/>
                    <a:pt x="208" y="121"/>
                  </a:cubicBezTo>
                  <a:cubicBezTo>
                    <a:pt x="208" y="121"/>
                    <a:pt x="209" y="121"/>
                    <a:pt x="209" y="121"/>
                  </a:cubicBezTo>
                  <a:cubicBezTo>
                    <a:pt x="210" y="121"/>
                    <a:pt x="210" y="121"/>
                    <a:pt x="211" y="121"/>
                  </a:cubicBezTo>
                  <a:cubicBezTo>
                    <a:pt x="212" y="121"/>
                    <a:pt x="213" y="121"/>
                    <a:pt x="214" y="121"/>
                  </a:cubicBezTo>
                  <a:cubicBezTo>
                    <a:pt x="214" y="122"/>
                    <a:pt x="215" y="122"/>
                    <a:pt x="216" y="122"/>
                  </a:cubicBezTo>
                  <a:cubicBezTo>
                    <a:pt x="216" y="122"/>
                    <a:pt x="217" y="122"/>
                    <a:pt x="217" y="122"/>
                  </a:cubicBezTo>
                  <a:cubicBezTo>
                    <a:pt x="217" y="121"/>
                    <a:pt x="217" y="121"/>
                    <a:pt x="217" y="121"/>
                  </a:cubicBezTo>
                  <a:cubicBezTo>
                    <a:pt x="221" y="119"/>
                    <a:pt x="222" y="118"/>
                    <a:pt x="224" y="115"/>
                  </a:cubicBezTo>
                  <a:cubicBezTo>
                    <a:pt x="225" y="114"/>
                    <a:pt x="226" y="113"/>
                    <a:pt x="227" y="112"/>
                  </a:cubicBezTo>
                  <a:cubicBezTo>
                    <a:pt x="228" y="111"/>
                    <a:pt x="229" y="109"/>
                    <a:pt x="230" y="107"/>
                  </a:cubicBezTo>
                  <a:cubicBezTo>
                    <a:pt x="231" y="104"/>
                    <a:pt x="229" y="102"/>
                    <a:pt x="227" y="10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38" name="Freeform 34">
              <a:extLst>
                <a:ext uri="{FF2B5EF4-FFF2-40B4-BE49-F238E27FC236}">
                  <a16:creationId xmlns:a16="http://schemas.microsoft.com/office/drawing/2014/main" id="{5E40EAC2-E984-4731-A55C-7511CB1B15E3}"/>
                </a:ext>
              </a:extLst>
            </p:cNvPr>
            <p:cNvSpPr>
              <a:spLocks/>
            </p:cNvSpPr>
            <p:nvPr/>
          </p:nvSpPr>
          <p:spPr bwMode="auto">
            <a:xfrm>
              <a:off x="2753329" y="1083396"/>
              <a:ext cx="618276" cy="982147"/>
            </a:xfrm>
            <a:custGeom>
              <a:avLst/>
              <a:gdLst>
                <a:gd name="T0" fmla="*/ 304 w 305"/>
                <a:gd name="T1" fmla="*/ 232 h 527"/>
                <a:gd name="T2" fmla="*/ 302 w 305"/>
                <a:gd name="T3" fmla="*/ 129 h 527"/>
                <a:gd name="T4" fmla="*/ 49 w 305"/>
                <a:gd name="T5" fmla="*/ 61 h 527"/>
                <a:gd name="T6" fmla="*/ 73 w 305"/>
                <a:gd name="T7" fmla="*/ 102 h 527"/>
                <a:gd name="T8" fmla="*/ 46 w 305"/>
                <a:gd name="T9" fmla="*/ 230 h 527"/>
                <a:gd name="T10" fmla="*/ 15 w 305"/>
                <a:gd name="T11" fmla="*/ 275 h 527"/>
                <a:gd name="T12" fmla="*/ 0 w 305"/>
                <a:gd name="T13" fmla="*/ 294 h 527"/>
                <a:gd name="T14" fmla="*/ 5 w 305"/>
                <a:gd name="T15" fmla="*/ 321 h 527"/>
                <a:gd name="T16" fmla="*/ 14 w 305"/>
                <a:gd name="T17" fmla="*/ 332 h 527"/>
                <a:gd name="T18" fmla="*/ 25 w 305"/>
                <a:gd name="T19" fmla="*/ 341 h 527"/>
                <a:gd name="T20" fmla="*/ 37 w 305"/>
                <a:gd name="T21" fmla="*/ 355 h 527"/>
                <a:gd name="T22" fmla="*/ 47 w 305"/>
                <a:gd name="T23" fmla="*/ 398 h 527"/>
                <a:gd name="T24" fmla="*/ 62 w 305"/>
                <a:gd name="T25" fmla="*/ 440 h 527"/>
                <a:gd name="T26" fmla="*/ 58 w 305"/>
                <a:gd name="T27" fmla="*/ 444 h 527"/>
                <a:gd name="T28" fmla="*/ 41 w 305"/>
                <a:gd name="T29" fmla="*/ 443 h 527"/>
                <a:gd name="T30" fmla="*/ 27 w 305"/>
                <a:gd name="T31" fmla="*/ 442 h 527"/>
                <a:gd name="T32" fmla="*/ 17 w 305"/>
                <a:gd name="T33" fmla="*/ 455 h 527"/>
                <a:gd name="T34" fmla="*/ 39 w 305"/>
                <a:gd name="T35" fmla="*/ 481 h 527"/>
                <a:gd name="T36" fmla="*/ 62 w 305"/>
                <a:gd name="T37" fmla="*/ 522 h 527"/>
                <a:gd name="T38" fmla="*/ 70 w 305"/>
                <a:gd name="T39" fmla="*/ 526 h 527"/>
                <a:gd name="T40" fmla="*/ 74 w 305"/>
                <a:gd name="T41" fmla="*/ 526 h 527"/>
                <a:gd name="T42" fmla="*/ 81 w 305"/>
                <a:gd name="T43" fmla="*/ 522 h 527"/>
                <a:gd name="T44" fmla="*/ 91 w 305"/>
                <a:gd name="T45" fmla="*/ 515 h 527"/>
                <a:gd name="T46" fmla="*/ 97 w 305"/>
                <a:gd name="T47" fmla="*/ 521 h 527"/>
                <a:gd name="T48" fmla="*/ 102 w 305"/>
                <a:gd name="T49" fmla="*/ 523 h 527"/>
                <a:gd name="T50" fmla="*/ 117 w 305"/>
                <a:gd name="T51" fmla="*/ 514 h 527"/>
                <a:gd name="T52" fmla="*/ 139 w 305"/>
                <a:gd name="T53" fmla="*/ 508 h 527"/>
                <a:gd name="T54" fmla="*/ 148 w 305"/>
                <a:gd name="T55" fmla="*/ 507 h 527"/>
                <a:gd name="T56" fmla="*/ 153 w 305"/>
                <a:gd name="T57" fmla="*/ 507 h 527"/>
                <a:gd name="T58" fmla="*/ 156 w 305"/>
                <a:gd name="T59" fmla="*/ 502 h 527"/>
                <a:gd name="T60" fmla="*/ 165 w 305"/>
                <a:gd name="T61" fmla="*/ 491 h 527"/>
                <a:gd name="T62" fmla="*/ 161 w 305"/>
                <a:gd name="T63" fmla="*/ 481 h 527"/>
                <a:gd name="T64" fmla="*/ 187 w 305"/>
                <a:gd name="T65" fmla="*/ 475 h 527"/>
                <a:gd name="T66" fmla="*/ 201 w 305"/>
                <a:gd name="T67" fmla="*/ 472 h 527"/>
                <a:gd name="T68" fmla="*/ 206 w 305"/>
                <a:gd name="T69" fmla="*/ 471 h 527"/>
                <a:gd name="T70" fmla="*/ 211 w 305"/>
                <a:gd name="T71" fmla="*/ 466 h 527"/>
                <a:gd name="T72" fmla="*/ 221 w 305"/>
                <a:gd name="T73" fmla="*/ 454 h 527"/>
                <a:gd name="T74" fmla="*/ 231 w 305"/>
                <a:gd name="T75" fmla="*/ 445 h 527"/>
                <a:gd name="T76" fmla="*/ 238 w 305"/>
                <a:gd name="T77" fmla="*/ 436 h 527"/>
                <a:gd name="T78" fmla="*/ 250 w 305"/>
                <a:gd name="T79" fmla="*/ 418 h 527"/>
                <a:gd name="T80" fmla="*/ 258 w 305"/>
                <a:gd name="T81" fmla="*/ 414 h 527"/>
                <a:gd name="T82" fmla="*/ 274 w 305"/>
                <a:gd name="T83" fmla="*/ 412 h 527"/>
                <a:gd name="T84" fmla="*/ 276 w 305"/>
                <a:gd name="T85" fmla="*/ 411 h 527"/>
                <a:gd name="T86" fmla="*/ 267 w 305"/>
                <a:gd name="T87" fmla="*/ 391 h 527"/>
                <a:gd name="T88" fmla="*/ 261 w 305"/>
                <a:gd name="T89" fmla="*/ 363 h 527"/>
                <a:gd name="T90" fmla="*/ 253 w 305"/>
                <a:gd name="T91" fmla="*/ 354 h 527"/>
                <a:gd name="T92" fmla="*/ 246 w 305"/>
                <a:gd name="T93" fmla="*/ 350 h 527"/>
                <a:gd name="T94" fmla="*/ 255 w 305"/>
                <a:gd name="T95" fmla="*/ 328 h 527"/>
                <a:gd name="T96" fmla="*/ 261 w 305"/>
                <a:gd name="T97" fmla="*/ 309 h 527"/>
                <a:gd name="T98" fmla="*/ 263 w 305"/>
                <a:gd name="T99" fmla="*/ 292 h 527"/>
                <a:gd name="T100" fmla="*/ 272 w 305"/>
                <a:gd name="T101" fmla="*/ 278 h 527"/>
                <a:gd name="T102" fmla="*/ 281 w 305"/>
                <a:gd name="T103" fmla="*/ 257 h 527"/>
                <a:gd name="T104" fmla="*/ 296 w 305"/>
                <a:gd name="T105" fmla="*/ 254 h 527"/>
                <a:gd name="T106" fmla="*/ 304 w 305"/>
                <a:gd name="T107" fmla="*/ 254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5" h="527">
                  <a:moveTo>
                    <a:pt x="305" y="248"/>
                  </a:moveTo>
                  <a:cubicBezTo>
                    <a:pt x="305" y="248"/>
                    <a:pt x="305" y="247"/>
                    <a:pt x="305" y="247"/>
                  </a:cubicBezTo>
                  <a:cubicBezTo>
                    <a:pt x="305" y="243"/>
                    <a:pt x="305" y="240"/>
                    <a:pt x="304" y="237"/>
                  </a:cubicBezTo>
                  <a:cubicBezTo>
                    <a:pt x="304" y="232"/>
                    <a:pt x="304" y="232"/>
                    <a:pt x="304" y="232"/>
                  </a:cubicBezTo>
                  <a:cubicBezTo>
                    <a:pt x="304" y="210"/>
                    <a:pt x="303" y="187"/>
                    <a:pt x="303" y="167"/>
                  </a:cubicBezTo>
                  <a:cubicBezTo>
                    <a:pt x="302" y="158"/>
                    <a:pt x="302" y="158"/>
                    <a:pt x="302" y="158"/>
                  </a:cubicBezTo>
                  <a:cubicBezTo>
                    <a:pt x="302" y="149"/>
                    <a:pt x="302" y="139"/>
                    <a:pt x="302" y="130"/>
                  </a:cubicBezTo>
                  <a:cubicBezTo>
                    <a:pt x="302" y="129"/>
                    <a:pt x="302" y="129"/>
                    <a:pt x="302" y="129"/>
                  </a:cubicBezTo>
                  <a:cubicBezTo>
                    <a:pt x="72" y="0"/>
                    <a:pt x="72" y="0"/>
                    <a:pt x="72" y="0"/>
                  </a:cubicBezTo>
                  <a:cubicBezTo>
                    <a:pt x="43" y="16"/>
                    <a:pt x="43" y="16"/>
                    <a:pt x="43" y="16"/>
                  </a:cubicBezTo>
                  <a:cubicBezTo>
                    <a:pt x="43" y="18"/>
                    <a:pt x="43" y="18"/>
                    <a:pt x="43" y="18"/>
                  </a:cubicBezTo>
                  <a:cubicBezTo>
                    <a:pt x="48" y="35"/>
                    <a:pt x="49" y="57"/>
                    <a:pt x="49" y="61"/>
                  </a:cubicBezTo>
                  <a:cubicBezTo>
                    <a:pt x="49" y="62"/>
                    <a:pt x="49" y="62"/>
                    <a:pt x="49" y="62"/>
                  </a:cubicBezTo>
                  <a:cubicBezTo>
                    <a:pt x="60" y="79"/>
                    <a:pt x="60" y="79"/>
                    <a:pt x="60" y="79"/>
                  </a:cubicBezTo>
                  <a:cubicBezTo>
                    <a:pt x="62" y="87"/>
                    <a:pt x="62" y="87"/>
                    <a:pt x="62" y="87"/>
                  </a:cubicBezTo>
                  <a:cubicBezTo>
                    <a:pt x="73" y="102"/>
                    <a:pt x="73" y="102"/>
                    <a:pt x="73" y="102"/>
                  </a:cubicBezTo>
                  <a:cubicBezTo>
                    <a:pt x="68" y="117"/>
                    <a:pt x="68" y="117"/>
                    <a:pt x="68" y="117"/>
                  </a:cubicBezTo>
                  <a:cubicBezTo>
                    <a:pt x="60" y="216"/>
                    <a:pt x="60" y="216"/>
                    <a:pt x="60" y="216"/>
                  </a:cubicBezTo>
                  <a:cubicBezTo>
                    <a:pt x="58" y="218"/>
                    <a:pt x="56" y="220"/>
                    <a:pt x="54" y="222"/>
                  </a:cubicBezTo>
                  <a:cubicBezTo>
                    <a:pt x="51" y="224"/>
                    <a:pt x="48" y="227"/>
                    <a:pt x="46" y="230"/>
                  </a:cubicBezTo>
                  <a:cubicBezTo>
                    <a:pt x="44" y="232"/>
                    <a:pt x="42" y="235"/>
                    <a:pt x="40" y="238"/>
                  </a:cubicBezTo>
                  <a:cubicBezTo>
                    <a:pt x="36" y="245"/>
                    <a:pt x="31" y="253"/>
                    <a:pt x="26" y="259"/>
                  </a:cubicBezTo>
                  <a:cubicBezTo>
                    <a:pt x="23" y="262"/>
                    <a:pt x="21" y="265"/>
                    <a:pt x="19" y="268"/>
                  </a:cubicBezTo>
                  <a:cubicBezTo>
                    <a:pt x="18" y="270"/>
                    <a:pt x="16" y="272"/>
                    <a:pt x="15" y="275"/>
                  </a:cubicBezTo>
                  <a:cubicBezTo>
                    <a:pt x="12" y="278"/>
                    <a:pt x="11" y="282"/>
                    <a:pt x="10" y="286"/>
                  </a:cubicBezTo>
                  <a:cubicBezTo>
                    <a:pt x="9" y="287"/>
                    <a:pt x="9" y="289"/>
                    <a:pt x="8" y="290"/>
                  </a:cubicBezTo>
                  <a:cubicBezTo>
                    <a:pt x="7" y="294"/>
                    <a:pt x="6" y="294"/>
                    <a:pt x="3" y="294"/>
                  </a:cubicBezTo>
                  <a:cubicBezTo>
                    <a:pt x="0" y="294"/>
                    <a:pt x="0" y="294"/>
                    <a:pt x="0" y="294"/>
                  </a:cubicBezTo>
                  <a:cubicBezTo>
                    <a:pt x="0" y="296"/>
                    <a:pt x="0" y="296"/>
                    <a:pt x="0" y="296"/>
                  </a:cubicBezTo>
                  <a:cubicBezTo>
                    <a:pt x="0" y="299"/>
                    <a:pt x="2" y="303"/>
                    <a:pt x="3" y="306"/>
                  </a:cubicBezTo>
                  <a:cubicBezTo>
                    <a:pt x="5" y="311"/>
                    <a:pt x="7" y="315"/>
                    <a:pt x="5" y="319"/>
                  </a:cubicBezTo>
                  <a:cubicBezTo>
                    <a:pt x="5" y="321"/>
                    <a:pt x="5" y="321"/>
                    <a:pt x="5" y="321"/>
                  </a:cubicBezTo>
                  <a:cubicBezTo>
                    <a:pt x="6" y="322"/>
                    <a:pt x="6" y="322"/>
                    <a:pt x="6" y="322"/>
                  </a:cubicBezTo>
                  <a:cubicBezTo>
                    <a:pt x="7" y="323"/>
                    <a:pt x="9" y="324"/>
                    <a:pt x="10" y="326"/>
                  </a:cubicBezTo>
                  <a:cubicBezTo>
                    <a:pt x="11" y="327"/>
                    <a:pt x="11" y="328"/>
                    <a:pt x="12" y="329"/>
                  </a:cubicBezTo>
                  <a:cubicBezTo>
                    <a:pt x="13" y="330"/>
                    <a:pt x="13" y="331"/>
                    <a:pt x="14" y="332"/>
                  </a:cubicBezTo>
                  <a:cubicBezTo>
                    <a:pt x="16" y="335"/>
                    <a:pt x="18" y="337"/>
                    <a:pt x="19" y="340"/>
                  </a:cubicBezTo>
                  <a:cubicBezTo>
                    <a:pt x="20" y="342"/>
                    <a:pt x="20" y="342"/>
                    <a:pt x="20" y="342"/>
                  </a:cubicBezTo>
                  <a:cubicBezTo>
                    <a:pt x="22" y="341"/>
                    <a:pt x="22" y="341"/>
                    <a:pt x="22" y="341"/>
                  </a:cubicBezTo>
                  <a:cubicBezTo>
                    <a:pt x="23" y="341"/>
                    <a:pt x="24" y="341"/>
                    <a:pt x="25" y="341"/>
                  </a:cubicBezTo>
                  <a:cubicBezTo>
                    <a:pt x="28" y="341"/>
                    <a:pt x="30" y="342"/>
                    <a:pt x="31" y="344"/>
                  </a:cubicBezTo>
                  <a:cubicBezTo>
                    <a:pt x="32" y="345"/>
                    <a:pt x="32" y="347"/>
                    <a:pt x="32" y="348"/>
                  </a:cubicBezTo>
                  <a:cubicBezTo>
                    <a:pt x="33" y="350"/>
                    <a:pt x="33" y="352"/>
                    <a:pt x="36" y="354"/>
                  </a:cubicBezTo>
                  <a:cubicBezTo>
                    <a:pt x="37" y="355"/>
                    <a:pt x="37" y="355"/>
                    <a:pt x="37" y="355"/>
                  </a:cubicBezTo>
                  <a:cubicBezTo>
                    <a:pt x="40" y="357"/>
                    <a:pt x="41" y="358"/>
                    <a:pt x="42" y="363"/>
                  </a:cubicBezTo>
                  <a:cubicBezTo>
                    <a:pt x="42" y="364"/>
                    <a:pt x="42" y="365"/>
                    <a:pt x="42" y="366"/>
                  </a:cubicBezTo>
                  <a:cubicBezTo>
                    <a:pt x="43" y="369"/>
                    <a:pt x="43" y="372"/>
                    <a:pt x="44" y="374"/>
                  </a:cubicBezTo>
                  <a:cubicBezTo>
                    <a:pt x="47" y="382"/>
                    <a:pt x="50" y="389"/>
                    <a:pt x="47" y="398"/>
                  </a:cubicBezTo>
                  <a:cubicBezTo>
                    <a:pt x="46" y="402"/>
                    <a:pt x="45" y="405"/>
                    <a:pt x="47" y="410"/>
                  </a:cubicBezTo>
                  <a:cubicBezTo>
                    <a:pt x="48" y="414"/>
                    <a:pt x="49" y="417"/>
                    <a:pt x="49" y="421"/>
                  </a:cubicBezTo>
                  <a:cubicBezTo>
                    <a:pt x="50" y="427"/>
                    <a:pt x="54" y="434"/>
                    <a:pt x="60" y="439"/>
                  </a:cubicBezTo>
                  <a:cubicBezTo>
                    <a:pt x="60" y="439"/>
                    <a:pt x="61" y="439"/>
                    <a:pt x="62" y="440"/>
                  </a:cubicBezTo>
                  <a:cubicBezTo>
                    <a:pt x="63" y="440"/>
                    <a:pt x="64" y="441"/>
                    <a:pt x="65" y="442"/>
                  </a:cubicBezTo>
                  <a:cubicBezTo>
                    <a:pt x="65" y="443"/>
                    <a:pt x="64" y="443"/>
                    <a:pt x="64" y="444"/>
                  </a:cubicBezTo>
                  <a:cubicBezTo>
                    <a:pt x="63" y="444"/>
                    <a:pt x="63" y="445"/>
                    <a:pt x="62" y="445"/>
                  </a:cubicBezTo>
                  <a:cubicBezTo>
                    <a:pt x="61" y="445"/>
                    <a:pt x="59" y="444"/>
                    <a:pt x="58" y="444"/>
                  </a:cubicBezTo>
                  <a:cubicBezTo>
                    <a:pt x="57" y="443"/>
                    <a:pt x="57" y="443"/>
                    <a:pt x="57" y="443"/>
                  </a:cubicBezTo>
                  <a:cubicBezTo>
                    <a:pt x="55" y="442"/>
                    <a:pt x="53" y="442"/>
                    <a:pt x="50" y="442"/>
                  </a:cubicBezTo>
                  <a:cubicBezTo>
                    <a:pt x="49" y="442"/>
                    <a:pt x="48" y="442"/>
                    <a:pt x="47" y="442"/>
                  </a:cubicBezTo>
                  <a:cubicBezTo>
                    <a:pt x="45" y="443"/>
                    <a:pt x="43" y="443"/>
                    <a:pt x="41" y="443"/>
                  </a:cubicBezTo>
                  <a:cubicBezTo>
                    <a:pt x="40" y="443"/>
                    <a:pt x="39" y="443"/>
                    <a:pt x="38" y="442"/>
                  </a:cubicBezTo>
                  <a:cubicBezTo>
                    <a:pt x="36" y="442"/>
                    <a:pt x="36" y="442"/>
                    <a:pt x="36" y="442"/>
                  </a:cubicBezTo>
                  <a:cubicBezTo>
                    <a:pt x="34" y="442"/>
                    <a:pt x="32" y="441"/>
                    <a:pt x="30" y="441"/>
                  </a:cubicBezTo>
                  <a:cubicBezTo>
                    <a:pt x="29" y="441"/>
                    <a:pt x="28" y="441"/>
                    <a:pt x="27" y="442"/>
                  </a:cubicBezTo>
                  <a:cubicBezTo>
                    <a:pt x="25" y="443"/>
                    <a:pt x="24" y="445"/>
                    <a:pt x="23" y="447"/>
                  </a:cubicBezTo>
                  <a:cubicBezTo>
                    <a:pt x="22" y="447"/>
                    <a:pt x="22" y="448"/>
                    <a:pt x="21" y="449"/>
                  </a:cubicBezTo>
                  <a:cubicBezTo>
                    <a:pt x="21" y="450"/>
                    <a:pt x="20" y="450"/>
                    <a:pt x="19" y="451"/>
                  </a:cubicBezTo>
                  <a:cubicBezTo>
                    <a:pt x="18" y="452"/>
                    <a:pt x="16" y="453"/>
                    <a:pt x="17" y="455"/>
                  </a:cubicBezTo>
                  <a:cubicBezTo>
                    <a:pt x="17" y="457"/>
                    <a:pt x="19" y="458"/>
                    <a:pt x="20" y="460"/>
                  </a:cubicBezTo>
                  <a:cubicBezTo>
                    <a:pt x="21" y="460"/>
                    <a:pt x="21" y="461"/>
                    <a:pt x="22" y="461"/>
                  </a:cubicBezTo>
                  <a:cubicBezTo>
                    <a:pt x="23" y="463"/>
                    <a:pt x="25" y="465"/>
                    <a:pt x="27" y="467"/>
                  </a:cubicBezTo>
                  <a:cubicBezTo>
                    <a:pt x="31" y="472"/>
                    <a:pt x="34" y="477"/>
                    <a:pt x="39" y="481"/>
                  </a:cubicBezTo>
                  <a:cubicBezTo>
                    <a:pt x="41" y="482"/>
                    <a:pt x="42" y="482"/>
                    <a:pt x="43" y="483"/>
                  </a:cubicBezTo>
                  <a:cubicBezTo>
                    <a:pt x="46" y="485"/>
                    <a:pt x="49" y="487"/>
                    <a:pt x="51" y="490"/>
                  </a:cubicBezTo>
                  <a:cubicBezTo>
                    <a:pt x="56" y="498"/>
                    <a:pt x="59" y="509"/>
                    <a:pt x="61" y="517"/>
                  </a:cubicBezTo>
                  <a:cubicBezTo>
                    <a:pt x="62" y="519"/>
                    <a:pt x="62" y="520"/>
                    <a:pt x="62" y="522"/>
                  </a:cubicBezTo>
                  <a:cubicBezTo>
                    <a:pt x="62" y="524"/>
                    <a:pt x="62" y="524"/>
                    <a:pt x="62" y="524"/>
                  </a:cubicBezTo>
                  <a:cubicBezTo>
                    <a:pt x="63" y="524"/>
                    <a:pt x="63" y="524"/>
                    <a:pt x="63" y="524"/>
                  </a:cubicBezTo>
                  <a:cubicBezTo>
                    <a:pt x="64" y="524"/>
                    <a:pt x="66" y="525"/>
                    <a:pt x="67" y="525"/>
                  </a:cubicBezTo>
                  <a:cubicBezTo>
                    <a:pt x="68" y="525"/>
                    <a:pt x="69" y="526"/>
                    <a:pt x="70" y="526"/>
                  </a:cubicBezTo>
                  <a:cubicBezTo>
                    <a:pt x="71" y="526"/>
                    <a:pt x="71" y="526"/>
                    <a:pt x="71" y="526"/>
                  </a:cubicBezTo>
                  <a:cubicBezTo>
                    <a:pt x="72" y="527"/>
                    <a:pt x="72" y="527"/>
                    <a:pt x="72" y="527"/>
                  </a:cubicBezTo>
                  <a:cubicBezTo>
                    <a:pt x="73" y="526"/>
                    <a:pt x="73" y="526"/>
                    <a:pt x="73" y="526"/>
                  </a:cubicBezTo>
                  <a:cubicBezTo>
                    <a:pt x="74" y="526"/>
                    <a:pt x="74" y="526"/>
                    <a:pt x="74" y="526"/>
                  </a:cubicBezTo>
                  <a:cubicBezTo>
                    <a:pt x="75" y="525"/>
                    <a:pt x="75" y="525"/>
                    <a:pt x="76" y="525"/>
                  </a:cubicBezTo>
                  <a:cubicBezTo>
                    <a:pt x="76" y="525"/>
                    <a:pt x="77" y="524"/>
                    <a:pt x="77" y="524"/>
                  </a:cubicBezTo>
                  <a:cubicBezTo>
                    <a:pt x="78" y="524"/>
                    <a:pt x="78" y="524"/>
                    <a:pt x="79" y="523"/>
                  </a:cubicBezTo>
                  <a:cubicBezTo>
                    <a:pt x="79" y="523"/>
                    <a:pt x="80" y="522"/>
                    <a:pt x="81" y="522"/>
                  </a:cubicBezTo>
                  <a:cubicBezTo>
                    <a:pt x="81" y="522"/>
                    <a:pt x="82" y="522"/>
                    <a:pt x="82" y="521"/>
                  </a:cubicBezTo>
                  <a:cubicBezTo>
                    <a:pt x="83" y="521"/>
                    <a:pt x="84" y="521"/>
                    <a:pt x="85" y="520"/>
                  </a:cubicBezTo>
                  <a:cubicBezTo>
                    <a:pt x="87" y="520"/>
                    <a:pt x="88" y="518"/>
                    <a:pt x="88" y="517"/>
                  </a:cubicBezTo>
                  <a:cubicBezTo>
                    <a:pt x="89" y="516"/>
                    <a:pt x="90" y="515"/>
                    <a:pt x="91" y="515"/>
                  </a:cubicBezTo>
                  <a:cubicBezTo>
                    <a:pt x="92" y="515"/>
                    <a:pt x="92" y="514"/>
                    <a:pt x="92" y="514"/>
                  </a:cubicBezTo>
                  <a:cubicBezTo>
                    <a:pt x="93" y="514"/>
                    <a:pt x="93" y="514"/>
                    <a:pt x="93" y="515"/>
                  </a:cubicBezTo>
                  <a:cubicBezTo>
                    <a:pt x="94" y="515"/>
                    <a:pt x="95" y="517"/>
                    <a:pt x="96" y="520"/>
                  </a:cubicBezTo>
                  <a:cubicBezTo>
                    <a:pt x="96" y="520"/>
                    <a:pt x="96" y="521"/>
                    <a:pt x="97" y="521"/>
                  </a:cubicBezTo>
                  <a:cubicBezTo>
                    <a:pt x="97" y="523"/>
                    <a:pt x="98" y="523"/>
                    <a:pt x="99" y="523"/>
                  </a:cubicBezTo>
                  <a:cubicBezTo>
                    <a:pt x="100" y="524"/>
                    <a:pt x="100" y="524"/>
                    <a:pt x="100" y="524"/>
                  </a:cubicBezTo>
                  <a:cubicBezTo>
                    <a:pt x="100" y="523"/>
                    <a:pt x="100" y="523"/>
                    <a:pt x="100" y="523"/>
                  </a:cubicBezTo>
                  <a:cubicBezTo>
                    <a:pt x="101" y="523"/>
                    <a:pt x="101" y="523"/>
                    <a:pt x="102" y="523"/>
                  </a:cubicBezTo>
                  <a:cubicBezTo>
                    <a:pt x="103" y="521"/>
                    <a:pt x="105" y="521"/>
                    <a:pt x="107" y="520"/>
                  </a:cubicBezTo>
                  <a:cubicBezTo>
                    <a:pt x="108" y="520"/>
                    <a:pt x="109" y="519"/>
                    <a:pt x="111" y="518"/>
                  </a:cubicBezTo>
                  <a:cubicBezTo>
                    <a:pt x="112" y="518"/>
                    <a:pt x="113" y="517"/>
                    <a:pt x="113" y="516"/>
                  </a:cubicBezTo>
                  <a:cubicBezTo>
                    <a:pt x="114" y="515"/>
                    <a:pt x="115" y="514"/>
                    <a:pt x="117" y="514"/>
                  </a:cubicBezTo>
                  <a:cubicBezTo>
                    <a:pt x="119" y="513"/>
                    <a:pt x="120" y="513"/>
                    <a:pt x="122" y="512"/>
                  </a:cubicBezTo>
                  <a:cubicBezTo>
                    <a:pt x="123" y="512"/>
                    <a:pt x="125" y="511"/>
                    <a:pt x="126" y="511"/>
                  </a:cubicBezTo>
                  <a:cubicBezTo>
                    <a:pt x="129" y="510"/>
                    <a:pt x="132" y="510"/>
                    <a:pt x="135" y="508"/>
                  </a:cubicBezTo>
                  <a:cubicBezTo>
                    <a:pt x="136" y="508"/>
                    <a:pt x="138" y="508"/>
                    <a:pt x="139" y="508"/>
                  </a:cubicBezTo>
                  <a:cubicBezTo>
                    <a:pt x="142" y="508"/>
                    <a:pt x="142" y="508"/>
                    <a:pt x="142" y="508"/>
                  </a:cubicBezTo>
                  <a:cubicBezTo>
                    <a:pt x="143" y="508"/>
                    <a:pt x="143" y="508"/>
                    <a:pt x="144" y="508"/>
                  </a:cubicBezTo>
                  <a:cubicBezTo>
                    <a:pt x="144" y="507"/>
                    <a:pt x="145" y="507"/>
                    <a:pt x="146" y="507"/>
                  </a:cubicBezTo>
                  <a:cubicBezTo>
                    <a:pt x="147" y="507"/>
                    <a:pt x="147" y="507"/>
                    <a:pt x="148" y="507"/>
                  </a:cubicBezTo>
                  <a:cubicBezTo>
                    <a:pt x="149" y="507"/>
                    <a:pt x="149" y="507"/>
                    <a:pt x="150" y="507"/>
                  </a:cubicBezTo>
                  <a:cubicBezTo>
                    <a:pt x="150" y="507"/>
                    <a:pt x="151" y="507"/>
                    <a:pt x="152" y="507"/>
                  </a:cubicBezTo>
                  <a:cubicBezTo>
                    <a:pt x="152" y="507"/>
                    <a:pt x="152" y="507"/>
                    <a:pt x="152" y="507"/>
                  </a:cubicBezTo>
                  <a:cubicBezTo>
                    <a:pt x="153" y="507"/>
                    <a:pt x="153" y="507"/>
                    <a:pt x="153" y="507"/>
                  </a:cubicBezTo>
                  <a:cubicBezTo>
                    <a:pt x="153" y="507"/>
                    <a:pt x="153" y="507"/>
                    <a:pt x="153" y="507"/>
                  </a:cubicBezTo>
                  <a:cubicBezTo>
                    <a:pt x="154" y="506"/>
                    <a:pt x="154" y="505"/>
                    <a:pt x="154" y="504"/>
                  </a:cubicBezTo>
                  <a:cubicBezTo>
                    <a:pt x="154" y="504"/>
                    <a:pt x="154" y="503"/>
                    <a:pt x="155" y="503"/>
                  </a:cubicBezTo>
                  <a:cubicBezTo>
                    <a:pt x="155" y="502"/>
                    <a:pt x="156" y="502"/>
                    <a:pt x="156" y="502"/>
                  </a:cubicBezTo>
                  <a:cubicBezTo>
                    <a:pt x="157" y="501"/>
                    <a:pt x="157" y="501"/>
                    <a:pt x="158" y="501"/>
                  </a:cubicBezTo>
                  <a:cubicBezTo>
                    <a:pt x="160" y="500"/>
                    <a:pt x="162" y="497"/>
                    <a:pt x="163" y="494"/>
                  </a:cubicBezTo>
                  <a:cubicBezTo>
                    <a:pt x="164" y="494"/>
                    <a:pt x="164" y="494"/>
                    <a:pt x="164" y="494"/>
                  </a:cubicBezTo>
                  <a:cubicBezTo>
                    <a:pt x="164" y="493"/>
                    <a:pt x="165" y="492"/>
                    <a:pt x="165" y="491"/>
                  </a:cubicBezTo>
                  <a:cubicBezTo>
                    <a:pt x="166" y="490"/>
                    <a:pt x="167" y="488"/>
                    <a:pt x="167" y="486"/>
                  </a:cubicBezTo>
                  <a:cubicBezTo>
                    <a:pt x="167" y="485"/>
                    <a:pt x="167" y="485"/>
                    <a:pt x="167" y="485"/>
                  </a:cubicBezTo>
                  <a:cubicBezTo>
                    <a:pt x="166" y="484"/>
                    <a:pt x="166" y="484"/>
                    <a:pt x="166" y="484"/>
                  </a:cubicBezTo>
                  <a:cubicBezTo>
                    <a:pt x="164" y="484"/>
                    <a:pt x="161" y="482"/>
                    <a:pt x="161" y="481"/>
                  </a:cubicBezTo>
                  <a:cubicBezTo>
                    <a:pt x="161" y="480"/>
                    <a:pt x="161" y="479"/>
                    <a:pt x="162" y="478"/>
                  </a:cubicBezTo>
                  <a:cubicBezTo>
                    <a:pt x="165" y="476"/>
                    <a:pt x="170" y="475"/>
                    <a:pt x="173" y="475"/>
                  </a:cubicBezTo>
                  <a:cubicBezTo>
                    <a:pt x="178" y="475"/>
                    <a:pt x="178" y="475"/>
                    <a:pt x="178" y="475"/>
                  </a:cubicBezTo>
                  <a:cubicBezTo>
                    <a:pt x="180" y="475"/>
                    <a:pt x="184" y="475"/>
                    <a:pt x="187" y="475"/>
                  </a:cubicBezTo>
                  <a:cubicBezTo>
                    <a:pt x="189" y="475"/>
                    <a:pt x="191" y="474"/>
                    <a:pt x="193" y="473"/>
                  </a:cubicBezTo>
                  <a:cubicBezTo>
                    <a:pt x="194" y="472"/>
                    <a:pt x="196" y="472"/>
                    <a:pt x="198" y="471"/>
                  </a:cubicBezTo>
                  <a:cubicBezTo>
                    <a:pt x="198" y="471"/>
                    <a:pt x="198" y="471"/>
                    <a:pt x="199" y="471"/>
                  </a:cubicBezTo>
                  <a:cubicBezTo>
                    <a:pt x="200" y="471"/>
                    <a:pt x="200" y="471"/>
                    <a:pt x="201" y="472"/>
                  </a:cubicBezTo>
                  <a:cubicBezTo>
                    <a:pt x="202" y="472"/>
                    <a:pt x="203" y="472"/>
                    <a:pt x="204" y="472"/>
                  </a:cubicBezTo>
                  <a:cubicBezTo>
                    <a:pt x="204" y="472"/>
                    <a:pt x="204" y="472"/>
                    <a:pt x="204" y="472"/>
                  </a:cubicBezTo>
                  <a:cubicBezTo>
                    <a:pt x="205" y="472"/>
                    <a:pt x="206" y="472"/>
                    <a:pt x="206" y="471"/>
                  </a:cubicBezTo>
                  <a:cubicBezTo>
                    <a:pt x="206" y="471"/>
                    <a:pt x="206" y="471"/>
                    <a:pt x="206" y="471"/>
                  </a:cubicBezTo>
                  <a:cubicBezTo>
                    <a:pt x="206" y="471"/>
                    <a:pt x="206" y="471"/>
                    <a:pt x="206" y="471"/>
                  </a:cubicBezTo>
                  <a:cubicBezTo>
                    <a:pt x="207" y="471"/>
                    <a:pt x="207" y="470"/>
                    <a:pt x="207" y="470"/>
                  </a:cubicBezTo>
                  <a:cubicBezTo>
                    <a:pt x="207" y="469"/>
                    <a:pt x="207" y="469"/>
                    <a:pt x="208" y="468"/>
                  </a:cubicBezTo>
                  <a:cubicBezTo>
                    <a:pt x="209" y="467"/>
                    <a:pt x="210" y="467"/>
                    <a:pt x="211" y="466"/>
                  </a:cubicBezTo>
                  <a:cubicBezTo>
                    <a:pt x="211" y="466"/>
                    <a:pt x="212" y="466"/>
                    <a:pt x="213" y="465"/>
                  </a:cubicBezTo>
                  <a:cubicBezTo>
                    <a:pt x="214" y="464"/>
                    <a:pt x="215" y="463"/>
                    <a:pt x="215" y="462"/>
                  </a:cubicBezTo>
                  <a:cubicBezTo>
                    <a:pt x="216" y="461"/>
                    <a:pt x="216" y="461"/>
                    <a:pt x="216" y="460"/>
                  </a:cubicBezTo>
                  <a:cubicBezTo>
                    <a:pt x="218" y="458"/>
                    <a:pt x="220" y="456"/>
                    <a:pt x="221" y="454"/>
                  </a:cubicBezTo>
                  <a:cubicBezTo>
                    <a:pt x="223" y="453"/>
                    <a:pt x="224" y="451"/>
                    <a:pt x="225" y="450"/>
                  </a:cubicBezTo>
                  <a:cubicBezTo>
                    <a:pt x="226" y="449"/>
                    <a:pt x="226" y="449"/>
                    <a:pt x="226" y="448"/>
                  </a:cubicBezTo>
                  <a:cubicBezTo>
                    <a:pt x="227" y="447"/>
                    <a:pt x="227" y="446"/>
                    <a:pt x="229" y="445"/>
                  </a:cubicBezTo>
                  <a:cubicBezTo>
                    <a:pt x="229" y="445"/>
                    <a:pt x="230" y="445"/>
                    <a:pt x="231" y="445"/>
                  </a:cubicBezTo>
                  <a:cubicBezTo>
                    <a:pt x="232" y="445"/>
                    <a:pt x="233" y="445"/>
                    <a:pt x="234" y="443"/>
                  </a:cubicBezTo>
                  <a:cubicBezTo>
                    <a:pt x="234" y="442"/>
                    <a:pt x="234" y="442"/>
                    <a:pt x="235" y="441"/>
                  </a:cubicBezTo>
                  <a:cubicBezTo>
                    <a:pt x="235" y="439"/>
                    <a:pt x="235" y="438"/>
                    <a:pt x="236" y="437"/>
                  </a:cubicBezTo>
                  <a:cubicBezTo>
                    <a:pt x="237" y="437"/>
                    <a:pt x="237" y="436"/>
                    <a:pt x="238" y="436"/>
                  </a:cubicBezTo>
                  <a:cubicBezTo>
                    <a:pt x="239" y="435"/>
                    <a:pt x="240" y="435"/>
                    <a:pt x="241" y="433"/>
                  </a:cubicBezTo>
                  <a:cubicBezTo>
                    <a:pt x="242" y="431"/>
                    <a:pt x="242" y="430"/>
                    <a:pt x="242" y="429"/>
                  </a:cubicBezTo>
                  <a:cubicBezTo>
                    <a:pt x="242" y="428"/>
                    <a:pt x="242" y="428"/>
                    <a:pt x="242" y="427"/>
                  </a:cubicBezTo>
                  <a:cubicBezTo>
                    <a:pt x="241" y="422"/>
                    <a:pt x="246" y="420"/>
                    <a:pt x="250" y="418"/>
                  </a:cubicBezTo>
                  <a:cubicBezTo>
                    <a:pt x="252" y="418"/>
                    <a:pt x="253" y="417"/>
                    <a:pt x="254" y="416"/>
                  </a:cubicBezTo>
                  <a:cubicBezTo>
                    <a:pt x="255" y="416"/>
                    <a:pt x="256" y="415"/>
                    <a:pt x="256" y="415"/>
                  </a:cubicBezTo>
                  <a:cubicBezTo>
                    <a:pt x="257" y="415"/>
                    <a:pt x="257" y="414"/>
                    <a:pt x="258" y="414"/>
                  </a:cubicBezTo>
                  <a:cubicBezTo>
                    <a:pt x="258" y="414"/>
                    <a:pt x="258" y="414"/>
                    <a:pt x="258" y="414"/>
                  </a:cubicBezTo>
                  <a:cubicBezTo>
                    <a:pt x="261" y="412"/>
                    <a:pt x="263" y="411"/>
                    <a:pt x="266" y="411"/>
                  </a:cubicBezTo>
                  <a:cubicBezTo>
                    <a:pt x="267" y="411"/>
                    <a:pt x="268" y="411"/>
                    <a:pt x="268" y="411"/>
                  </a:cubicBezTo>
                  <a:cubicBezTo>
                    <a:pt x="269" y="411"/>
                    <a:pt x="269" y="411"/>
                    <a:pt x="270" y="412"/>
                  </a:cubicBezTo>
                  <a:cubicBezTo>
                    <a:pt x="272" y="412"/>
                    <a:pt x="273" y="412"/>
                    <a:pt x="274" y="412"/>
                  </a:cubicBezTo>
                  <a:cubicBezTo>
                    <a:pt x="275" y="412"/>
                    <a:pt x="275" y="412"/>
                    <a:pt x="275" y="412"/>
                  </a:cubicBezTo>
                  <a:cubicBezTo>
                    <a:pt x="275" y="412"/>
                    <a:pt x="275" y="412"/>
                    <a:pt x="275" y="412"/>
                  </a:cubicBezTo>
                  <a:cubicBezTo>
                    <a:pt x="276" y="412"/>
                    <a:pt x="276" y="412"/>
                    <a:pt x="276" y="412"/>
                  </a:cubicBezTo>
                  <a:cubicBezTo>
                    <a:pt x="276" y="411"/>
                    <a:pt x="276" y="411"/>
                    <a:pt x="276" y="411"/>
                  </a:cubicBezTo>
                  <a:cubicBezTo>
                    <a:pt x="277" y="408"/>
                    <a:pt x="278" y="406"/>
                    <a:pt x="278" y="402"/>
                  </a:cubicBezTo>
                  <a:cubicBezTo>
                    <a:pt x="278" y="399"/>
                    <a:pt x="278" y="397"/>
                    <a:pt x="275" y="395"/>
                  </a:cubicBezTo>
                  <a:cubicBezTo>
                    <a:pt x="274" y="394"/>
                    <a:pt x="273" y="394"/>
                    <a:pt x="272" y="394"/>
                  </a:cubicBezTo>
                  <a:cubicBezTo>
                    <a:pt x="270" y="393"/>
                    <a:pt x="269" y="393"/>
                    <a:pt x="267" y="391"/>
                  </a:cubicBezTo>
                  <a:cubicBezTo>
                    <a:pt x="265" y="389"/>
                    <a:pt x="266" y="386"/>
                    <a:pt x="267" y="383"/>
                  </a:cubicBezTo>
                  <a:cubicBezTo>
                    <a:pt x="267" y="380"/>
                    <a:pt x="268" y="378"/>
                    <a:pt x="267" y="375"/>
                  </a:cubicBezTo>
                  <a:cubicBezTo>
                    <a:pt x="266" y="373"/>
                    <a:pt x="265" y="372"/>
                    <a:pt x="263" y="371"/>
                  </a:cubicBezTo>
                  <a:cubicBezTo>
                    <a:pt x="261" y="368"/>
                    <a:pt x="260" y="366"/>
                    <a:pt x="261" y="363"/>
                  </a:cubicBezTo>
                  <a:cubicBezTo>
                    <a:pt x="262" y="360"/>
                    <a:pt x="262" y="357"/>
                    <a:pt x="260" y="355"/>
                  </a:cubicBezTo>
                  <a:cubicBezTo>
                    <a:pt x="260" y="354"/>
                    <a:pt x="258" y="353"/>
                    <a:pt x="255" y="353"/>
                  </a:cubicBezTo>
                  <a:cubicBezTo>
                    <a:pt x="254" y="353"/>
                    <a:pt x="254" y="353"/>
                    <a:pt x="254" y="353"/>
                  </a:cubicBezTo>
                  <a:cubicBezTo>
                    <a:pt x="253" y="354"/>
                    <a:pt x="253" y="354"/>
                    <a:pt x="253" y="354"/>
                  </a:cubicBezTo>
                  <a:cubicBezTo>
                    <a:pt x="253" y="355"/>
                    <a:pt x="252" y="356"/>
                    <a:pt x="251" y="356"/>
                  </a:cubicBezTo>
                  <a:cubicBezTo>
                    <a:pt x="251" y="356"/>
                    <a:pt x="250" y="356"/>
                    <a:pt x="250" y="356"/>
                  </a:cubicBezTo>
                  <a:cubicBezTo>
                    <a:pt x="249" y="356"/>
                    <a:pt x="249" y="356"/>
                    <a:pt x="248" y="356"/>
                  </a:cubicBezTo>
                  <a:cubicBezTo>
                    <a:pt x="246" y="355"/>
                    <a:pt x="246" y="353"/>
                    <a:pt x="246" y="350"/>
                  </a:cubicBezTo>
                  <a:cubicBezTo>
                    <a:pt x="246" y="345"/>
                    <a:pt x="249" y="340"/>
                    <a:pt x="252" y="337"/>
                  </a:cubicBezTo>
                  <a:cubicBezTo>
                    <a:pt x="253" y="337"/>
                    <a:pt x="254" y="336"/>
                    <a:pt x="254" y="336"/>
                  </a:cubicBezTo>
                  <a:cubicBezTo>
                    <a:pt x="256" y="336"/>
                    <a:pt x="257" y="335"/>
                    <a:pt x="257" y="333"/>
                  </a:cubicBezTo>
                  <a:cubicBezTo>
                    <a:pt x="257" y="331"/>
                    <a:pt x="256" y="330"/>
                    <a:pt x="255" y="328"/>
                  </a:cubicBezTo>
                  <a:cubicBezTo>
                    <a:pt x="255" y="328"/>
                    <a:pt x="254" y="327"/>
                    <a:pt x="254" y="327"/>
                  </a:cubicBezTo>
                  <a:cubicBezTo>
                    <a:pt x="252" y="322"/>
                    <a:pt x="250" y="319"/>
                    <a:pt x="254" y="315"/>
                  </a:cubicBezTo>
                  <a:cubicBezTo>
                    <a:pt x="256" y="313"/>
                    <a:pt x="257" y="311"/>
                    <a:pt x="259" y="310"/>
                  </a:cubicBezTo>
                  <a:cubicBezTo>
                    <a:pt x="260" y="310"/>
                    <a:pt x="260" y="310"/>
                    <a:pt x="261" y="309"/>
                  </a:cubicBezTo>
                  <a:cubicBezTo>
                    <a:pt x="263" y="309"/>
                    <a:pt x="264" y="308"/>
                    <a:pt x="265" y="307"/>
                  </a:cubicBezTo>
                  <a:cubicBezTo>
                    <a:pt x="267" y="304"/>
                    <a:pt x="264" y="301"/>
                    <a:pt x="262" y="299"/>
                  </a:cubicBezTo>
                  <a:cubicBezTo>
                    <a:pt x="259" y="297"/>
                    <a:pt x="259" y="295"/>
                    <a:pt x="260" y="294"/>
                  </a:cubicBezTo>
                  <a:cubicBezTo>
                    <a:pt x="261" y="293"/>
                    <a:pt x="262" y="293"/>
                    <a:pt x="263" y="292"/>
                  </a:cubicBezTo>
                  <a:cubicBezTo>
                    <a:pt x="265" y="292"/>
                    <a:pt x="266" y="292"/>
                    <a:pt x="267" y="290"/>
                  </a:cubicBezTo>
                  <a:cubicBezTo>
                    <a:pt x="268" y="289"/>
                    <a:pt x="268" y="288"/>
                    <a:pt x="268" y="286"/>
                  </a:cubicBezTo>
                  <a:cubicBezTo>
                    <a:pt x="268" y="285"/>
                    <a:pt x="268" y="284"/>
                    <a:pt x="268" y="283"/>
                  </a:cubicBezTo>
                  <a:cubicBezTo>
                    <a:pt x="269" y="281"/>
                    <a:pt x="270" y="280"/>
                    <a:pt x="272" y="278"/>
                  </a:cubicBezTo>
                  <a:cubicBezTo>
                    <a:pt x="274" y="277"/>
                    <a:pt x="275" y="275"/>
                    <a:pt x="276" y="274"/>
                  </a:cubicBezTo>
                  <a:cubicBezTo>
                    <a:pt x="277" y="271"/>
                    <a:pt x="276" y="269"/>
                    <a:pt x="276" y="267"/>
                  </a:cubicBezTo>
                  <a:cubicBezTo>
                    <a:pt x="275" y="264"/>
                    <a:pt x="275" y="262"/>
                    <a:pt x="276" y="259"/>
                  </a:cubicBezTo>
                  <a:cubicBezTo>
                    <a:pt x="277" y="258"/>
                    <a:pt x="279" y="257"/>
                    <a:pt x="281" y="257"/>
                  </a:cubicBezTo>
                  <a:cubicBezTo>
                    <a:pt x="282" y="257"/>
                    <a:pt x="283" y="257"/>
                    <a:pt x="284" y="257"/>
                  </a:cubicBezTo>
                  <a:cubicBezTo>
                    <a:pt x="285" y="257"/>
                    <a:pt x="286" y="257"/>
                    <a:pt x="287" y="257"/>
                  </a:cubicBezTo>
                  <a:cubicBezTo>
                    <a:pt x="289" y="257"/>
                    <a:pt x="290" y="256"/>
                    <a:pt x="292" y="256"/>
                  </a:cubicBezTo>
                  <a:cubicBezTo>
                    <a:pt x="293" y="255"/>
                    <a:pt x="294" y="254"/>
                    <a:pt x="296" y="254"/>
                  </a:cubicBezTo>
                  <a:cubicBezTo>
                    <a:pt x="297" y="254"/>
                    <a:pt x="297" y="254"/>
                    <a:pt x="297" y="254"/>
                  </a:cubicBezTo>
                  <a:cubicBezTo>
                    <a:pt x="298" y="254"/>
                    <a:pt x="298" y="254"/>
                    <a:pt x="299" y="254"/>
                  </a:cubicBezTo>
                  <a:cubicBezTo>
                    <a:pt x="300" y="254"/>
                    <a:pt x="301" y="255"/>
                    <a:pt x="302" y="255"/>
                  </a:cubicBezTo>
                  <a:cubicBezTo>
                    <a:pt x="303" y="255"/>
                    <a:pt x="303" y="255"/>
                    <a:pt x="304" y="254"/>
                  </a:cubicBezTo>
                  <a:cubicBezTo>
                    <a:pt x="304" y="254"/>
                    <a:pt x="305" y="253"/>
                    <a:pt x="305" y="252"/>
                  </a:cubicBezTo>
                  <a:cubicBezTo>
                    <a:pt x="305" y="251"/>
                    <a:pt x="305" y="250"/>
                    <a:pt x="305" y="248"/>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39" name="Freeform 35">
              <a:extLst>
                <a:ext uri="{FF2B5EF4-FFF2-40B4-BE49-F238E27FC236}">
                  <a16:creationId xmlns:a16="http://schemas.microsoft.com/office/drawing/2014/main" id="{97EBAC33-7698-424E-97CA-9BED1D79E1B5}"/>
                </a:ext>
              </a:extLst>
            </p:cNvPr>
            <p:cNvSpPr>
              <a:spLocks/>
            </p:cNvSpPr>
            <p:nvPr/>
          </p:nvSpPr>
          <p:spPr bwMode="auto">
            <a:xfrm>
              <a:off x="2818058" y="1847745"/>
              <a:ext cx="761127" cy="547578"/>
            </a:xfrm>
            <a:custGeom>
              <a:avLst/>
              <a:gdLst>
                <a:gd name="T0" fmla="*/ 366 w 376"/>
                <a:gd name="T1" fmla="*/ 170 h 294"/>
                <a:gd name="T2" fmla="*/ 353 w 376"/>
                <a:gd name="T3" fmla="*/ 164 h 294"/>
                <a:gd name="T4" fmla="*/ 346 w 376"/>
                <a:gd name="T5" fmla="*/ 147 h 294"/>
                <a:gd name="T6" fmla="*/ 343 w 376"/>
                <a:gd name="T7" fmla="*/ 140 h 294"/>
                <a:gd name="T8" fmla="*/ 330 w 376"/>
                <a:gd name="T9" fmla="*/ 127 h 294"/>
                <a:gd name="T10" fmla="*/ 314 w 376"/>
                <a:gd name="T11" fmla="*/ 110 h 294"/>
                <a:gd name="T12" fmla="*/ 303 w 376"/>
                <a:gd name="T13" fmla="*/ 95 h 294"/>
                <a:gd name="T14" fmla="*/ 283 w 376"/>
                <a:gd name="T15" fmla="*/ 83 h 294"/>
                <a:gd name="T16" fmla="*/ 264 w 376"/>
                <a:gd name="T17" fmla="*/ 75 h 294"/>
                <a:gd name="T18" fmla="*/ 263 w 376"/>
                <a:gd name="T19" fmla="*/ 60 h 294"/>
                <a:gd name="T20" fmla="*/ 266 w 376"/>
                <a:gd name="T21" fmla="*/ 46 h 294"/>
                <a:gd name="T22" fmla="*/ 248 w 376"/>
                <a:gd name="T23" fmla="*/ 11 h 294"/>
                <a:gd name="T24" fmla="*/ 238 w 376"/>
                <a:gd name="T25" fmla="*/ 1 h 294"/>
                <a:gd name="T26" fmla="*/ 222 w 376"/>
                <a:gd name="T27" fmla="*/ 6 h 294"/>
                <a:gd name="T28" fmla="*/ 206 w 376"/>
                <a:gd name="T29" fmla="*/ 26 h 294"/>
                <a:gd name="T30" fmla="*/ 196 w 376"/>
                <a:gd name="T31" fmla="*/ 35 h 294"/>
                <a:gd name="T32" fmla="*/ 183 w 376"/>
                <a:gd name="T33" fmla="*/ 52 h 294"/>
                <a:gd name="T34" fmla="*/ 172 w 376"/>
                <a:gd name="T35" fmla="*/ 61 h 294"/>
                <a:gd name="T36" fmla="*/ 160 w 376"/>
                <a:gd name="T37" fmla="*/ 63 h 294"/>
                <a:gd name="T38" fmla="*/ 129 w 376"/>
                <a:gd name="T39" fmla="*/ 71 h 294"/>
                <a:gd name="T40" fmla="*/ 126 w 376"/>
                <a:gd name="T41" fmla="*/ 91 h 294"/>
                <a:gd name="T42" fmla="*/ 120 w 376"/>
                <a:gd name="T43" fmla="*/ 97 h 294"/>
                <a:gd name="T44" fmla="*/ 112 w 376"/>
                <a:gd name="T45" fmla="*/ 97 h 294"/>
                <a:gd name="T46" fmla="*/ 90 w 376"/>
                <a:gd name="T47" fmla="*/ 102 h 294"/>
                <a:gd name="T48" fmla="*/ 70 w 376"/>
                <a:gd name="T49" fmla="*/ 112 h 294"/>
                <a:gd name="T50" fmla="*/ 61 w 376"/>
                <a:gd name="T51" fmla="*/ 104 h 294"/>
                <a:gd name="T52" fmla="*/ 50 w 376"/>
                <a:gd name="T53" fmla="*/ 111 h 294"/>
                <a:gd name="T54" fmla="*/ 42 w 376"/>
                <a:gd name="T55" fmla="*/ 115 h 294"/>
                <a:gd name="T56" fmla="*/ 35 w 376"/>
                <a:gd name="T57" fmla="*/ 115 h 294"/>
                <a:gd name="T58" fmla="*/ 20 w 376"/>
                <a:gd name="T59" fmla="*/ 130 h 294"/>
                <a:gd name="T60" fmla="*/ 1 w 376"/>
                <a:gd name="T61" fmla="*/ 164 h 294"/>
                <a:gd name="T62" fmla="*/ 6 w 376"/>
                <a:gd name="T63" fmla="*/ 191 h 294"/>
                <a:gd name="T64" fmla="*/ 15 w 376"/>
                <a:gd name="T65" fmla="*/ 216 h 294"/>
                <a:gd name="T66" fmla="*/ 34 w 376"/>
                <a:gd name="T67" fmla="*/ 253 h 294"/>
                <a:gd name="T68" fmla="*/ 49 w 376"/>
                <a:gd name="T69" fmla="*/ 288 h 294"/>
                <a:gd name="T70" fmla="*/ 59 w 376"/>
                <a:gd name="T71" fmla="*/ 274 h 294"/>
                <a:gd name="T72" fmla="*/ 86 w 376"/>
                <a:gd name="T73" fmla="*/ 243 h 294"/>
                <a:gd name="T74" fmla="*/ 112 w 376"/>
                <a:gd name="T75" fmla="*/ 246 h 294"/>
                <a:gd name="T76" fmla="*/ 122 w 376"/>
                <a:gd name="T77" fmla="*/ 233 h 294"/>
                <a:gd name="T78" fmla="*/ 130 w 376"/>
                <a:gd name="T79" fmla="*/ 210 h 294"/>
                <a:gd name="T80" fmla="*/ 174 w 376"/>
                <a:gd name="T81" fmla="*/ 211 h 294"/>
                <a:gd name="T82" fmla="*/ 193 w 376"/>
                <a:gd name="T83" fmla="*/ 219 h 294"/>
                <a:gd name="T84" fmla="*/ 220 w 376"/>
                <a:gd name="T85" fmla="*/ 225 h 294"/>
                <a:gd name="T86" fmla="*/ 247 w 376"/>
                <a:gd name="T87" fmla="*/ 205 h 294"/>
                <a:gd name="T88" fmla="*/ 269 w 376"/>
                <a:gd name="T89" fmla="*/ 208 h 294"/>
                <a:gd name="T90" fmla="*/ 295 w 376"/>
                <a:gd name="T91" fmla="*/ 199 h 294"/>
                <a:gd name="T92" fmla="*/ 318 w 376"/>
                <a:gd name="T93" fmla="*/ 192 h 294"/>
                <a:gd name="T94" fmla="*/ 334 w 376"/>
                <a:gd name="T95" fmla="*/ 193 h 294"/>
                <a:gd name="T96" fmla="*/ 346 w 376"/>
                <a:gd name="T97" fmla="*/ 193 h 294"/>
                <a:gd name="T98" fmla="*/ 357 w 376"/>
                <a:gd name="T99" fmla="*/ 196 h 294"/>
                <a:gd name="T100" fmla="*/ 370 w 376"/>
                <a:gd name="T101" fmla="*/ 1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6" h="294">
                  <a:moveTo>
                    <a:pt x="375" y="191"/>
                  </a:moveTo>
                  <a:cubicBezTo>
                    <a:pt x="374" y="188"/>
                    <a:pt x="373" y="185"/>
                    <a:pt x="372" y="181"/>
                  </a:cubicBezTo>
                  <a:cubicBezTo>
                    <a:pt x="372" y="180"/>
                    <a:pt x="372" y="180"/>
                    <a:pt x="372" y="180"/>
                  </a:cubicBezTo>
                  <a:cubicBezTo>
                    <a:pt x="372" y="176"/>
                    <a:pt x="370" y="174"/>
                    <a:pt x="368" y="172"/>
                  </a:cubicBezTo>
                  <a:cubicBezTo>
                    <a:pt x="368" y="171"/>
                    <a:pt x="367" y="171"/>
                    <a:pt x="366" y="170"/>
                  </a:cubicBezTo>
                  <a:cubicBezTo>
                    <a:pt x="366" y="170"/>
                    <a:pt x="365" y="170"/>
                    <a:pt x="365" y="170"/>
                  </a:cubicBezTo>
                  <a:cubicBezTo>
                    <a:pt x="364" y="169"/>
                    <a:pt x="363" y="169"/>
                    <a:pt x="363" y="168"/>
                  </a:cubicBezTo>
                  <a:cubicBezTo>
                    <a:pt x="362" y="168"/>
                    <a:pt x="362" y="168"/>
                    <a:pt x="362" y="167"/>
                  </a:cubicBezTo>
                  <a:cubicBezTo>
                    <a:pt x="360" y="166"/>
                    <a:pt x="359" y="166"/>
                    <a:pt x="357" y="166"/>
                  </a:cubicBezTo>
                  <a:cubicBezTo>
                    <a:pt x="356" y="165"/>
                    <a:pt x="354" y="165"/>
                    <a:pt x="353" y="164"/>
                  </a:cubicBezTo>
                  <a:cubicBezTo>
                    <a:pt x="351" y="163"/>
                    <a:pt x="351" y="162"/>
                    <a:pt x="351" y="160"/>
                  </a:cubicBezTo>
                  <a:cubicBezTo>
                    <a:pt x="351" y="158"/>
                    <a:pt x="351" y="157"/>
                    <a:pt x="350" y="155"/>
                  </a:cubicBezTo>
                  <a:cubicBezTo>
                    <a:pt x="349" y="155"/>
                    <a:pt x="348" y="154"/>
                    <a:pt x="347" y="154"/>
                  </a:cubicBezTo>
                  <a:cubicBezTo>
                    <a:pt x="345" y="153"/>
                    <a:pt x="344" y="152"/>
                    <a:pt x="344" y="150"/>
                  </a:cubicBezTo>
                  <a:cubicBezTo>
                    <a:pt x="345" y="149"/>
                    <a:pt x="345" y="148"/>
                    <a:pt x="346" y="147"/>
                  </a:cubicBezTo>
                  <a:cubicBezTo>
                    <a:pt x="346" y="147"/>
                    <a:pt x="347" y="146"/>
                    <a:pt x="347" y="146"/>
                  </a:cubicBezTo>
                  <a:cubicBezTo>
                    <a:pt x="348" y="143"/>
                    <a:pt x="348" y="143"/>
                    <a:pt x="348" y="143"/>
                  </a:cubicBezTo>
                  <a:cubicBezTo>
                    <a:pt x="346" y="143"/>
                    <a:pt x="346" y="143"/>
                    <a:pt x="346" y="143"/>
                  </a:cubicBezTo>
                  <a:cubicBezTo>
                    <a:pt x="346" y="143"/>
                    <a:pt x="345" y="142"/>
                    <a:pt x="345" y="142"/>
                  </a:cubicBezTo>
                  <a:cubicBezTo>
                    <a:pt x="344" y="141"/>
                    <a:pt x="343" y="141"/>
                    <a:pt x="343" y="140"/>
                  </a:cubicBezTo>
                  <a:cubicBezTo>
                    <a:pt x="342" y="140"/>
                    <a:pt x="342" y="140"/>
                    <a:pt x="342" y="140"/>
                  </a:cubicBezTo>
                  <a:cubicBezTo>
                    <a:pt x="341" y="139"/>
                    <a:pt x="340" y="138"/>
                    <a:pt x="339" y="137"/>
                  </a:cubicBezTo>
                  <a:cubicBezTo>
                    <a:pt x="338" y="136"/>
                    <a:pt x="337" y="134"/>
                    <a:pt x="336" y="133"/>
                  </a:cubicBezTo>
                  <a:cubicBezTo>
                    <a:pt x="336" y="131"/>
                    <a:pt x="335" y="130"/>
                    <a:pt x="334" y="129"/>
                  </a:cubicBezTo>
                  <a:cubicBezTo>
                    <a:pt x="333" y="128"/>
                    <a:pt x="331" y="128"/>
                    <a:pt x="330" y="127"/>
                  </a:cubicBezTo>
                  <a:cubicBezTo>
                    <a:pt x="328" y="127"/>
                    <a:pt x="326" y="127"/>
                    <a:pt x="325" y="126"/>
                  </a:cubicBezTo>
                  <a:cubicBezTo>
                    <a:pt x="323" y="124"/>
                    <a:pt x="320" y="121"/>
                    <a:pt x="318" y="119"/>
                  </a:cubicBezTo>
                  <a:cubicBezTo>
                    <a:pt x="317" y="119"/>
                    <a:pt x="317" y="119"/>
                    <a:pt x="317" y="119"/>
                  </a:cubicBezTo>
                  <a:cubicBezTo>
                    <a:pt x="316" y="117"/>
                    <a:pt x="313" y="115"/>
                    <a:pt x="313" y="114"/>
                  </a:cubicBezTo>
                  <a:cubicBezTo>
                    <a:pt x="313" y="113"/>
                    <a:pt x="313" y="112"/>
                    <a:pt x="314" y="110"/>
                  </a:cubicBezTo>
                  <a:cubicBezTo>
                    <a:pt x="315" y="109"/>
                    <a:pt x="316" y="107"/>
                    <a:pt x="315" y="105"/>
                  </a:cubicBezTo>
                  <a:cubicBezTo>
                    <a:pt x="314" y="103"/>
                    <a:pt x="312" y="103"/>
                    <a:pt x="311" y="103"/>
                  </a:cubicBezTo>
                  <a:cubicBezTo>
                    <a:pt x="310" y="103"/>
                    <a:pt x="309" y="102"/>
                    <a:pt x="308" y="102"/>
                  </a:cubicBezTo>
                  <a:cubicBezTo>
                    <a:pt x="306" y="101"/>
                    <a:pt x="306" y="99"/>
                    <a:pt x="305" y="98"/>
                  </a:cubicBezTo>
                  <a:cubicBezTo>
                    <a:pt x="304" y="97"/>
                    <a:pt x="304" y="96"/>
                    <a:pt x="303" y="95"/>
                  </a:cubicBezTo>
                  <a:cubicBezTo>
                    <a:pt x="301" y="92"/>
                    <a:pt x="297" y="91"/>
                    <a:pt x="293" y="90"/>
                  </a:cubicBezTo>
                  <a:cubicBezTo>
                    <a:pt x="292" y="90"/>
                    <a:pt x="291" y="90"/>
                    <a:pt x="290" y="90"/>
                  </a:cubicBezTo>
                  <a:cubicBezTo>
                    <a:pt x="288" y="90"/>
                    <a:pt x="288" y="90"/>
                    <a:pt x="288" y="90"/>
                  </a:cubicBezTo>
                  <a:cubicBezTo>
                    <a:pt x="287" y="90"/>
                    <a:pt x="285" y="90"/>
                    <a:pt x="284" y="90"/>
                  </a:cubicBezTo>
                  <a:cubicBezTo>
                    <a:pt x="282" y="88"/>
                    <a:pt x="282" y="87"/>
                    <a:pt x="283" y="83"/>
                  </a:cubicBezTo>
                  <a:cubicBezTo>
                    <a:pt x="284" y="81"/>
                    <a:pt x="285" y="79"/>
                    <a:pt x="284" y="78"/>
                  </a:cubicBezTo>
                  <a:cubicBezTo>
                    <a:pt x="283" y="75"/>
                    <a:pt x="281" y="74"/>
                    <a:pt x="279" y="74"/>
                  </a:cubicBezTo>
                  <a:cubicBezTo>
                    <a:pt x="277" y="74"/>
                    <a:pt x="275" y="75"/>
                    <a:pt x="273" y="76"/>
                  </a:cubicBezTo>
                  <a:cubicBezTo>
                    <a:pt x="271" y="76"/>
                    <a:pt x="269" y="77"/>
                    <a:pt x="267" y="77"/>
                  </a:cubicBezTo>
                  <a:cubicBezTo>
                    <a:pt x="266" y="77"/>
                    <a:pt x="265" y="76"/>
                    <a:pt x="264" y="75"/>
                  </a:cubicBezTo>
                  <a:cubicBezTo>
                    <a:pt x="264" y="74"/>
                    <a:pt x="264" y="73"/>
                    <a:pt x="264" y="72"/>
                  </a:cubicBezTo>
                  <a:cubicBezTo>
                    <a:pt x="264" y="71"/>
                    <a:pt x="264" y="70"/>
                    <a:pt x="264" y="69"/>
                  </a:cubicBezTo>
                  <a:cubicBezTo>
                    <a:pt x="264" y="68"/>
                    <a:pt x="263" y="68"/>
                    <a:pt x="262" y="67"/>
                  </a:cubicBezTo>
                  <a:cubicBezTo>
                    <a:pt x="262" y="67"/>
                    <a:pt x="261" y="66"/>
                    <a:pt x="261" y="66"/>
                  </a:cubicBezTo>
                  <a:cubicBezTo>
                    <a:pt x="260" y="63"/>
                    <a:pt x="261" y="62"/>
                    <a:pt x="263" y="60"/>
                  </a:cubicBezTo>
                  <a:cubicBezTo>
                    <a:pt x="264" y="60"/>
                    <a:pt x="265" y="59"/>
                    <a:pt x="266" y="57"/>
                  </a:cubicBezTo>
                  <a:cubicBezTo>
                    <a:pt x="267" y="55"/>
                    <a:pt x="266" y="54"/>
                    <a:pt x="266" y="53"/>
                  </a:cubicBezTo>
                  <a:cubicBezTo>
                    <a:pt x="266" y="53"/>
                    <a:pt x="266" y="52"/>
                    <a:pt x="266" y="51"/>
                  </a:cubicBezTo>
                  <a:cubicBezTo>
                    <a:pt x="265" y="50"/>
                    <a:pt x="265" y="49"/>
                    <a:pt x="266" y="47"/>
                  </a:cubicBezTo>
                  <a:cubicBezTo>
                    <a:pt x="266" y="46"/>
                    <a:pt x="266" y="46"/>
                    <a:pt x="266" y="46"/>
                  </a:cubicBezTo>
                  <a:cubicBezTo>
                    <a:pt x="268" y="40"/>
                    <a:pt x="265" y="36"/>
                    <a:pt x="262" y="32"/>
                  </a:cubicBezTo>
                  <a:cubicBezTo>
                    <a:pt x="261" y="30"/>
                    <a:pt x="260" y="29"/>
                    <a:pt x="259" y="27"/>
                  </a:cubicBezTo>
                  <a:cubicBezTo>
                    <a:pt x="258" y="26"/>
                    <a:pt x="257" y="24"/>
                    <a:pt x="256" y="22"/>
                  </a:cubicBezTo>
                  <a:cubicBezTo>
                    <a:pt x="254" y="19"/>
                    <a:pt x="253" y="16"/>
                    <a:pt x="250" y="13"/>
                  </a:cubicBezTo>
                  <a:cubicBezTo>
                    <a:pt x="250" y="12"/>
                    <a:pt x="249" y="11"/>
                    <a:pt x="248" y="11"/>
                  </a:cubicBezTo>
                  <a:cubicBezTo>
                    <a:pt x="246" y="9"/>
                    <a:pt x="244" y="7"/>
                    <a:pt x="244" y="4"/>
                  </a:cubicBezTo>
                  <a:cubicBezTo>
                    <a:pt x="244" y="2"/>
                    <a:pt x="244" y="2"/>
                    <a:pt x="244" y="2"/>
                  </a:cubicBezTo>
                  <a:cubicBezTo>
                    <a:pt x="242" y="2"/>
                    <a:pt x="242" y="2"/>
                    <a:pt x="242" y="2"/>
                  </a:cubicBezTo>
                  <a:cubicBezTo>
                    <a:pt x="241" y="2"/>
                    <a:pt x="239" y="1"/>
                    <a:pt x="238" y="1"/>
                  </a:cubicBezTo>
                  <a:cubicBezTo>
                    <a:pt x="238" y="1"/>
                    <a:pt x="238" y="1"/>
                    <a:pt x="238" y="1"/>
                  </a:cubicBezTo>
                  <a:cubicBezTo>
                    <a:pt x="237" y="1"/>
                    <a:pt x="237" y="1"/>
                    <a:pt x="236" y="1"/>
                  </a:cubicBezTo>
                  <a:cubicBezTo>
                    <a:pt x="236" y="1"/>
                    <a:pt x="235" y="0"/>
                    <a:pt x="234" y="0"/>
                  </a:cubicBezTo>
                  <a:cubicBezTo>
                    <a:pt x="231" y="0"/>
                    <a:pt x="229" y="2"/>
                    <a:pt x="226" y="3"/>
                  </a:cubicBezTo>
                  <a:cubicBezTo>
                    <a:pt x="225" y="4"/>
                    <a:pt x="225" y="4"/>
                    <a:pt x="224" y="5"/>
                  </a:cubicBezTo>
                  <a:cubicBezTo>
                    <a:pt x="223" y="5"/>
                    <a:pt x="223" y="5"/>
                    <a:pt x="222" y="6"/>
                  </a:cubicBezTo>
                  <a:cubicBezTo>
                    <a:pt x="221" y="6"/>
                    <a:pt x="220" y="7"/>
                    <a:pt x="218" y="8"/>
                  </a:cubicBezTo>
                  <a:cubicBezTo>
                    <a:pt x="214" y="9"/>
                    <a:pt x="209" y="12"/>
                    <a:pt x="209" y="17"/>
                  </a:cubicBezTo>
                  <a:cubicBezTo>
                    <a:pt x="209" y="18"/>
                    <a:pt x="209" y="18"/>
                    <a:pt x="209" y="19"/>
                  </a:cubicBezTo>
                  <a:cubicBezTo>
                    <a:pt x="210" y="20"/>
                    <a:pt x="210" y="21"/>
                    <a:pt x="209" y="23"/>
                  </a:cubicBezTo>
                  <a:cubicBezTo>
                    <a:pt x="208" y="24"/>
                    <a:pt x="207" y="25"/>
                    <a:pt x="206" y="26"/>
                  </a:cubicBezTo>
                  <a:cubicBezTo>
                    <a:pt x="205" y="26"/>
                    <a:pt x="204" y="26"/>
                    <a:pt x="204" y="27"/>
                  </a:cubicBezTo>
                  <a:cubicBezTo>
                    <a:pt x="203" y="28"/>
                    <a:pt x="202" y="29"/>
                    <a:pt x="202" y="31"/>
                  </a:cubicBezTo>
                  <a:cubicBezTo>
                    <a:pt x="202" y="31"/>
                    <a:pt x="202" y="32"/>
                    <a:pt x="201" y="33"/>
                  </a:cubicBezTo>
                  <a:cubicBezTo>
                    <a:pt x="201" y="34"/>
                    <a:pt x="200" y="34"/>
                    <a:pt x="199" y="34"/>
                  </a:cubicBezTo>
                  <a:cubicBezTo>
                    <a:pt x="198" y="34"/>
                    <a:pt x="197" y="35"/>
                    <a:pt x="196" y="35"/>
                  </a:cubicBezTo>
                  <a:cubicBezTo>
                    <a:pt x="195" y="35"/>
                    <a:pt x="195" y="37"/>
                    <a:pt x="194" y="38"/>
                  </a:cubicBezTo>
                  <a:cubicBezTo>
                    <a:pt x="194" y="38"/>
                    <a:pt x="193" y="39"/>
                    <a:pt x="193" y="40"/>
                  </a:cubicBezTo>
                  <a:cubicBezTo>
                    <a:pt x="192" y="41"/>
                    <a:pt x="190" y="42"/>
                    <a:pt x="189" y="44"/>
                  </a:cubicBezTo>
                  <a:cubicBezTo>
                    <a:pt x="187" y="46"/>
                    <a:pt x="186" y="48"/>
                    <a:pt x="184" y="50"/>
                  </a:cubicBezTo>
                  <a:cubicBezTo>
                    <a:pt x="184" y="50"/>
                    <a:pt x="183" y="51"/>
                    <a:pt x="183" y="52"/>
                  </a:cubicBezTo>
                  <a:cubicBezTo>
                    <a:pt x="182" y="53"/>
                    <a:pt x="182" y="54"/>
                    <a:pt x="181" y="55"/>
                  </a:cubicBezTo>
                  <a:cubicBezTo>
                    <a:pt x="180" y="55"/>
                    <a:pt x="179" y="56"/>
                    <a:pt x="178" y="56"/>
                  </a:cubicBezTo>
                  <a:cubicBezTo>
                    <a:pt x="177" y="56"/>
                    <a:pt x="176" y="57"/>
                    <a:pt x="176" y="58"/>
                  </a:cubicBezTo>
                  <a:cubicBezTo>
                    <a:pt x="175" y="58"/>
                    <a:pt x="175" y="59"/>
                    <a:pt x="175" y="60"/>
                  </a:cubicBezTo>
                  <a:cubicBezTo>
                    <a:pt x="174" y="61"/>
                    <a:pt x="174" y="61"/>
                    <a:pt x="172" y="61"/>
                  </a:cubicBezTo>
                  <a:cubicBezTo>
                    <a:pt x="172" y="61"/>
                    <a:pt x="172" y="61"/>
                    <a:pt x="172" y="61"/>
                  </a:cubicBezTo>
                  <a:cubicBezTo>
                    <a:pt x="171" y="61"/>
                    <a:pt x="170" y="61"/>
                    <a:pt x="169" y="61"/>
                  </a:cubicBezTo>
                  <a:cubicBezTo>
                    <a:pt x="168" y="61"/>
                    <a:pt x="168" y="61"/>
                    <a:pt x="167" y="61"/>
                  </a:cubicBezTo>
                  <a:cubicBezTo>
                    <a:pt x="166" y="61"/>
                    <a:pt x="166" y="61"/>
                    <a:pt x="166" y="61"/>
                  </a:cubicBezTo>
                  <a:cubicBezTo>
                    <a:pt x="164" y="61"/>
                    <a:pt x="162" y="62"/>
                    <a:pt x="160" y="63"/>
                  </a:cubicBezTo>
                  <a:cubicBezTo>
                    <a:pt x="158" y="64"/>
                    <a:pt x="157" y="64"/>
                    <a:pt x="155" y="65"/>
                  </a:cubicBezTo>
                  <a:cubicBezTo>
                    <a:pt x="152" y="65"/>
                    <a:pt x="149" y="65"/>
                    <a:pt x="146" y="65"/>
                  </a:cubicBezTo>
                  <a:cubicBezTo>
                    <a:pt x="141" y="65"/>
                    <a:pt x="141" y="65"/>
                    <a:pt x="141" y="65"/>
                  </a:cubicBezTo>
                  <a:cubicBezTo>
                    <a:pt x="138" y="65"/>
                    <a:pt x="133" y="66"/>
                    <a:pt x="130" y="68"/>
                  </a:cubicBezTo>
                  <a:cubicBezTo>
                    <a:pt x="129" y="69"/>
                    <a:pt x="128" y="70"/>
                    <a:pt x="129" y="71"/>
                  </a:cubicBezTo>
                  <a:cubicBezTo>
                    <a:pt x="129" y="73"/>
                    <a:pt x="133" y="75"/>
                    <a:pt x="135" y="75"/>
                  </a:cubicBezTo>
                  <a:cubicBezTo>
                    <a:pt x="135" y="77"/>
                    <a:pt x="134" y="79"/>
                    <a:pt x="133" y="81"/>
                  </a:cubicBezTo>
                  <a:cubicBezTo>
                    <a:pt x="132" y="82"/>
                    <a:pt x="132" y="83"/>
                    <a:pt x="131" y="83"/>
                  </a:cubicBezTo>
                  <a:cubicBezTo>
                    <a:pt x="131" y="84"/>
                    <a:pt x="131" y="84"/>
                    <a:pt x="131" y="84"/>
                  </a:cubicBezTo>
                  <a:cubicBezTo>
                    <a:pt x="130" y="86"/>
                    <a:pt x="128" y="90"/>
                    <a:pt x="126" y="91"/>
                  </a:cubicBezTo>
                  <a:cubicBezTo>
                    <a:pt x="125" y="91"/>
                    <a:pt x="125" y="91"/>
                    <a:pt x="124" y="91"/>
                  </a:cubicBezTo>
                  <a:cubicBezTo>
                    <a:pt x="123" y="91"/>
                    <a:pt x="122" y="92"/>
                    <a:pt x="122" y="93"/>
                  </a:cubicBezTo>
                  <a:cubicBezTo>
                    <a:pt x="122" y="93"/>
                    <a:pt x="122" y="94"/>
                    <a:pt x="122" y="94"/>
                  </a:cubicBezTo>
                  <a:cubicBezTo>
                    <a:pt x="122" y="96"/>
                    <a:pt x="122" y="96"/>
                    <a:pt x="121" y="97"/>
                  </a:cubicBezTo>
                  <a:cubicBezTo>
                    <a:pt x="120" y="97"/>
                    <a:pt x="120" y="97"/>
                    <a:pt x="120" y="97"/>
                  </a:cubicBezTo>
                  <a:cubicBezTo>
                    <a:pt x="119" y="97"/>
                    <a:pt x="118" y="97"/>
                    <a:pt x="118" y="97"/>
                  </a:cubicBezTo>
                  <a:cubicBezTo>
                    <a:pt x="117" y="97"/>
                    <a:pt x="117" y="96"/>
                    <a:pt x="116" y="96"/>
                  </a:cubicBezTo>
                  <a:cubicBezTo>
                    <a:pt x="116" y="96"/>
                    <a:pt x="116" y="96"/>
                    <a:pt x="116" y="96"/>
                  </a:cubicBezTo>
                  <a:cubicBezTo>
                    <a:pt x="115" y="96"/>
                    <a:pt x="115" y="97"/>
                    <a:pt x="114" y="97"/>
                  </a:cubicBezTo>
                  <a:cubicBezTo>
                    <a:pt x="113" y="97"/>
                    <a:pt x="112" y="97"/>
                    <a:pt x="112" y="97"/>
                  </a:cubicBezTo>
                  <a:cubicBezTo>
                    <a:pt x="111" y="97"/>
                    <a:pt x="111" y="97"/>
                    <a:pt x="110" y="97"/>
                  </a:cubicBezTo>
                  <a:cubicBezTo>
                    <a:pt x="107" y="97"/>
                    <a:pt x="107" y="97"/>
                    <a:pt x="107" y="97"/>
                  </a:cubicBezTo>
                  <a:cubicBezTo>
                    <a:pt x="106" y="97"/>
                    <a:pt x="104" y="97"/>
                    <a:pt x="103" y="98"/>
                  </a:cubicBezTo>
                  <a:cubicBezTo>
                    <a:pt x="100" y="99"/>
                    <a:pt x="97" y="100"/>
                    <a:pt x="94" y="101"/>
                  </a:cubicBezTo>
                  <a:cubicBezTo>
                    <a:pt x="93" y="101"/>
                    <a:pt x="91" y="101"/>
                    <a:pt x="90" y="102"/>
                  </a:cubicBezTo>
                  <a:cubicBezTo>
                    <a:pt x="88" y="102"/>
                    <a:pt x="87" y="103"/>
                    <a:pt x="85" y="103"/>
                  </a:cubicBezTo>
                  <a:cubicBezTo>
                    <a:pt x="83" y="104"/>
                    <a:pt x="82" y="105"/>
                    <a:pt x="81" y="106"/>
                  </a:cubicBezTo>
                  <a:cubicBezTo>
                    <a:pt x="80" y="107"/>
                    <a:pt x="79" y="107"/>
                    <a:pt x="78" y="108"/>
                  </a:cubicBezTo>
                  <a:cubicBezTo>
                    <a:pt x="77" y="109"/>
                    <a:pt x="76" y="109"/>
                    <a:pt x="75" y="110"/>
                  </a:cubicBezTo>
                  <a:cubicBezTo>
                    <a:pt x="73" y="110"/>
                    <a:pt x="71" y="111"/>
                    <a:pt x="70" y="112"/>
                  </a:cubicBezTo>
                  <a:cubicBezTo>
                    <a:pt x="69" y="113"/>
                    <a:pt x="68" y="113"/>
                    <a:pt x="67" y="113"/>
                  </a:cubicBezTo>
                  <a:cubicBezTo>
                    <a:pt x="67" y="113"/>
                    <a:pt x="67" y="113"/>
                    <a:pt x="67" y="113"/>
                  </a:cubicBezTo>
                  <a:cubicBezTo>
                    <a:pt x="66" y="113"/>
                    <a:pt x="66" y="112"/>
                    <a:pt x="65" y="111"/>
                  </a:cubicBezTo>
                  <a:cubicBezTo>
                    <a:pt x="65" y="111"/>
                    <a:pt x="64" y="110"/>
                    <a:pt x="64" y="109"/>
                  </a:cubicBezTo>
                  <a:cubicBezTo>
                    <a:pt x="63" y="106"/>
                    <a:pt x="62" y="105"/>
                    <a:pt x="61" y="104"/>
                  </a:cubicBezTo>
                  <a:cubicBezTo>
                    <a:pt x="60" y="104"/>
                    <a:pt x="60" y="104"/>
                    <a:pt x="60" y="104"/>
                  </a:cubicBezTo>
                  <a:cubicBezTo>
                    <a:pt x="59" y="104"/>
                    <a:pt x="59" y="104"/>
                    <a:pt x="59" y="104"/>
                  </a:cubicBezTo>
                  <a:cubicBezTo>
                    <a:pt x="58" y="105"/>
                    <a:pt x="57" y="106"/>
                    <a:pt x="56" y="107"/>
                  </a:cubicBezTo>
                  <a:cubicBezTo>
                    <a:pt x="55" y="108"/>
                    <a:pt x="54" y="109"/>
                    <a:pt x="53" y="110"/>
                  </a:cubicBezTo>
                  <a:cubicBezTo>
                    <a:pt x="52" y="110"/>
                    <a:pt x="51" y="111"/>
                    <a:pt x="50" y="111"/>
                  </a:cubicBezTo>
                  <a:cubicBezTo>
                    <a:pt x="50" y="111"/>
                    <a:pt x="49" y="111"/>
                    <a:pt x="49" y="112"/>
                  </a:cubicBezTo>
                  <a:cubicBezTo>
                    <a:pt x="48" y="112"/>
                    <a:pt x="47" y="112"/>
                    <a:pt x="46" y="113"/>
                  </a:cubicBezTo>
                  <a:cubicBezTo>
                    <a:pt x="46" y="113"/>
                    <a:pt x="46" y="113"/>
                    <a:pt x="45" y="114"/>
                  </a:cubicBezTo>
                  <a:cubicBezTo>
                    <a:pt x="45" y="114"/>
                    <a:pt x="44" y="114"/>
                    <a:pt x="44" y="114"/>
                  </a:cubicBezTo>
                  <a:cubicBezTo>
                    <a:pt x="43" y="115"/>
                    <a:pt x="42" y="115"/>
                    <a:pt x="42" y="115"/>
                  </a:cubicBezTo>
                  <a:cubicBezTo>
                    <a:pt x="41" y="116"/>
                    <a:pt x="41" y="116"/>
                    <a:pt x="41" y="116"/>
                  </a:cubicBezTo>
                  <a:cubicBezTo>
                    <a:pt x="40" y="116"/>
                    <a:pt x="40" y="116"/>
                    <a:pt x="40" y="116"/>
                  </a:cubicBezTo>
                  <a:cubicBezTo>
                    <a:pt x="40" y="116"/>
                    <a:pt x="39" y="116"/>
                    <a:pt x="39" y="116"/>
                  </a:cubicBezTo>
                  <a:cubicBezTo>
                    <a:pt x="38" y="116"/>
                    <a:pt x="38" y="116"/>
                    <a:pt x="38" y="116"/>
                  </a:cubicBezTo>
                  <a:cubicBezTo>
                    <a:pt x="38" y="115"/>
                    <a:pt x="36" y="115"/>
                    <a:pt x="35" y="115"/>
                  </a:cubicBezTo>
                  <a:cubicBezTo>
                    <a:pt x="34" y="114"/>
                    <a:pt x="32" y="114"/>
                    <a:pt x="32" y="114"/>
                  </a:cubicBezTo>
                  <a:cubicBezTo>
                    <a:pt x="30" y="113"/>
                    <a:pt x="30" y="113"/>
                    <a:pt x="30" y="113"/>
                  </a:cubicBezTo>
                  <a:cubicBezTo>
                    <a:pt x="29" y="115"/>
                    <a:pt x="29" y="115"/>
                    <a:pt x="29" y="115"/>
                  </a:cubicBezTo>
                  <a:cubicBezTo>
                    <a:pt x="28" y="117"/>
                    <a:pt x="27" y="119"/>
                    <a:pt x="25" y="121"/>
                  </a:cubicBezTo>
                  <a:cubicBezTo>
                    <a:pt x="24" y="123"/>
                    <a:pt x="21" y="126"/>
                    <a:pt x="20" y="130"/>
                  </a:cubicBezTo>
                  <a:cubicBezTo>
                    <a:pt x="19" y="134"/>
                    <a:pt x="18" y="137"/>
                    <a:pt x="15" y="141"/>
                  </a:cubicBezTo>
                  <a:cubicBezTo>
                    <a:pt x="14" y="143"/>
                    <a:pt x="13" y="145"/>
                    <a:pt x="12" y="147"/>
                  </a:cubicBezTo>
                  <a:cubicBezTo>
                    <a:pt x="12" y="148"/>
                    <a:pt x="11" y="150"/>
                    <a:pt x="11" y="151"/>
                  </a:cubicBezTo>
                  <a:cubicBezTo>
                    <a:pt x="10" y="153"/>
                    <a:pt x="8" y="155"/>
                    <a:pt x="6" y="156"/>
                  </a:cubicBezTo>
                  <a:cubicBezTo>
                    <a:pt x="2" y="160"/>
                    <a:pt x="0" y="162"/>
                    <a:pt x="1" y="164"/>
                  </a:cubicBezTo>
                  <a:cubicBezTo>
                    <a:pt x="1" y="166"/>
                    <a:pt x="3" y="167"/>
                    <a:pt x="6" y="167"/>
                  </a:cubicBezTo>
                  <a:cubicBezTo>
                    <a:pt x="6" y="172"/>
                    <a:pt x="6" y="176"/>
                    <a:pt x="5" y="180"/>
                  </a:cubicBezTo>
                  <a:cubicBezTo>
                    <a:pt x="5" y="181"/>
                    <a:pt x="5" y="181"/>
                    <a:pt x="5" y="181"/>
                  </a:cubicBezTo>
                  <a:cubicBezTo>
                    <a:pt x="4" y="184"/>
                    <a:pt x="4" y="187"/>
                    <a:pt x="5" y="190"/>
                  </a:cubicBezTo>
                  <a:cubicBezTo>
                    <a:pt x="6" y="191"/>
                    <a:pt x="6" y="191"/>
                    <a:pt x="6" y="191"/>
                  </a:cubicBezTo>
                  <a:cubicBezTo>
                    <a:pt x="7" y="192"/>
                    <a:pt x="7" y="192"/>
                    <a:pt x="8" y="194"/>
                  </a:cubicBezTo>
                  <a:cubicBezTo>
                    <a:pt x="8" y="195"/>
                    <a:pt x="8" y="197"/>
                    <a:pt x="8" y="198"/>
                  </a:cubicBezTo>
                  <a:cubicBezTo>
                    <a:pt x="8" y="201"/>
                    <a:pt x="8" y="201"/>
                    <a:pt x="8" y="201"/>
                  </a:cubicBezTo>
                  <a:cubicBezTo>
                    <a:pt x="8" y="205"/>
                    <a:pt x="9" y="209"/>
                    <a:pt x="11" y="212"/>
                  </a:cubicBezTo>
                  <a:cubicBezTo>
                    <a:pt x="12" y="214"/>
                    <a:pt x="13" y="215"/>
                    <a:pt x="15" y="216"/>
                  </a:cubicBezTo>
                  <a:cubicBezTo>
                    <a:pt x="17" y="217"/>
                    <a:pt x="18" y="218"/>
                    <a:pt x="19" y="221"/>
                  </a:cubicBezTo>
                  <a:cubicBezTo>
                    <a:pt x="20" y="224"/>
                    <a:pt x="20" y="226"/>
                    <a:pt x="20" y="229"/>
                  </a:cubicBezTo>
                  <a:cubicBezTo>
                    <a:pt x="20" y="232"/>
                    <a:pt x="19" y="236"/>
                    <a:pt x="21" y="239"/>
                  </a:cubicBezTo>
                  <a:cubicBezTo>
                    <a:pt x="24" y="242"/>
                    <a:pt x="26" y="245"/>
                    <a:pt x="29" y="248"/>
                  </a:cubicBezTo>
                  <a:cubicBezTo>
                    <a:pt x="31" y="250"/>
                    <a:pt x="33" y="251"/>
                    <a:pt x="34" y="253"/>
                  </a:cubicBezTo>
                  <a:cubicBezTo>
                    <a:pt x="36" y="255"/>
                    <a:pt x="38" y="256"/>
                    <a:pt x="40" y="258"/>
                  </a:cubicBezTo>
                  <a:cubicBezTo>
                    <a:pt x="43" y="260"/>
                    <a:pt x="46" y="262"/>
                    <a:pt x="48" y="265"/>
                  </a:cubicBezTo>
                  <a:cubicBezTo>
                    <a:pt x="50" y="269"/>
                    <a:pt x="49" y="273"/>
                    <a:pt x="49" y="278"/>
                  </a:cubicBezTo>
                  <a:cubicBezTo>
                    <a:pt x="49" y="280"/>
                    <a:pt x="48" y="282"/>
                    <a:pt x="48" y="284"/>
                  </a:cubicBezTo>
                  <a:cubicBezTo>
                    <a:pt x="48" y="286"/>
                    <a:pt x="49" y="287"/>
                    <a:pt x="49" y="288"/>
                  </a:cubicBezTo>
                  <a:cubicBezTo>
                    <a:pt x="50" y="294"/>
                    <a:pt x="50" y="294"/>
                    <a:pt x="50" y="294"/>
                  </a:cubicBezTo>
                  <a:cubicBezTo>
                    <a:pt x="53" y="289"/>
                    <a:pt x="53" y="289"/>
                    <a:pt x="53" y="289"/>
                  </a:cubicBezTo>
                  <a:cubicBezTo>
                    <a:pt x="53" y="288"/>
                    <a:pt x="54" y="287"/>
                    <a:pt x="54" y="286"/>
                  </a:cubicBezTo>
                  <a:cubicBezTo>
                    <a:pt x="54" y="285"/>
                    <a:pt x="55" y="284"/>
                    <a:pt x="55" y="284"/>
                  </a:cubicBezTo>
                  <a:cubicBezTo>
                    <a:pt x="57" y="281"/>
                    <a:pt x="58" y="277"/>
                    <a:pt x="59" y="274"/>
                  </a:cubicBezTo>
                  <a:cubicBezTo>
                    <a:pt x="60" y="271"/>
                    <a:pt x="61" y="268"/>
                    <a:pt x="61" y="265"/>
                  </a:cubicBezTo>
                  <a:cubicBezTo>
                    <a:pt x="62" y="261"/>
                    <a:pt x="63" y="257"/>
                    <a:pt x="65" y="253"/>
                  </a:cubicBezTo>
                  <a:cubicBezTo>
                    <a:pt x="68" y="246"/>
                    <a:pt x="70" y="246"/>
                    <a:pt x="75" y="246"/>
                  </a:cubicBezTo>
                  <a:cubicBezTo>
                    <a:pt x="77" y="246"/>
                    <a:pt x="79" y="246"/>
                    <a:pt x="82" y="245"/>
                  </a:cubicBezTo>
                  <a:cubicBezTo>
                    <a:pt x="83" y="245"/>
                    <a:pt x="85" y="244"/>
                    <a:pt x="86" y="243"/>
                  </a:cubicBezTo>
                  <a:cubicBezTo>
                    <a:pt x="88" y="242"/>
                    <a:pt x="90" y="241"/>
                    <a:pt x="92" y="241"/>
                  </a:cubicBezTo>
                  <a:cubicBezTo>
                    <a:pt x="93" y="241"/>
                    <a:pt x="96" y="243"/>
                    <a:pt x="98" y="244"/>
                  </a:cubicBezTo>
                  <a:cubicBezTo>
                    <a:pt x="99" y="244"/>
                    <a:pt x="100" y="245"/>
                    <a:pt x="101" y="245"/>
                  </a:cubicBezTo>
                  <a:cubicBezTo>
                    <a:pt x="103" y="246"/>
                    <a:pt x="106" y="247"/>
                    <a:pt x="108" y="247"/>
                  </a:cubicBezTo>
                  <a:cubicBezTo>
                    <a:pt x="110" y="247"/>
                    <a:pt x="111" y="246"/>
                    <a:pt x="112" y="246"/>
                  </a:cubicBezTo>
                  <a:cubicBezTo>
                    <a:pt x="114" y="246"/>
                    <a:pt x="115" y="246"/>
                    <a:pt x="116" y="246"/>
                  </a:cubicBezTo>
                  <a:cubicBezTo>
                    <a:pt x="117" y="246"/>
                    <a:pt x="118" y="246"/>
                    <a:pt x="118" y="246"/>
                  </a:cubicBezTo>
                  <a:cubicBezTo>
                    <a:pt x="120" y="246"/>
                    <a:pt x="120" y="246"/>
                    <a:pt x="120" y="246"/>
                  </a:cubicBezTo>
                  <a:cubicBezTo>
                    <a:pt x="120" y="245"/>
                    <a:pt x="120" y="245"/>
                    <a:pt x="120" y="245"/>
                  </a:cubicBezTo>
                  <a:cubicBezTo>
                    <a:pt x="121" y="240"/>
                    <a:pt x="122" y="237"/>
                    <a:pt x="122" y="233"/>
                  </a:cubicBezTo>
                  <a:cubicBezTo>
                    <a:pt x="122" y="232"/>
                    <a:pt x="122" y="232"/>
                    <a:pt x="122" y="232"/>
                  </a:cubicBezTo>
                  <a:cubicBezTo>
                    <a:pt x="122" y="228"/>
                    <a:pt x="122" y="225"/>
                    <a:pt x="124" y="221"/>
                  </a:cubicBezTo>
                  <a:cubicBezTo>
                    <a:pt x="125" y="219"/>
                    <a:pt x="126" y="217"/>
                    <a:pt x="127" y="215"/>
                  </a:cubicBezTo>
                  <a:cubicBezTo>
                    <a:pt x="128" y="214"/>
                    <a:pt x="129" y="213"/>
                    <a:pt x="129" y="212"/>
                  </a:cubicBezTo>
                  <a:cubicBezTo>
                    <a:pt x="130" y="210"/>
                    <a:pt x="130" y="210"/>
                    <a:pt x="130" y="210"/>
                  </a:cubicBezTo>
                  <a:cubicBezTo>
                    <a:pt x="132" y="207"/>
                    <a:pt x="134" y="204"/>
                    <a:pt x="136" y="202"/>
                  </a:cubicBezTo>
                  <a:cubicBezTo>
                    <a:pt x="139" y="198"/>
                    <a:pt x="144" y="194"/>
                    <a:pt x="150" y="194"/>
                  </a:cubicBezTo>
                  <a:cubicBezTo>
                    <a:pt x="152" y="194"/>
                    <a:pt x="154" y="195"/>
                    <a:pt x="156" y="196"/>
                  </a:cubicBezTo>
                  <a:cubicBezTo>
                    <a:pt x="163" y="199"/>
                    <a:pt x="169" y="203"/>
                    <a:pt x="173" y="209"/>
                  </a:cubicBezTo>
                  <a:cubicBezTo>
                    <a:pt x="173" y="210"/>
                    <a:pt x="174" y="211"/>
                    <a:pt x="174" y="211"/>
                  </a:cubicBezTo>
                  <a:cubicBezTo>
                    <a:pt x="176" y="214"/>
                    <a:pt x="177" y="216"/>
                    <a:pt x="180" y="217"/>
                  </a:cubicBezTo>
                  <a:cubicBezTo>
                    <a:pt x="181" y="217"/>
                    <a:pt x="182" y="217"/>
                    <a:pt x="183" y="217"/>
                  </a:cubicBezTo>
                  <a:cubicBezTo>
                    <a:pt x="185" y="217"/>
                    <a:pt x="185" y="217"/>
                    <a:pt x="185" y="217"/>
                  </a:cubicBezTo>
                  <a:cubicBezTo>
                    <a:pt x="188" y="217"/>
                    <a:pt x="190" y="217"/>
                    <a:pt x="192" y="218"/>
                  </a:cubicBezTo>
                  <a:cubicBezTo>
                    <a:pt x="193" y="219"/>
                    <a:pt x="193" y="219"/>
                    <a:pt x="193" y="219"/>
                  </a:cubicBezTo>
                  <a:cubicBezTo>
                    <a:pt x="196" y="221"/>
                    <a:pt x="198" y="222"/>
                    <a:pt x="202" y="223"/>
                  </a:cubicBezTo>
                  <a:cubicBezTo>
                    <a:pt x="203" y="223"/>
                    <a:pt x="204" y="223"/>
                    <a:pt x="206" y="223"/>
                  </a:cubicBezTo>
                  <a:cubicBezTo>
                    <a:pt x="209" y="223"/>
                    <a:pt x="209" y="223"/>
                    <a:pt x="209" y="223"/>
                  </a:cubicBezTo>
                  <a:cubicBezTo>
                    <a:pt x="211" y="223"/>
                    <a:pt x="212" y="223"/>
                    <a:pt x="213" y="223"/>
                  </a:cubicBezTo>
                  <a:cubicBezTo>
                    <a:pt x="216" y="223"/>
                    <a:pt x="218" y="224"/>
                    <a:pt x="220" y="225"/>
                  </a:cubicBezTo>
                  <a:cubicBezTo>
                    <a:pt x="223" y="225"/>
                    <a:pt x="226" y="226"/>
                    <a:pt x="229" y="226"/>
                  </a:cubicBezTo>
                  <a:cubicBezTo>
                    <a:pt x="232" y="226"/>
                    <a:pt x="234" y="225"/>
                    <a:pt x="236" y="223"/>
                  </a:cubicBezTo>
                  <a:cubicBezTo>
                    <a:pt x="237" y="221"/>
                    <a:pt x="238" y="219"/>
                    <a:pt x="239" y="216"/>
                  </a:cubicBezTo>
                  <a:cubicBezTo>
                    <a:pt x="240" y="212"/>
                    <a:pt x="242" y="207"/>
                    <a:pt x="245" y="206"/>
                  </a:cubicBezTo>
                  <a:cubicBezTo>
                    <a:pt x="246" y="205"/>
                    <a:pt x="247" y="205"/>
                    <a:pt x="247" y="205"/>
                  </a:cubicBezTo>
                  <a:cubicBezTo>
                    <a:pt x="248" y="205"/>
                    <a:pt x="249" y="206"/>
                    <a:pt x="250" y="206"/>
                  </a:cubicBezTo>
                  <a:cubicBezTo>
                    <a:pt x="252" y="207"/>
                    <a:pt x="253" y="207"/>
                    <a:pt x="254" y="208"/>
                  </a:cubicBezTo>
                  <a:cubicBezTo>
                    <a:pt x="256" y="210"/>
                    <a:pt x="257" y="211"/>
                    <a:pt x="260" y="211"/>
                  </a:cubicBezTo>
                  <a:cubicBezTo>
                    <a:pt x="260" y="211"/>
                    <a:pt x="261" y="211"/>
                    <a:pt x="261" y="211"/>
                  </a:cubicBezTo>
                  <a:cubicBezTo>
                    <a:pt x="264" y="211"/>
                    <a:pt x="266" y="209"/>
                    <a:pt x="269" y="208"/>
                  </a:cubicBezTo>
                  <a:cubicBezTo>
                    <a:pt x="270" y="207"/>
                    <a:pt x="272" y="206"/>
                    <a:pt x="273" y="205"/>
                  </a:cubicBezTo>
                  <a:cubicBezTo>
                    <a:pt x="278" y="203"/>
                    <a:pt x="282" y="201"/>
                    <a:pt x="285" y="199"/>
                  </a:cubicBezTo>
                  <a:cubicBezTo>
                    <a:pt x="287" y="197"/>
                    <a:pt x="288" y="197"/>
                    <a:pt x="290" y="197"/>
                  </a:cubicBezTo>
                  <a:cubicBezTo>
                    <a:pt x="291" y="197"/>
                    <a:pt x="293" y="198"/>
                    <a:pt x="295" y="198"/>
                  </a:cubicBezTo>
                  <a:cubicBezTo>
                    <a:pt x="295" y="199"/>
                    <a:pt x="295" y="199"/>
                    <a:pt x="295" y="199"/>
                  </a:cubicBezTo>
                  <a:cubicBezTo>
                    <a:pt x="298" y="199"/>
                    <a:pt x="299" y="200"/>
                    <a:pt x="301" y="200"/>
                  </a:cubicBezTo>
                  <a:cubicBezTo>
                    <a:pt x="303" y="200"/>
                    <a:pt x="304" y="200"/>
                    <a:pt x="307" y="199"/>
                  </a:cubicBezTo>
                  <a:cubicBezTo>
                    <a:pt x="308" y="199"/>
                    <a:pt x="309" y="199"/>
                    <a:pt x="310" y="199"/>
                  </a:cubicBezTo>
                  <a:cubicBezTo>
                    <a:pt x="312" y="198"/>
                    <a:pt x="313" y="198"/>
                    <a:pt x="315" y="198"/>
                  </a:cubicBezTo>
                  <a:cubicBezTo>
                    <a:pt x="317" y="197"/>
                    <a:pt x="317" y="194"/>
                    <a:pt x="318" y="192"/>
                  </a:cubicBezTo>
                  <a:cubicBezTo>
                    <a:pt x="318" y="189"/>
                    <a:pt x="319" y="186"/>
                    <a:pt x="322" y="186"/>
                  </a:cubicBezTo>
                  <a:cubicBezTo>
                    <a:pt x="323" y="186"/>
                    <a:pt x="323" y="186"/>
                    <a:pt x="323" y="186"/>
                  </a:cubicBezTo>
                  <a:cubicBezTo>
                    <a:pt x="325" y="186"/>
                    <a:pt x="326" y="188"/>
                    <a:pt x="328" y="190"/>
                  </a:cubicBezTo>
                  <a:cubicBezTo>
                    <a:pt x="329" y="192"/>
                    <a:pt x="330" y="193"/>
                    <a:pt x="332" y="193"/>
                  </a:cubicBezTo>
                  <a:cubicBezTo>
                    <a:pt x="333" y="193"/>
                    <a:pt x="333" y="193"/>
                    <a:pt x="334" y="193"/>
                  </a:cubicBezTo>
                  <a:cubicBezTo>
                    <a:pt x="335" y="192"/>
                    <a:pt x="335" y="192"/>
                    <a:pt x="336" y="191"/>
                  </a:cubicBezTo>
                  <a:cubicBezTo>
                    <a:pt x="337" y="190"/>
                    <a:pt x="338" y="190"/>
                    <a:pt x="340" y="190"/>
                  </a:cubicBezTo>
                  <a:cubicBezTo>
                    <a:pt x="340" y="190"/>
                    <a:pt x="340" y="190"/>
                    <a:pt x="340" y="190"/>
                  </a:cubicBezTo>
                  <a:cubicBezTo>
                    <a:pt x="342" y="190"/>
                    <a:pt x="343" y="191"/>
                    <a:pt x="345" y="192"/>
                  </a:cubicBezTo>
                  <a:cubicBezTo>
                    <a:pt x="346" y="193"/>
                    <a:pt x="346" y="193"/>
                    <a:pt x="346" y="193"/>
                  </a:cubicBezTo>
                  <a:cubicBezTo>
                    <a:pt x="348" y="196"/>
                    <a:pt x="350" y="196"/>
                    <a:pt x="353" y="196"/>
                  </a:cubicBezTo>
                  <a:cubicBezTo>
                    <a:pt x="353" y="196"/>
                    <a:pt x="353" y="196"/>
                    <a:pt x="353" y="196"/>
                  </a:cubicBezTo>
                  <a:cubicBezTo>
                    <a:pt x="354" y="196"/>
                    <a:pt x="354" y="196"/>
                    <a:pt x="355" y="196"/>
                  </a:cubicBezTo>
                  <a:cubicBezTo>
                    <a:pt x="356" y="196"/>
                    <a:pt x="356" y="196"/>
                    <a:pt x="357" y="196"/>
                  </a:cubicBezTo>
                  <a:cubicBezTo>
                    <a:pt x="357" y="196"/>
                    <a:pt x="357" y="196"/>
                    <a:pt x="357" y="196"/>
                  </a:cubicBezTo>
                  <a:cubicBezTo>
                    <a:pt x="358" y="196"/>
                    <a:pt x="359" y="196"/>
                    <a:pt x="360" y="196"/>
                  </a:cubicBezTo>
                  <a:cubicBezTo>
                    <a:pt x="362" y="197"/>
                    <a:pt x="362" y="197"/>
                    <a:pt x="362" y="197"/>
                  </a:cubicBezTo>
                  <a:cubicBezTo>
                    <a:pt x="363" y="196"/>
                    <a:pt x="363" y="196"/>
                    <a:pt x="363" y="196"/>
                  </a:cubicBezTo>
                  <a:cubicBezTo>
                    <a:pt x="364" y="194"/>
                    <a:pt x="365" y="193"/>
                    <a:pt x="367" y="193"/>
                  </a:cubicBezTo>
                  <a:cubicBezTo>
                    <a:pt x="368" y="193"/>
                    <a:pt x="369" y="194"/>
                    <a:pt x="370" y="194"/>
                  </a:cubicBezTo>
                  <a:cubicBezTo>
                    <a:pt x="371" y="194"/>
                    <a:pt x="372" y="194"/>
                    <a:pt x="373" y="194"/>
                  </a:cubicBezTo>
                  <a:cubicBezTo>
                    <a:pt x="376" y="194"/>
                    <a:pt x="376" y="194"/>
                    <a:pt x="376" y="194"/>
                  </a:cubicBezTo>
                  <a:lnTo>
                    <a:pt x="375" y="191"/>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40" name="Freeform 36">
              <a:extLst>
                <a:ext uri="{FF2B5EF4-FFF2-40B4-BE49-F238E27FC236}">
                  <a16:creationId xmlns:a16="http://schemas.microsoft.com/office/drawing/2014/main" id="{D5381A58-5B31-4407-899A-4E9E6A335788}"/>
                </a:ext>
              </a:extLst>
            </p:cNvPr>
            <p:cNvSpPr>
              <a:spLocks/>
            </p:cNvSpPr>
            <p:nvPr/>
          </p:nvSpPr>
          <p:spPr bwMode="auto">
            <a:xfrm>
              <a:off x="3666235" y="2590519"/>
              <a:ext cx="121646" cy="104790"/>
            </a:xfrm>
            <a:custGeom>
              <a:avLst/>
              <a:gdLst>
                <a:gd name="T0" fmla="*/ 59 w 60"/>
                <a:gd name="T1" fmla="*/ 23 h 56"/>
                <a:gd name="T2" fmla="*/ 59 w 60"/>
                <a:gd name="T3" fmla="*/ 21 h 56"/>
                <a:gd name="T4" fmla="*/ 55 w 60"/>
                <a:gd name="T5" fmla="*/ 10 h 56"/>
                <a:gd name="T6" fmla="*/ 53 w 60"/>
                <a:gd name="T7" fmla="*/ 8 h 56"/>
                <a:gd name="T8" fmla="*/ 51 w 60"/>
                <a:gd name="T9" fmla="*/ 5 h 56"/>
                <a:gd name="T10" fmla="*/ 50 w 60"/>
                <a:gd name="T11" fmla="*/ 3 h 56"/>
                <a:gd name="T12" fmla="*/ 49 w 60"/>
                <a:gd name="T13" fmla="*/ 2 h 56"/>
                <a:gd name="T14" fmla="*/ 49 w 60"/>
                <a:gd name="T15" fmla="*/ 0 h 56"/>
                <a:gd name="T16" fmla="*/ 47 w 60"/>
                <a:gd name="T17" fmla="*/ 0 h 56"/>
                <a:gd name="T18" fmla="*/ 46 w 60"/>
                <a:gd name="T19" fmla="*/ 1 h 56"/>
                <a:gd name="T20" fmla="*/ 42 w 60"/>
                <a:gd name="T21" fmla="*/ 5 h 56"/>
                <a:gd name="T22" fmla="*/ 40 w 60"/>
                <a:gd name="T23" fmla="*/ 8 h 56"/>
                <a:gd name="T24" fmla="*/ 33 w 60"/>
                <a:gd name="T25" fmla="*/ 12 h 56"/>
                <a:gd name="T26" fmla="*/ 33 w 60"/>
                <a:gd name="T27" fmla="*/ 12 h 56"/>
                <a:gd name="T28" fmla="*/ 31 w 60"/>
                <a:gd name="T29" fmla="*/ 11 h 56"/>
                <a:gd name="T30" fmla="*/ 31 w 60"/>
                <a:gd name="T31" fmla="*/ 9 h 56"/>
                <a:gd name="T32" fmla="*/ 30 w 60"/>
                <a:gd name="T33" fmla="*/ 7 h 56"/>
                <a:gd name="T34" fmla="*/ 28 w 60"/>
                <a:gd name="T35" fmla="*/ 7 h 56"/>
                <a:gd name="T36" fmla="*/ 25 w 60"/>
                <a:gd name="T37" fmla="*/ 8 h 56"/>
                <a:gd name="T38" fmla="*/ 24 w 60"/>
                <a:gd name="T39" fmla="*/ 8 h 56"/>
                <a:gd name="T40" fmla="*/ 24 w 60"/>
                <a:gd name="T41" fmla="*/ 8 h 56"/>
                <a:gd name="T42" fmla="*/ 23 w 60"/>
                <a:gd name="T43" fmla="*/ 8 h 56"/>
                <a:gd name="T44" fmla="*/ 9 w 60"/>
                <a:gd name="T45" fmla="*/ 22 h 56"/>
                <a:gd name="T46" fmla="*/ 9 w 60"/>
                <a:gd name="T47" fmla="*/ 29 h 56"/>
                <a:gd name="T48" fmla="*/ 6 w 60"/>
                <a:gd name="T49" fmla="*/ 39 h 56"/>
                <a:gd name="T50" fmla="*/ 2 w 60"/>
                <a:gd name="T51" fmla="*/ 51 h 56"/>
                <a:gd name="T52" fmla="*/ 3 w 60"/>
                <a:gd name="T53" fmla="*/ 54 h 56"/>
                <a:gd name="T54" fmla="*/ 5 w 60"/>
                <a:gd name="T55" fmla="*/ 51 h 56"/>
                <a:gd name="T56" fmla="*/ 10 w 60"/>
                <a:gd name="T57" fmla="*/ 49 h 56"/>
                <a:gd name="T58" fmla="*/ 11 w 60"/>
                <a:gd name="T59" fmla="*/ 49 h 56"/>
                <a:gd name="T60" fmla="*/ 15 w 60"/>
                <a:gd name="T61" fmla="*/ 52 h 56"/>
                <a:gd name="T62" fmla="*/ 17 w 60"/>
                <a:gd name="T63" fmla="*/ 55 h 56"/>
                <a:gd name="T64" fmla="*/ 21 w 60"/>
                <a:gd name="T65" fmla="*/ 56 h 56"/>
                <a:gd name="T66" fmla="*/ 28 w 60"/>
                <a:gd name="T67" fmla="*/ 55 h 56"/>
                <a:gd name="T68" fmla="*/ 32 w 60"/>
                <a:gd name="T69" fmla="*/ 48 h 56"/>
                <a:gd name="T70" fmla="*/ 33 w 60"/>
                <a:gd name="T71" fmla="*/ 46 h 56"/>
                <a:gd name="T72" fmla="*/ 36 w 60"/>
                <a:gd name="T73" fmla="*/ 43 h 56"/>
                <a:gd name="T74" fmla="*/ 38 w 60"/>
                <a:gd name="T75" fmla="*/ 43 h 56"/>
                <a:gd name="T76" fmla="*/ 41 w 60"/>
                <a:gd name="T77" fmla="*/ 42 h 56"/>
                <a:gd name="T78" fmla="*/ 46 w 60"/>
                <a:gd name="T79" fmla="*/ 40 h 56"/>
                <a:gd name="T80" fmla="*/ 46 w 60"/>
                <a:gd name="T81" fmla="*/ 40 h 56"/>
                <a:gd name="T82" fmla="*/ 49 w 60"/>
                <a:gd name="T83" fmla="*/ 42 h 56"/>
                <a:gd name="T84" fmla="*/ 50 w 60"/>
                <a:gd name="T85" fmla="*/ 43 h 56"/>
                <a:gd name="T86" fmla="*/ 51 w 60"/>
                <a:gd name="T87" fmla="*/ 43 h 56"/>
                <a:gd name="T88" fmla="*/ 51 w 60"/>
                <a:gd name="T89" fmla="*/ 43 h 56"/>
                <a:gd name="T90" fmla="*/ 52 w 60"/>
                <a:gd name="T91" fmla="*/ 43 h 56"/>
                <a:gd name="T92" fmla="*/ 53 w 60"/>
                <a:gd name="T93" fmla="*/ 43 h 56"/>
                <a:gd name="T94" fmla="*/ 55 w 60"/>
                <a:gd name="T95" fmla="*/ 43 h 56"/>
                <a:gd name="T96" fmla="*/ 56 w 60"/>
                <a:gd name="T97" fmla="*/ 43 h 56"/>
                <a:gd name="T98" fmla="*/ 56 w 60"/>
                <a:gd name="T99" fmla="*/ 43 h 56"/>
                <a:gd name="T100" fmla="*/ 59 w 60"/>
                <a:gd name="T101" fmla="*/ 2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6">
                  <a:moveTo>
                    <a:pt x="59" y="23"/>
                  </a:moveTo>
                  <a:cubicBezTo>
                    <a:pt x="59" y="22"/>
                    <a:pt x="59" y="22"/>
                    <a:pt x="59" y="21"/>
                  </a:cubicBezTo>
                  <a:cubicBezTo>
                    <a:pt x="58" y="18"/>
                    <a:pt x="57" y="13"/>
                    <a:pt x="55" y="10"/>
                  </a:cubicBezTo>
                  <a:cubicBezTo>
                    <a:pt x="54" y="9"/>
                    <a:pt x="54" y="9"/>
                    <a:pt x="53" y="8"/>
                  </a:cubicBezTo>
                  <a:cubicBezTo>
                    <a:pt x="52" y="7"/>
                    <a:pt x="51" y="6"/>
                    <a:pt x="51" y="5"/>
                  </a:cubicBezTo>
                  <a:cubicBezTo>
                    <a:pt x="50" y="5"/>
                    <a:pt x="50" y="4"/>
                    <a:pt x="50" y="3"/>
                  </a:cubicBezTo>
                  <a:cubicBezTo>
                    <a:pt x="50" y="3"/>
                    <a:pt x="50" y="2"/>
                    <a:pt x="49" y="2"/>
                  </a:cubicBezTo>
                  <a:cubicBezTo>
                    <a:pt x="49" y="0"/>
                    <a:pt x="49" y="0"/>
                    <a:pt x="49" y="0"/>
                  </a:cubicBezTo>
                  <a:cubicBezTo>
                    <a:pt x="47" y="0"/>
                    <a:pt x="47" y="0"/>
                    <a:pt x="47" y="0"/>
                  </a:cubicBezTo>
                  <a:cubicBezTo>
                    <a:pt x="47" y="0"/>
                    <a:pt x="46" y="0"/>
                    <a:pt x="46" y="1"/>
                  </a:cubicBezTo>
                  <a:cubicBezTo>
                    <a:pt x="44" y="1"/>
                    <a:pt x="43" y="3"/>
                    <a:pt x="42" y="5"/>
                  </a:cubicBezTo>
                  <a:cubicBezTo>
                    <a:pt x="41" y="6"/>
                    <a:pt x="40" y="7"/>
                    <a:pt x="40" y="8"/>
                  </a:cubicBezTo>
                  <a:cubicBezTo>
                    <a:pt x="38" y="10"/>
                    <a:pt x="36" y="12"/>
                    <a:pt x="33" y="12"/>
                  </a:cubicBezTo>
                  <a:cubicBezTo>
                    <a:pt x="33" y="12"/>
                    <a:pt x="33" y="12"/>
                    <a:pt x="33" y="12"/>
                  </a:cubicBezTo>
                  <a:cubicBezTo>
                    <a:pt x="33" y="12"/>
                    <a:pt x="32" y="11"/>
                    <a:pt x="31" y="11"/>
                  </a:cubicBezTo>
                  <a:cubicBezTo>
                    <a:pt x="31" y="10"/>
                    <a:pt x="31" y="9"/>
                    <a:pt x="31" y="9"/>
                  </a:cubicBezTo>
                  <a:cubicBezTo>
                    <a:pt x="30" y="7"/>
                    <a:pt x="30" y="7"/>
                    <a:pt x="30" y="7"/>
                  </a:cubicBezTo>
                  <a:cubicBezTo>
                    <a:pt x="28" y="7"/>
                    <a:pt x="28" y="7"/>
                    <a:pt x="28" y="7"/>
                  </a:cubicBezTo>
                  <a:cubicBezTo>
                    <a:pt x="27" y="7"/>
                    <a:pt x="26" y="8"/>
                    <a:pt x="25" y="8"/>
                  </a:cubicBezTo>
                  <a:cubicBezTo>
                    <a:pt x="25" y="8"/>
                    <a:pt x="24" y="8"/>
                    <a:pt x="24" y="8"/>
                  </a:cubicBezTo>
                  <a:cubicBezTo>
                    <a:pt x="24" y="8"/>
                    <a:pt x="24" y="8"/>
                    <a:pt x="24" y="8"/>
                  </a:cubicBezTo>
                  <a:cubicBezTo>
                    <a:pt x="23" y="8"/>
                    <a:pt x="23" y="8"/>
                    <a:pt x="23" y="8"/>
                  </a:cubicBezTo>
                  <a:cubicBezTo>
                    <a:pt x="20" y="10"/>
                    <a:pt x="10" y="14"/>
                    <a:pt x="9" y="22"/>
                  </a:cubicBezTo>
                  <a:cubicBezTo>
                    <a:pt x="8" y="24"/>
                    <a:pt x="9" y="27"/>
                    <a:pt x="9" y="29"/>
                  </a:cubicBezTo>
                  <a:cubicBezTo>
                    <a:pt x="10" y="34"/>
                    <a:pt x="10" y="37"/>
                    <a:pt x="6" y="39"/>
                  </a:cubicBezTo>
                  <a:cubicBezTo>
                    <a:pt x="2" y="42"/>
                    <a:pt x="0" y="45"/>
                    <a:pt x="2" y="51"/>
                  </a:cubicBezTo>
                  <a:cubicBezTo>
                    <a:pt x="3" y="54"/>
                    <a:pt x="3" y="54"/>
                    <a:pt x="3" y="54"/>
                  </a:cubicBezTo>
                  <a:cubicBezTo>
                    <a:pt x="5" y="51"/>
                    <a:pt x="5" y="51"/>
                    <a:pt x="5" y="51"/>
                  </a:cubicBezTo>
                  <a:cubicBezTo>
                    <a:pt x="7" y="50"/>
                    <a:pt x="9" y="49"/>
                    <a:pt x="10" y="49"/>
                  </a:cubicBezTo>
                  <a:cubicBezTo>
                    <a:pt x="10" y="49"/>
                    <a:pt x="10" y="49"/>
                    <a:pt x="11" y="49"/>
                  </a:cubicBezTo>
                  <a:cubicBezTo>
                    <a:pt x="13" y="49"/>
                    <a:pt x="14" y="50"/>
                    <a:pt x="15" y="52"/>
                  </a:cubicBezTo>
                  <a:cubicBezTo>
                    <a:pt x="16" y="53"/>
                    <a:pt x="16" y="54"/>
                    <a:pt x="17" y="55"/>
                  </a:cubicBezTo>
                  <a:cubicBezTo>
                    <a:pt x="18" y="56"/>
                    <a:pt x="20" y="56"/>
                    <a:pt x="21" y="56"/>
                  </a:cubicBezTo>
                  <a:cubicBezTo>
                    <a:pt x="23" y="56"/>
                    <a:pt x="25" y="56"/>
                    <a:pt x="28" y="55"/>
                  </a:cubicBezTo>
                  <a:cubicBezTo>
                    <a:pt x="32" y="54"/>
                    <a:pt x="32" y="51"/>
                    <a:pt x="32" y="48"/>
                  </a:cubicBezTo>
                  <a:cubicBezTo>
                    <a:pt x="32" y="48"/>
                    <a:pt x="32" y="47"/>
                    <a:pt x="33" y="46"/>
                  </a:cubicBezTo>
                  <a:cubicBezTo>
                    <a:pt x="33" y="44"/>
                    <a:pt x="34" y="43"/>
                    <a:pt x="36" y="43"/>
                  </a:cubicBezTo>
                  <a:cubicBezTo>
                    <a:pt x="37" y="43"/>
                    <a:pt x="38" y="43"/>
                    <a:pt x="38" y="43"/>
                  </a:cubicBezTo>
                  <a:cubicBezTo>
                    <a:pt x="39" y="43"/>
                    <a:pt x="40" y="42"/>
                    <a:pt x="41" y="42"/>
                  </a:cubicBezTo>
                  <a:cubicBezTo>
                    <a:pt x="43" y="41"/>
                    <a:pt x="44" y="40"/>
                    <a:pt x="46" y="40"/>
                  </a:cubicBezTo>
                  <a:cubicBezTo>
                    <a:pt x="46" y="40"/>
                    <a:pt x="46" y="40"/>
                    <a:pt x="46" y="40"/>
                  </a:cubicBezTo>
                  <a:cubicBezTo>
                    <a:pt x="48" y="41"/>
                    <a:pt x="48" y="41"/>
                    <a:pt x="49" y="42"/>
                  </a:cubicBezTo>
                  <a:cubicBezTo>
                    <a:pt x="49" y="42"/>
                    <a:pt x="50" y="42"/>
                    <a:pt x="50" y="43"/>
                  </a:cubicBezTo>
                  <a:cubicBezTo>
                    <a:pt x="51" y="43"/>
                    <a:pt x="51" y="43"/>
                    <a:pt x="51" y="43"/>
                  </a:cubicBezTo>
                  <a:cubicBezTo>
                    <a:pt x="51" y="43"/>
                    <a:pt x="51" y="43"/>
                    <a:pt x="51" y="43"/>
                  </a:cubicBezTo>
                  <a:cubicBezTo>
                    <a:pt x="52" y="43"/>
                    <a:pt x="52" y="43"/>
                    <a:pt x="52" y="43"/>
                  </a:cubicBezTo>
                  <a:cubicBezTo>
                    <a:pt x="52" y="43"/>
                    <a:pt x="53" y="43"/>
                    <a:pt x="53" y="43"/>
                  </a:cubicBezTo>
                  <a:cubicBezTo>
                    <a:pt x="54" y="43"/>
                    <a:pt x="54" y="43"/>
                    <a:pt x="55" y="43"/>
                  </a:cubicBezTo>
                  <a:cubicBezTo>
                    <a:pt x="56" y="43"/>
                    <a:pt x="56" y="43"/>
                    <a:pt x="56" y="43"/>
                  </a:cubicBezTo>
                  <a:cubicBezTo>
                    <a:pt x="56" y="43"/>
                    <a:pt x="56" y="43"/>
                    <a:pt x="56" y="43"/>
                  </a:cubicBezTo>
                  <a:cubicBezTo>
                    <a:pt x="60" y="42"/>
                    <a:pt x="60" y="36"/>
                    <a:pt x="59" y="23"/>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41" name="Freeform 37">
              <a:extLst>
                <a:ext uri="{FF2B5EF4-FFF2-40B4-BE49-F238E27FC236}">
                  <a16:creationId xmlns:a16="http://schemas.microsoft.com/office/drawing/2014/main" id="{D19706E6-A6CC-4658-BDD8-D02A0E6D5C2D}"/>
                </a:ext>
              </a:extLst>
            </p:cNvPr>
            <p:cNvSpPr>
              <a:spLocks noEditPoints="1"/>
            </p:cNvSpPr>
            <p:nvPr/>
          </p:nvSpPr>
          <p:spPr bwMode="auto">
            <a:xfrm>
              <a:off x="2409594" y="226586"/>
              <a:ext cx="233249" cy="443815"/>
            </a:xfrm>
            <a:custGeom>
              <a:avLst/>
              <a:gdLst>
                <a:gd name="T0" fmla="*/ 111 w 115"/>
                <a:gd name="T1" fmla="*/ 156 h 238"/>
                <a:gd name="T2" fmla="*/ 110 w 115"/>
                <a:gd name="T3" fmla="*/ 136 h 238"/>
                <a:gd name="T4" fmla="*/ 107 w 115"/>
                <a:gd name="T5" fmla="*/ 134 h 238"/>
                <a:gd name="T6" fmla="*/ 102 w 115"/>
                <a:gd name="T7" fmla="*/ 128 h 238"/>
                <a:gd name="T8" fmla="*/ 98 w 115"/>
                <a:gd name="T9" fmla="*/ 122 h 238"/>
                <a:gd name="T10" fmla="*/ 102 w 115"/>
                <a:gd name="T11" fmla="*/ 121 h 238"/>
                <a:gd name="T12" fmla="*/ 94 w 115"/>
                <a:gd name="T13" fmla="*/ 114 h 238"/>
                <a:gd name="T14" fmla="*/ 90 w 115"/>
                <a:gd name="T15" fmla="*/ 113 h 238"/>
                <a:gd name="T16" fmla="*/ 85 w 115"/>
                <a:gd name="T17" fmla="*/ 120 h 238"/>
                <a:gd name="T18" fmla="*/ 79 w 115"/>
                <a:gd name="T19" fmla="*/ 119 h 238"/>
                <a:gd name="T20" fmla="*/ 75 w 115"/>
                <a:gd name="T21" fmla="*/ 103 h 238"/>
                <a:gd name="T22" fmla="*/ 88 w 115"/>
                <a:gd name="T23" fmla="*/ 92 h 238"/>
                <a:gd name="T24" fmla="*/ 95 w 115"/>
                <a:gd name="T25" fmla="*/ 86 h 238"/>
                <a:gd name="T26" fmla="*/ 98 w 115"/>
                <a:gd name="T27" fmla="*/ 81 h 238"/>
                <a:gd name="T28" fmla="*/ 101 w 115"/>
                <a:gd name="T29" fmla="*/ 71 h 238"/>
                <a:gd name="T30" fmla="*/ 93 w 115"/>
                <a:gd name="T31" fmla="*/ 53 h 238"/>
                <a:gd name="T32" fmla="*/ 85 w 115"/>
                <a:gd name="T33" fmla="*/ 41 h 238"/>
                <a:gd name="T34" fmla="*/ 89 w 115"/>
                <a:gd name="T35" fmla="*/ 33 h 238"/>
                <a:gd name="T36" fmla="*/ 98 w 115"/>
                <a:gd name="T37" fmla="*/ 22 h 238"/>
                <a:gd name="T38" fmla="*/ 100 w 115"/>
                <a:gd name="T39" fmla="*/ 12 h 238"/>
                <a:gd name="T40" fmla="*/ 97 w 115"/>
                <a:gd name="T41" fmla="*/ 9 h 238"/>
                <a:gd name="T42" fmla="*/ 89 w 115"/>
                <a:gd name="T43" fmla="*/ 14 h 238"/>
                <a:gd name="T44" fmla="*/ 83 w 115"/>
                <a:gd name="T45" fmla="*/ 18 h 238"/>
                <a:gd name="T46" fmla="*/ 77 w 115"/>
                <a:gd name="T47" fmla="*/ 16 h 238"/>
                <a:gd name="T48" fmla="*/ 74 w 115"/>
                <a:gd name="T49" fmla="*/ 4 h 238"/>
                <a:gd name="T50" fmla="*/ 68 w 115"/>
                <a:gd name="T51" fmla="*/ 2 h 238"/>
                <a:gd name="T52" fmla="*/ 54 w 115"/>
                <a:gd name="T53" fmla="*/ 2 h 238"/>
                <a:gd name="T54" fmla="*/ 44 w 115"/>
                <a:gd name="T55" fmla="*/ 5 h 238"/>
                <a:gd name="T56" fmla="*/ 34 w 115"/>
                <a:gd name="T57" fmla="*/ 13 h 238"/>
                <a:gd name="T58" fmla="*/ 31 w 115"/>
                <a:gd name="T59" fmla="*/ 19 h 238"/>
                <a:gd name="T60" fmla="*/ 25 w 115"/>
                <a:gd name="T61" fmla="*/ 25 h 238"/>
                <a:gd name="T62" fmla="*/ 23 w 115"/>
                <a:gd name="T63" fmla="*/ 27 h 238"/>
                <a:gd name="T64" fmla="*/ 23 w 115"/>
                <a:gd name="T65" fmla="*/ 31 h 238"/>
                <a:gd name="T66" fmla="*/ 22 w 115"/>
                <a:gd name="T67" fmla="*/ 48 h 238"/>
                <a:gd name="T68" fmla="*/ 24 w 115"/>
                <a:gd name="T69" fmla="*/ 69 h 238"/>
                <a:gd name="T70" fmla="*/ 26 w 115"/>
                <a:gd name="T71" fmla="*/ 75 h 238"/>
                <a:gd name="T72" fmla="*/ 22 w 115"/>
                <a:gd name="T73" fmla="*/ 84 h 238"/>
                <a:gd name="T74" fmla="*/ 15 w 115"/>
                <a:gd name="T75" fmla="*/ 97 h 238"/>
                <a:gd name="T76" fmla="*/ 9 w 115"/>
                <a:gd name="T77" fmla="*/ 104 h 238"/>
                <a:gd name="T78" fmla="*/ 0 w 115"/>
                <a:gd name="T79" fmla="*/ 116 h 238"/>
                <a:gd name="T80" fmla="*/ 4 w 115"/>
                <a:gd name="T81" fmla="*/ 125 h 238"/>
                <a:gd name="T82" fmla="*/ 6 w 115"/>
                <a:gd name="T83" fmla="*/ 130 h 238"/>
                <a:gd name="T84" fmla="*/ 12 w 115"/>
                <a:gd name="T85" fmla="*/ 140 h 238"/>
                <a:gd name="T86" fmla="*/ 23 w 115"/>
                <a:gd name="T87" fmla="*/ 155 h 238"/>
                <a:gd name="T88" fmla="*/ 44 w 115"/>
                <a:gd name="T89" fmla="*/ 175 h 238"/>
                <a:gd name="T90" fmla="*/ 66 w 115"/>
                <a:gd name="T91" fmla="*/ 233 h 238"/>
                <a:gd name="T92" fmla="*/ 72 w 115"/>
                <a:gd name="T93" fmla="*/ 225 h 238"/>
                <a:gd name="T94" fmla="*/ 77 w 115"/>
                <a:gd name="T95" fmla="*/ 205 h 238"/>
                <a:gd name="T96" fmla="*/ 75 w 115"/>
                <a:gd name="T97" fmla="*/ 196 h 238"/>
                <a:gd name="T98" fmla="*/ 81 w 115"/>
                <a:gd name="T99" fmla="*/ 188 h 238"/>
                <a:gd name="T100" fmla="*/ 87 w 115"/>
                <a:gd name="T101" fmla="*/ 183 h 238"/>
                <a:gd name="T102" fmla="*/ 93 w 115"/>
                <a:gd name="T103" fmla="*/ 177 h 238"/>
                <a:gd name="T104" fmla="*/ 104 w 115"/>
                <a:gd name="T105" fmla="*/ 169 h 238"/>
                <a:gd name="T106" fmla="*/ 110 w 115"/>
                <a:gd name="T107" fmla="*/ 167 h 238"/>
                <a:gd name="T108" fmla="*/ 92 w 115"/>
                <a:gd name="T109" fmla="*/ 125 h 238"/>
                <a:gd name="T110" fmla="*/ 91 w 115"/>
                <a:gd name="T111" fmla="*/ 123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 h="238">
                  <a:moveTo>
                    <a:pt x="112" y="160"/>
                  </a:moveTo>
                  <a:cubicBezTo>
                    <a:pt x="112" y="160"/>
                    <a:pt x="112" y="159"/>
                    <a:pt x="112" y="159"/>
                  </a:cubicBezTo>
                  <a:cubicBezTo>
                    <a:pt x="111" y="158"/>
                    <a:pt x="111" y="158"/>
                    <a:pt x="111" y="156"/>
                  </a:cubicBezTo>
                  <a:cubicBezTo>
                    <a:pt x="111" y="151"/>
                    <a:pt x="111" y="145"/>
                    <a:pt x="112" y="139"/>
                  </a:cubicBezTo>
                  <a:cubicBezTo>
                    <a:pt x="112" y="136"/>
                    <a:pt x="112" y="136"/>
                    <a:pt x="112" y="136"/>
                  </a:cubicBezTo>
                  <a:cubicBezTo>
                    <a:pt x="110" y="136"/>
                    <a:pt x="110" y="136"/>
                    <a:pt x="110" y="136"/>
                  </a:cubicBezTo>
                  <a:cubicBezTo>
                    <a:pt x="110" y="136"/>
                    <a:pt x="110" y="136"/>
                    <a:pt x="110" y="136"/>
                  </a:cubicBezTo>
                  <a:cubicBezTo>
                    <a:pt x="109" y="136"/>
                    <a:pt x="109" y="136"/>
                    <a:pt x="109" y="136"/>
                  </a:cubicBezTo>
                  <a:cubicBezTo>
                    <a:pt x="108" y="135"/>
                    <a:pt x="108" y="134"/>
                    <a:pt x="107" y="134"/>
                  </a:cubicBezTo>
                  <a:cubicBezTo>
                    <a:pt x="106" y="133"/>
                    <a:pt x="105" y="133"/>
                    <a:pt x="105" y="133"/>
                  </a:cubicBezTo>
                  <a:cubicBezTo>
                    <a:pt x="104" y="133"/>
                    <a:pt x="104" y="133"/>
                    <a:pt x="104" y="132"/>
                  </a:cubicBezTo>
                  <a:cubicBezTo>
                    <a:pt x="103" y="132"/>
                    <a:pt x="102" y="130"/>
                    <a:pt x="102" y="128"/>
                  </a:cubicBezTo>
                  <a:cubicBezTo>
                    <a:pt x="102" y="128"/>
                    <a:pt x="102" y="127"/>
                    <a:pt x="102" y="127"/>
                  </a:cubicBezTo>
                  <a:cubicBezTo>
                    <a:pt x="102" y="126"/>
                    <a:pt x="102" y="125"/>
                    <a:pt x="100" y="123"/>
                  </a:cubicBezTo>
                  <a:cubicBezTo>
                    <a:pt x="100" y="123"/>
                    <a:pt x="98" y="122"/>
                    <a:pt x="98" y="122"/>
                  </a:cubicBezTo>
                  <a:cubicBezTo>
                    <a:pt x="98" y="122"/>
                    <a:pt x="98" y="122"/>
                    <a:pt x="98" y="122"/>
                  </a:cubicBezTo>
                  <a:cubicBezTo>
                    <a:pt x="98" y="122"/>
                    <a:pt x="99" y="121"/>
                    <a:pt x="99" y="121"/>
                  </a:cubicBezTo>
                  <a:cubicBezTo>
                    <a:pt x="102" y="121"/>
                    <a:pt x="102" y="121"/>
                    <a:pt x="102" y="121"/>
                  </a:cubicBezTo>
                  <a:cubicBezTo>
                    <a:pt x="101" y="119"/>
                    <a:pt x="101" y="119"/>
                    <a:pt x="101" y="119"/>
                  </a:cubicBezTo>
                  <a:cubicBezTo>
                    <a:pt x="101" y="117"/>
                    <a:pt x="100" y="116"/>
                    <a:pt x="98" y="114"/>
                  </a:cubicBezTo>
                  <a:cubicBezTo>
                    <a:pt x="96" y="114"/>
                    <a:pt x="95" y="114"/>
                    <a:pt x="94" y="114"/>
                  </a:cubicBezTo>
                  <a:cubicBezTo>
                    <a:pt x="93" y="114"/>
                    <a:pt x="93" y="114"/>
                    <a:pt x="92" y="113"/>
                  </a:cubicBezTo>
                  <a:cubicBezTo>
                    <a:pt x="92" y="113"/>
                    <a:pt x="92" y="113"/>
                    <a:pt x="92" y="113"/>
                  </a:cubicBezTo>
                  <a:cubicBezTo>
                    <a:pt x="91" y="113"/>
                    <a:pt x="91" y="113"/>
                    <a:pt x="90" y="113"/>
                  </a:cubicBezTo>
                  <a:cubicBezTo>
                    <a:pt x="90" y="113"/>
                    <a:pt x="88" y="113"/>
                    <a:pt x="87" y="115"/>
                  </a:cubicBezTo>
                  <a:cubicBezTo>
                    <a:pt x="87" y="117"/>
                    <a:pt x="87" y="118"/>
                    <a:pt x="88" y="119"/>
                  </a:cubicBezTo>
                  <a:cubicBezTo>
                    <a:pt x="87" y="120"/>
                    <a:pt x="86" y="120"/>
                    <a:pt x="85" y="120"/>
                  </a:cubicBezTo>
                  <a:cubicBezTo>
                    <a:pt x="84" y="121"/>
                    <a:pt x="84" y="121"/>
                    <a:pt x="83" y="121"/>
                  </a:cubicBezTo>
                  <a:cubicBezTo>
                    <a:pt x="82" y="121"/>
                    <a:pt x="82" y="121"/>
                    <a:pt x="81" y="120"/>
                  </a:cubicBezTo>
                  <a:cubicBezTo>
                    <a:pt x="81" y="120"/>
                    <a:pt x="80" y="119"/>
                    <a:pt x="79" y="119"/>
                  </a:cubicBezTo>
                  <a:cubicBezTo>
                    <a:pt x="78" y="118"/>
                    <a:pt x="76" y="117"/>
                    <a:pt x="75" y="115"/>
                  </a:cubicBezTo>
                  <a:cubicBezTo>
                    <a:pt x="74" y="113"/>
                    <a:pt x="72" y="110"/>
                    <a:pt x="72" y="107"/>
                  </a:cubicBezTo>
                  <a:cubicBezTo>
                    <a:pt x="71" y="105"/>
                    <a:pt x="72" y="104"/>
                    <a:pt x="75" y="103"/>
                  </a:cubicBezTo>
                  <a:cubicBezTo>
                    <a:pt x="76" y="102"/>
                    <a:pt x="76" y="102"/>
                    <a:pt x="76" y="102"/>
                  </a:cubicBezTo>
                  <a:cubicBezTo>
                    <a:pt x="79" y="100"/>
                    <a:pt x="82" y="97"/>
                    <a:pt x="85" y="95"/>
                  </a:cubicBezTo>
                  <a:cubicBezTo>
                    <a:pt x="86" y="94"/>
                    <a:pt x="87" y="93"/>
                    <a:pt x="88" y="92"/>
                  </a:cubicBezTo>
                  <a:cubicBezTo>
                    <a:pt x="89" y="91"/>
                    <a:pt x="91" y="89"/>
                    <a:pt x="92" y="88"/>
                  </a:cubicBezTo>
                  <a:cubicBezTo>
                    <a:pt x="92" y="88"/>
                    <a:pt x="92" y="88"/>
                    <a:pt x="93" y="88"/>
                  </a:cubicBezTo>
                  <a:cubicBezTo>
                    <a:pt x="93" y="88"/>
                    <a:pt x="94" y="87"/>
                    <a:pt x="95" y="86"/>
                  </a:cubicBezTo>
                  <a:cubicBezTo>
                    <a:pt x="95" y="86"/>
                    <a:pt x="95" y="85"/>
                    <a:pt x="95" y="84"/>
                  </a:cubicBezTo>
                  <a:cubicBezTo>
                    <a:pt x="96" y="84"/>
                    <a:pt x="96" y="84"/>
                    <a:pt x="96" y="84"/>
                  </a:cubicBezTo>
                  <a:cubicBezTo>
                    <a:pt x="97" y="83"/>
                    <a:pt x="98" y="82"/>
                    <a:pt x="98" y="81"/>
                  </a:cubicBezTo>
                  <a:cubicBezTo>
                    <a:pt x="98" y="80"/>
                    <a:pt x="99" y="79"/>
                    <a:pt x="99" y="78"/>
                  </a:cubicBezTo>
                  <a:cubicBezTo>
                    <a:pt x="99" y="77"/>
                    <a:pt x="100" y="77"/>
                    <a:pt x="100" y="76"/>
                  </a:cubicBezTo>
                  <a:cubicBezTo>
                    <a:pt x="101" y="74"/>
                    <a:pt x="101" y="72"/>
                    <a:pt x="101" y="71"/>
                  </a:cubicBezTo>
                  <a:cubicBezTo>
                    <a:pt x="101" y="70"/>
                    <a:pt x="101" y="70"/>
                    <a:pt x="101" y="70"/>
                  </a:cubicBezTo>
                  <a:cubicBezTo>
                    <a:pt x="101" y="67"/>
                    <a:pt x="101" y="63"/>
                    <a:pt x="99" y="59"/>
                  </a:cubicBezTo>
                  <a:cubicBezTo>
                    <a:pt x="98" y="56"/>
                    <a:pt x="96" y="54"/>
                    <a:pt x="93" y="53"/>
                  </a:cubicBezTo>
                  <a:cubicBezTo>
                    <a:pt x="91" y="51"/>
                    <a:pt x="91" y="51"/>
                    <a:pt x="91" y="51"/>
                  </a:cubicBezTo>
                  <a:cubicBezTo>
                    <a:pt x="90" y="50"/>
                    <a:pt x="88" y="49"/>
                    <a:pt x="87" y="48"/>
                  </a:cubicBezTo>
                  <a:cubicBezTo>
                    <a:pt x="85" y="46"/>
                    <a:pt x="85" y="44"/>
                    <a:pt x="85" y="41"/>
                  </a:cubicBezTo>
                  <a:cubicBezTo>
                    <a:pt x="85" y="40"/>
                    <a:pt x="85" y="40"/>
                    <a:pt x="85" y="40"/>
                  </a:cubicBezTo>
                  <a:cubicBezTo>
                    <a:pt x="85" y="36"/>
                    <a:pt x="85" y="36"/>
                    <a:pt x="88" y="34"/>
                  </a:cubicBezTo>
                  <a:cubicBezTo>
                    <a:pt x="88" y="33"/>
                    <a:pt x="89" y="33"/>
                    <a:pt x="89" y="33"/>
                  </a:cubicBezTo>
                  <a:cubicBezTo>
                    <a:pt x="90" y="33"/>
                    <a:pt x="91" y="32"/>
                    <a:pt x="92" y="32"/>
                  </a:cubicBezTo>
                  <a:cubicBezTo>
                    <a:pt x="94" y="30"/>
                    <a:pt x="95" y="28"/>
                    <a:pt x="96" y="25"/>
                  </a:cubicBezTo>
                  <a:cubicBezTo>
                    <a:pt x="97" y="24"/>
                    <a:pt x="97" y="23"/>
                    <a:pt x="98" y="22"/>
                  </a:cubicBezTo>
                  <a:cubicBezTo>
                    <a:pt x="98" y="22"/>
                    <a:pt x="98" y="22"/>
                    <a:pt x="99" y="21"/>
                  </a:cubicBezTo>
                  <a:cubicBezTo>
                    <a:pt x="100" y="20"/>
                    <a:pt x="101" y="19"/>
                    <a:pt x="101" y="18"/>
                  </a:cubicBezTo>
                  <a:cubicBezTo>
                    <a:pt x="102" y="16"/>
                    <a:pt x="101" y="13"/>
                    <a:pt x="100" y="12"/>
                  </a:cubicBezTo>
                  <a:cubicBezTo>
                    <a:pt x="100" y="11"/>
                    <a:pt x="100" y="10"/>
                    <a:pt x="99" y="10"/>
                  </a:cubicBezTo>
                  <a:cubicBezTo>
                    <a:pt x="99" y="8"/>
                    <a:pt x="99" y="8"/>
                    <a:pt x="99" y="8"/>
                  </a:cubicBezTo>
                  <a:cubicBezTo>
                    <a:pt x="97" y="9"/>
                    <a:pt x="97" y="9"/>
                    <a:pt x="97" y="9"/>
                  </a:cubicBezTo>
                  <a:cubicBezTo>
                    <a:pt x="96" y="9"/>
                    <a:pt x="95" y="9"/>
                    <a:pt x="94" y="10"/>
                  </a:cubicBezTo>
                  <a:cubicBezTo>
                    <a:pt x="93" y="11"/>
                    <a:pt x="92" y="11"/>
                    <a:pt x="92" y="12"/>
                  </a:cubicBezTo>
                  <a:cubicBezTo>
                    <a:pt x="91" y="12"/>
                    <a:pt x="90" y="13"/>
                    <a:pt x="89" y="14"/>
                  </a:cubicBezTo>
                  <a:cubicBezTo>
                    <a:pt x="89" y="14"/>
                    <a:pt x="88" y="15"/>
                    <a:pt x="87" y="15"/>
                  </a:cubicBezTo>
                  <a:cubicBezTo>
                    <a:pt x="86" y="16"/>
                    <a:pt x="85" y="16"/>
                    <a:pt x="84" y="17"/>
                  </a:cubicBezTo>
                  <a:cubicBezTo>
                    <a:pt x="83" y="18"/>
                    <a:pt x="83" y="18"/>
                    <a:pt x="83" y="18"/>
                  </a:cubicBezTo>
                  <a:cubicBezTo>
                    <a:pt x="83" y="19"/>
                    <a:pt x="81" y="20"/>
                    <a:pt x="80" y="21"/>
                  </a:cubicBezTo>
                  <a:cubicBezTo>
                    <a:pt x="80" y="21"/>
                    <a:pt x="79" y="20"/>
                    <a:pt x="79" y="19"/>
                  </a:cubicBezTo>
                  <a:cubicBezTo>
                    <a:pt x="78" y="18"/>
                    <a:pt x="78" y="17"/>
                    <a:pt x="77" y="16"/>
                  </a:cubicBezTo>
                  <a:cubicBezTo>
                    <a:pt x="76" y="13"/>
                    <a:pt x="75" y="11"/>
                    <a:pt x="77" y="10"/>
                  </a:cubicBezTo>
                  <a:cubicBezTo>
                    <a:pt x="77" y="9"/>
                    <a:pt x="78" y="7"/>
                    <a:pt x="78" y="6"/>
                  </a:cubicBezTo>
                  <a:cubicBezTo>
                    <a:pt x="77" y="5"/>
                    <a:pt x="76" y="4"/>
                    <a:pt x="74" y="4"/>
                  </a:cubicBezTo>
                  <a:cubicBezTo>
                    <a:pt x="73" y="3"/>
                    <a:pt x="72" y="3"/>
                    <a:pt x="71" y="3"/>
                  </a:cubicBezTo>
                  <a:cubicBezTo>
                    <a:pt x="70" y="3"/>
                    <a:pt x="69" y="3"/>
                    <a:pt x="69" y="3"/>
                  </a:cubicBezTo>
                  <a:cubicBezTo>
                    <a:pt x="68" y="3"/>
                    <a:pt x="68" y="2"/>
                    <a:pt x="68" y="2"/>
                  </a:cubicBezTo>
                  <a:cubicBezTo>
                    <a:pt x="67" y="0"/>
                    <a:pt x="65" y="0"/>
                    <a:pt x="63" y="0"/>
                  </a:cubicBezTo>
                  <a:cubicBezTo>
                    <a:pt x="61" y="0"/>
                    <a:pt x="57" y="1"/>
                    <a:pt x="56" y="1"/>
                  </a:cubicBezTo>
                  <a:cubicBezTo>
                    <a:pt x="56" y="1"/>
                    <a:pt x="55" y="1"/>
                    <a:pt x="54" y="2"/>
                  </a:cubicBezTo>
                  <a:cubicBezTo>
                    <a:pt x="53" y="2"/>
                    <a:pt x="52" y="3"/>
                    <a:pt x="50" y="3"/>
                  </a:cubicBezTo>
                  <a:cubicBezTo>
                    <a:pt x="50" y="4"/>
                    <a:pt x="49" y="4"/>
                    <a:pt x="48" y="4"/>
                  </a:cubicBezTo>
                  <a:cubicBezTo>
                    <a:pt x="47" y="4"/>
                    <a:pt x="46" y="4"/>
                    <a:pt x="44" y="5"/>
                  </a:cubicBezTo>
                  <a:cubicBezTo>
                    <a:pt x="43" y="6"/>
                    <a:pt x="42" y="7"/>
                    <a:pt x="41" y="8"/>
                  </a:cubicBezTo>
                  <a:cubicBezTo>
                    <a:pt x="39" y="10"/>
                    <a:pt x="37" y="12"/>
                    <a:pt x="35" y="12"/>
                  </a:cubicBezTo>
                  <a:cubicBezTo>
                    <a:pt x="34" y="13"/>
                    <a:pt x="34" y="13"/>
                    <a:pt x="34" y="13"/>
                  </a:cubicBezTo>
                  <a:cubicBezTo>
                    <a:pt x="33" y="13"/>
                    <a:pt x="33" y="13"/>
                    <a:pt x="33" y="13"/>
                  </a:cubicBezTo>
                  <a:cubicBezTo>
                    <a:pt x="32" y="15"/>
                    <a:pt x="32" y="15"/>
                    <a:pt x="32" y="15"/>
                  </a:cubicBezTo>
                  <a:cubicBezTo>
                    <a:pt x="32" y="16"/>
                    <a:pt x="32" y="18"/>
                    <a:pt x="31" y="19"/>
                  </a:cubicBezTo>
                  <a:cubicBezTo>
                    <a:pt x="30" y="20"/>
                    <a:pt x="29" y="20"/>
                    <a:pt x="28" y="21"/>
                  </a:cubicBezTo>
                  <a:cubicBezTo>
                    <a:pt x="28" y="22"/>
                    <a:pt x="27" y="23"/>
                    <a:pt x="26" y="23"/>
                  </a:cubicBezTo>
                  <a:cubicBezTo>
                    <a:pt x="26" y="24"/>
                    <a:pt x="25" y="24"/>
                    <a:pt x="25" y="25"/>
                  </a:cubicBezTo>
                  <a:cubicBezTo>
                    <a:pt x="25" y="25"/>
                    <a:pt x="25" y="26"/>
                    <a:pt x="25" y="26"/>
                  </a:cubicBezTo>
                  <a:cubicBezTo>
                    <a:pt x="24" y="26"/>
                    <a:pt x="24" y="27"/>
                    <a:pt x="23" y="27"/>
                  </a:cubicBezTo>
                  <a:cubicBezTo>
                    <a:pt x="23" y="27"/>
                    <a:pt x="23" y="27"/>
                    <a:pt x="23" y="27"/>
                  </a:cubicBezTo>
                  <a:cubicBezTo>
                    <a:pt x="22" y="29"/>
                    <a:pt x="22" y="29"/>
                    <a:pt x="22" y="29"/>
                  </a:cubicBezTo>
                  <a:cubicBezTo>
                    <a:pt x="23" y="30"/>
                    <a:pt x="23" y="30"/>
                    <a:pt x="23" y="30"/>
                  </a:cubicBezTo>
                  <a:cubicBezTo>
                    <a:pt x="23" y="30"/>
                    <a:pt x="23" y="30"/>
                    <a:pt x="23" y="31"/>
                  </a:cubicBezTo>
                  <a:cubicBezTo>
                    <a:pt x="24" y="32"/>
                    <a:pt x="24" y="33"/>
                    <a:pt x="24" y="34"/>
                  </a:cubicBezTo>
                  <a:cubicBezTo>
                    <a:pt x="25" y="37"/>
                    <a:pt x="24" y="40"/>
                    <a:pt x="23" y="42"/>
                  </a:cubicBezTo>
                  <a:cubicBezTo>
                    <a:pt x="23" y="44"/>
                    <a:pt x="22" y="46"/>
                    <a:pt x="22" y="48"/>
                  </a:cubicBezTo>
                  <a:cubicBezTo>
                    <a:pt x="22" y="50"/>
                    <a:pt x="22" y="53"/>
                    <a:pt x="23" y="55"/>
                  </a:cubicBezTo>
                  <a:cubicBezTo>
                    <a:pt x="23" y="57"/>
                    <a:pt x="24" y="59"/>
                    <a:pt x="23" y="62"/>
                  </a:cubicBezTo>
                  <a:cubicBezTo>
                    <a:pt x="23" y="64"/>
                    <a:pt x="23" y="67"/>
                    <a:pt x="24" y="69"/>
                  </a:cubicBezTo>
                  <a:cubicBezTo>
                    <a:pt x="25" y="69"/>
                    <a:pt x="25" y="69"/>
                    <a:pt x="25" y="70"/>
                  </a:cubicBezTo>
                  <a:cubicBezTo>
                    <a:pt x="26" y="70"/>
                    <a:pt x="26" y="70"/>
                    <a:pt x="26" y="71"/>
                  </a:cubicBezTo>
                  <a:cubicBezTo>
                    <a:pt x="27" y="72"/>
                    <a:pt x="26" y="74"/>
                    <a:pt x="26" y="75"/>
                  </a:cubicBezTo>
                  <a:cubicBezTo>
                    <a:pt x="25" y="75"/>
                    <a:pt x="25" y="76"/>
                    <a:pt x="24" y="77"/>
                  </a:cubicBezTo>
                  <a:cubicBezTo>
                    <a:pt x="24" y="78"/>
                    <a:pt x="23" y="79"/>
                    <a:pt x="22" y="81"/>
                  </a:cubicBezTo>
                  <a:cubicBezTo>
                    <a:pt x="22" y="82"/>
                    <a:pt x="22" y="83"/>
                    <a:pt x="22" y="84"/>
                  </a:cubicBezTo>
                  <a:cubicBezTo>
                    <a:pt x="22" y="86"/>
                    <a:pt x="22" y="87"/>
                    <a:pt x="22" y="88"/>
                  </a:cubicBezTo>
                  <a:cubicBezTo>
                    <a:pt x="22" y="90"/>
                    <a:pt x="19" y="94"/>
                    <a:pt x="18" y="95"/>
                  </a:cubicBezTo>
                  <a:cubicBezTo>
                    <a:pt x="17" y="96"/>
                    <a:pt x="16" y="96"/>
                    <a:pt x="15" y="97"/>
                  </a:cubicBezTo>
                  <a:cubicBezTo>
                    <a:pt x="14" y="97"/>
                    <a:pt x="13" y="98"/>
                    <a:pt x="12" y="98"/>
                  </a:cubicBezTo>
                  <a:cubicBezTo>
                    <a:pt x="11" y="99"/>
                    <a:pt x="11" y="100"/>
                    <a:pt x="10" y="101"/>
                  </a:cubicBezTo>
                  <a:cubicBezTo>
                    <a:pt x="10" y="102"/>
                    <a:pt x="9" y="103"/>
                    <a:pt x="9" y="104"/>
                  </a:cubicBezTo>
                  <a:cubicBezTo>
                    <a:pt x="8" y="105"/>
                    <a:pt x="7" y="106"/>
                    <a:pt x="5" y="107"/>
                  </a:cubicBezTo>
                  <a:cubicBezTo>
                    <a:pt x="5" y="107"/>
                    <a:pt x="4" y="108"/>
                    <a:pt x="3" y="108"/>
                  </a:cubicBezTo>
                  <a:cubicBezTo>
                    <a:pt x="0" y="111"/>
                    <a:pt x="0" y="112"/>
                    <a:pt x="0" y="116"/>
                  </a:cubicBezTo>
                  <a:cubicBezTo>
                    <a:pt x="0" y="118"/>
                    <a:pt x="1" y="119"/>
                    <a:pt x="2" y="121"/>
                  </a:cubicBezTo>
                  <a:cubicBezTo>
                    <a:pt x="2" y="122"/>
                    <a:pt x="3" y="122"/>
                    <a:pt x="3" y="123"/>
                  </a:cubicBezTo>
                  <a:cubicBezTo>
                    <a:pt x="3" y="124"/>
                    <a:pt x="3" y="124"/>
                    <a:pt x="4" y="125"/>
                  </a:cubicBezTo>
                  <a:cubicBezTo>
                    <a:pt x="4" y="126"/>
                    <a:pt x="4" y="127"/>
                    <a:pt x="4" y="127"/>
                  </a:cubicBezTo>
                  <a:cubicBezTo>
                    <a:pt x="5" y="128"/>
                    <a:pt x="5" y="128"/>
                    <a:pt x="5" y="128"/>
                  </a:cubicBezTo>
                  <a:cubicBezTo>
                    <a:pt x="6" y="129"/>
                    <a:pt x="6" y="129"/>
                    <a:pt x="6" y="130"/>
                  </a:cubicBezTo>
                  <a:cubicBezTo>
                    <a:pt x="7" y="131"/>
                    <a:pt x="7" y="132"/>
                    <a:pt x="7" y="134"/>
                  </a:cubicBezTo>
                  <a:cubicBezTo>
                    <a:pt x="7" y="135"/>
                    <a:pt x="7" y="137"/>
                    <a:pt x="8" y="138"/>
                  </a:cubicBezTo>
                  <a:cubicBezTo>
                    <a:pt x="8" y="139"/>
                    <a:pt x="10" y="139"/>
                    <a:pt x="12" y="140"/>
                  </a:cubicBezTo>
                  <a:cubicBezTo>
                    <a:pt x="13" y="140"/>
                    <a:pt x="14" y="140"/>
                    <a:pt x="15" y="141"/>
                  </a:cubicBezTo>
                  <a:cubicBezTo>
                    <a:pt x="18" y="143"/>
                    <a:pt x="19" y="145"/>
                    <a:pt x="21" y="147"/>
                  </a:cubicBezTo>
                  <a:cubicBezTo>
                    <a:pt x="23" y="150"/>
                    <a:pt x="23" y="152"/>
                    <a:pt x="23" y="155"/>
                  </a:cubicBezTo>
                  <a:cubicBezTo>
                    <a:pt x="23" y="158"/>
                    <a:pt x="24" y="161"/>
                    <a:pt x="27" y="163"/>
                  </a:cubicBezTo>
                  <a:cubicBezTo>
                    <a:pt x="29" y="165"/>
                    <a:pt x="31" y="166"/>
                    <a:pt x="33" y="167"/>
                  </a:cubicBezTo>
                  <a:cubicBezTo>
                    <a:pt x="37" y="169"/>
                    <a:pt x="41" y="171"/>
                    <a:pt x="44" y="175"/>
                  </a:cubicBezTo>
                  <a:cubicBezTo>
                    <a:pt x="57" y="238"/>
                    <a:pt x="57" y="238"/>
                    <a:pt x="57" y="238"/>
                  </a:cubicBezTo>
                  <a:cubicBezTo>
                    <a:pt x="60" y="236"/>
                    <a:pt x="60" y="236"/>
                    <a:pt x="60" y="236"/>
                  </a:cubicBezTo>
                  <a:cubicBezTo>
                    <a:pt x="62" y="235"/>
                    <a:pt x="64" y="234"/>
                    <a:pt x="66" y="233"/>
                  </a:cubicBezTo>
                  <a:cubicBezTo>
                    <a:pt x="67" y="232"/>
                    <a:pt x="68" y="231"/>
                    <a:pt x="68" y="230"/>
                  </a:cubicBezTo>
                  <a:cubicBezTo>
                    <a:pt x="69" y="229"/>
                    <a:pt x="69" y="228"/>
                    <a:pt x="70" y="227"/>
                  </a:cubicBezTo>
                  <a:cubicBezTo>
                    <a:pt x="71" y="226"/>
                    <a:pt x="72" y="225"/>
                    <a:pt x="72" y="225"/>
                  </a:cubicBezTo>
                  <a:cubicBezTo>
                    <a:pt x="74" y="223"/>
                    <a:pt x="75" y="222"/>
                    <a:pt x="76" y="221"/>
                  </a:cubicBezTo>
                  <a:cubicBezTo>
                    <a:pt x="78" y="217"/>
                    <a:pt x="79" y="210"/>
                    <a:pt x="77" y="206"/>
                  </a:cubicBezTo>
                  <a:cubicBezTo>
                    <a:pt x="77" y="205"/>
                    <a:pt x="77" y="205"/>
                    <a:pt x="77" y="205"/>
                  </a:cubicBezTo>
                  <a:cubicBezTo>
                    <a:pt x="76" y="204"/>
                    <a:pt x="76" y="203"/>
                    <a:pt x="75" y="201"/>
                  </a:cubicBezTo>
                  <a:cubicBezTo>
                    <a:pt x="75" y="200"/>
                    <a:pt x="75" y="199"/>
                    <a:pt x="75" y="198"/>
                  </a:cubicBezTo>
                  <a:cubicBezTo>
                    <a:pt x="75" y="197"/>
                    <a:pt x="75" y="196"/>
                    <a:pt x="75" y="196"/>
                  </a:cubicBezTo>
                  <a:cubicBezTo>
                    <a:pt x="74" y="194"/>
                    <a:pt x="75" y="193"/>
                    <a:pt x="76" y="192"/>
                  </a:cubicBezTo>
                  <a:cubicBezTo>
                    <a:pt x="76" y="192"/>
                    <a:pt x="76" y="191"/>
                    <a:pt x="76" y="191"/>
                  </a:cubicBezTo>
                  <a:cubicBezTo>
                    <a:pt x="78" y="189"/>
                    <a:pt x="79" y="188"/>
                    <a:pt x="81" y="188"/>
                  </a:cubicBezTo>
                  <a:cubicBezTo>
                    <a:pt x="82" y="188"/>
                    <a:pt x="83" y="188"/>
                    <a:pt x="84" y="187"/>
                  </a:cubicBezTo>
                  <a:cubicBezTo>
                    <a:pt x="86" y="186"/>
                    <a:pt x="86" y="186"/>
                    <a:pt x="86" y="184"/>
                  </a:cubicBezTo>
                  <a:cubicBezTo>
                    <a:pt x="87" y="184"/>
                    <a:pt x="87" y="183"/>
                    <a:pt x="87" y="183"/>
                  </a:cubicBezTo>
                  <a:cubicBezTo>
                    <a:pt x="87" y="181"/>
                    <a:pt x="88" y="181"/>
                    <a:pt x="89" y="181"/>
                  </a:cubicBezTo>
                  <a:cubicBezTo>
                    <a:pt x="89" y="180"/>
                    <a:pt x="89" y="180"/>
                    <a:pt x="90" y="180"/>
                  </a:cubicBezTo>
                  <a:cubicBezTo>
                    <a:pt x="91" y="179"/>
                    <a:pt x="92" y="178"/>
                    <a:pt x="93" y="177"/>
                  </a:cubicBezTo>
                  <a:cubicBezTo>
                    <a:pt x="94" y="176"/>
                    <a:pt x="95" y="175"/>
                    <a:pt x="96" y="174"/>
                  </a:cubicBezTo>
                  <a:cubicBezTo>
                    <a:pt x="98" y="173"/>
                    <a:pt x="99" y="172"/>
                    <a:pt x="101" y="171"/>
                  </a:cubicBezTo>
                  <a:cubicBezTo>
                    <a:pt x="102" y="171"/>
                    <a:pt x="103" y="170"/>
                    <a:pt x="104" y="169"/>
                  </a:cubicBezTo>
                  <a:cubicBezTo>
                    <a:pt x="105" y="169"/>
                    <a:pt x="106" y="169"/>
                    <a:pt x="107" y="168"/>
                  </a:cubicBezTo>
                  <a:cubicBezTo>
                    <a:pt x="107" y="168"/>
                    <a:pt x="108" y="168"/>
                    <a:pt x="108" y="167"/>
                  </a:cubicBezTo>
                  <a:cubicBezTo>
                    <a:pt x="109" y="167"/>
                    <a:pt x="109" y="167"/>
                    <a:pt x="110" y="167"/>
                  </a:cubicBezTo>
                  <a:cubicBezTo>
                    <a:pt x="112" y="166"/>
                    <a:pt x="112" y="165"/>
                    <a:pt x="113" y="165"/>
                  </a:cubicBezTo>
                  <a:cubicBezTo>
                    <a:pt x="115" y="163"/>
                    <a:pt x="113" y="161"/>
                    <a:pt x="112" y="160"/>
                  </a:cubicBezTo>
                  <a:close/>
                  <a:moveTo>
                    <a:pt x="92" y="125"/>
                  </a:moveTo>
                  <a:cubicBezTo>
                    <a:pt x="92" y="125"/>
                    <a:pt x="91" y="126"/>
                    <a:pt x="91" y="126"/>
                  </a:cubicBezTo>
                  <a:cubicBezTo>
                    <a:pt x="91" y="126"/>
                    <a:pt x="91" y="125"/>
                    <a:pt x="91" y="125"/>
                  </a:cubicBezTo>
                  <a:cubicBezTo>
                    <a:pt x="91" y="124"/>
                    <a:pt x="91" y="124"/>
                    <a:pt x="91" y="123"/>
                  </a:cubicBezTo>
                  <a:cubicBezTo>
                    <a:pt x="91" y="123"/>
                    <a:pt x="91" y="123"/>
                    <a:pt x="91" y="123"/>
                  </a:cubicBezTo>
                  <a:cubicBezTo>
                    <a:pt x="92" y="124"/>
                    <a:pt x="92" y="125"/>
                    <a:pt x="92" y="125"/>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42" name="Freeform 38">
              <a:extLst>
                <a:ext uri="{FF2B5EF4-FFF2-40B4-BE49-F238E27FC236}">
                  <a16:creationId xmlns:a16="http://schemas.microsoft.com/office/drawing/2014/main" id="{918A5E5F-80B0-4F6B-A641-D97A72CF854A}"/>
                </a:ext>
              </a:extLst>
            </p:cNvPr>
            <p:cNvSpPr>
              <a:spLocks/>
            </p:cNvSpPr>
            <p:nvPr/>
          </p:nvSpPr>
          <p:spPr bwMode="auto">
            <a:xfrm>
              <a:off x="2513384" y="480342"/>
              <a:ext cx="908442" cy="843455"/>
            </a:xfrm>
            <a:custGeom>
              <a:avLst/>
              <a:gdLst>
                <a:gd name="T0" fmla="*/ 430 w 449"/>
                <a:gd name="T1" fmla="*/ 105 h 453"/>
                <a:gd name="T2" fmla="*/ 434 w 449"/>
                <a:gd name="T3" fmla="*/ 73 h 453"/>
                <a:gd name="T4" fmla="*/ 440 w 449"/>
                <a:gd name="T5" fmla="*/ 51 h 453"/>
                <a:gd name="T6" fmla="*/ 438 w 449"/>
                <a:gd name="T7" fmla="*/ 45 h 453"/>
                <a:gd name="T8" fmla="*/ 431 w 449"/>
                <a:gd name="T9" fmla="*/ 41 h 453"/>
                <a:gd name="T10" fmla="*/ 422 w 449"/>
                <a:gd name="T11" fmla="*/ 39 h 453"/>
                <a:gd name="T12" fmla="*/ 411 w 449"/>
                <a:gd name="T13" fmla="*/ 40 h 453"/>
                <a:gd name="T14" fmla="*/ 405 w 449"/>
                <a:gd name="T15" fmla="*/ 36 h 453"/>
                <a:gd name="T16" fmla="*/ 397 w 449"/>
                <a:gd name="T17" fmla="*/ 34 h 453"/>
                <a:gd name="T18" fmla="*/ 388 w 449"/>
                <a:gd name="T19" fmla="*/ 34 h 453"/>
                <a:gd name="T20" fmla="*/ 383 w 449"/>
                <a:gd name="T21" fmla="*/ 26 h 453"/>
                <a:gd name="T22" fmla="*/ 369 w 449"/>
                <a:gd name="T23" fmla="*/ 16 h 453"/>
                <a:gd name="T24" fmla="*/ 336 w 449"/>
                <a:gd name="T25" fmla="*/ 11 h 453"/>
                <a:gd name="T26" fmla="*/ 322 w 449"/>
                <a:gd name="T27" fmla="*/ 15 h 453"/>
                <a:gd name="T28" fmla="*/ 296 w 449"/>
                <a:gd name="T29" fmla="*/ 64 h 453"/>
                <a:gd name="T30" fmla="*/ 273 w 449"/>
                <a:gd name="T31" fmla="*/ 97 h 453"/>
                <a:gd name="T32" fmla="*/ 260 w 449"/>
                <a:gd name="T33" fmla="*/ 91 h 453"/>
                <a:gd name="T34" fmla="*/ 251 w 449"/>
                <a:gd name="T35" fmla="*/ 83 h 453"/>
                <a:gd name="T36" fmla="*/ 234 w 449"/>
                <a:gd name="T37" fmla="*/ 75 h 453"/>
                <a:gd name="T38" fmla="*/ 210 w 449"/>
                <a:gd name="T39" fmla="*/ 67 h 453"/>
                <a:gd name="T40" fmla="*/ 189 w 449"/>
                <a:gd name="T41" fmla="*/ 64 h 453"/>
                <a:gd name="T42" fmla="*/ 173 w 449"/>
                <a:gd name="T43" fmla="*/ 52 h 453"/>
                <a:gd name="T44" fmla="*/ 154 w 449"/>
                <a:gd name="T45" fmla="*/ 25 h 453"/>
                <a:gd name="T46" fmla="*/ 130 w 449"/>
                <a:gd name="T47" fmla="*/ 15 h 453"/>
                <a:gd name="T48" fmla="*/ 107 w 449"/>
                <a:gd name="T49" fmla="*/ 10 h 453"/>
                <a:gd name="T50" fmla="*/ 95 w 449"/>
                <a:gd name="T51" fmla="*/ 14 h 453"/>
                <a:gd name="T52" fmla="*/ 74 w 449"/>
                <a:gd name="T53" fmla="*/ 6 h 453"/>
                <a:gd name="T54" fmla="*/ 61 w 449"/>
                <a:gd name="T55" fmla="*/ 0 h 453"/>
                <a:gd name="T56" fmla="*/ 61 w 449"/>
                <a:gd name="T57" fmla="*/ 24 h 453"/>
                <a:gd name="T58" fmla="*/ 55 w 449"/>
                <a:gd name="T59" fmla="*/ 32 h 453"/>
                <a:gd name="T60" fmla="*/ 42 w 449"/>
                <a:gd name="T61" fmla="*/ 41 h 453"/>
                <a:gd name="T62" fmla="*/ 35 w 449"/>
                <a:gd name="T63" fmla="*/ 48 h 453"/>
                <a:gd name="T64" fmla="*/ 24 w 449"/>
                <a:gd name="T65" fmla="*/ 56 h 453"/>
                <a:gd name="T66" fmla="*/ 25 w 449"/>
                <a:gd name="T67" fmla="*/ 69 h 453"/>
                <a:gd name="T68" fmla="*/ 19 w 449"/>
                <a:gd name="T69" fmla="*/ 91 h 453"/>
                <a:gd name="T70" fmla="*/ 2 w 449"/>
                <a:gd name="T71" fmla="*/ 104 h 453"/>
                <a:gd name="T72" fmla="*/ 9 w 449"/>
                <a:gd name="T73" fmla="*/ 118 h 453"/>
                <a:gd name="T74" fmla="*/ 13 w 449"/>
                <a:gd name="T75" fmla="*/ 133 h 453"/>
                <a:gd name="T76" fmla="*/ 14 w 449"/>
                <a:gd name="T77" fmla="*/ 170 h 453"/>
                <a:gd name="T78" fmla="*/ 16 w 449"/>
                <a:gd name="T79" fmla="*/ 185 h 453"/>
                <a:gd name="T80" fmla="*/ 17 w 449"/>
                <a:gd name="T81" fmla="*/ 223 h 453"/>
                <a:gd name="T82" fmla="*/ 5 w 449"/>
                <a:gd name="T83" fmla="*/ 238 h 453"/>
                <a:gd name="T84" fmla="*/ 20 w 449"/>
                <a:gd name="T85" fmla="*/ 260 h 453"/>
                <a:gd name="T86" fmla="*/ 22 w 449"/>
                <a:gd name="T87" fmla="*/ 278 h 453"/>
                <a:gd name="T88" fmla="*/ 27 w 449"/>
                <a:gd name="T89" fmla="*/ 282 h 453"/>
                <a:gd name="T90" fmla="*/ 30 w 449"/>
                <a:gd name="T91" fmla="*/ 288 h 453"/>
                <a:gd name="T92" fmla="*/ 37 w 449"/>
                <a:gd name="T93" fmla="*/ 290 h 453"/>
                <a:gd name="T94" fmla="*/ 75 w 449"/>
                <a:gd name="T95" fmla="*/ 322 h 453"/>
                <a:gd name="T96" fmla="*/ 190 w 449"/>
                <a:gd name="T97" fmla="*/ 324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9" h="453">
                  <a:moveTo>
                    <a:pt x="420" y="438"/>
                  </a:moveTo>
                  <a:cubicBezTo>
                    <a:pt x="449" y="438"/>
                    <a:pt x="449" y="438"/>
                    <a:pt x="449" y="438"/>
                  </a:cubicBezTo>
                  <a:cubicBezTo>
                    <a:pt x="439" y="133"/>
                    <a:pt x="439" y="133"/>
                    <a:pt x="439" y="133"/>
                  </a:cubicBezTo>
                  <a:cubicBezTo>
                    <a:pt x="430" y="105"/>
                    <a:pt x="430" y="105"/>
                    <a:pt x="430" y="105"/>
                  </a:cubicBezTo>
                  <a:cubicBezTo>
                    <a:pt x="429" y="101"/>
                    <a:pt x="431" y="99"/>
                    <a:pt x="433" y="97"/>
                  </a:cubicBezTo>
                  <a:cubicBezTo>
                    <a:pt x="434" y="96"/>
                    <a:pt x="435" y="94"/>
                    <a:pt x="436" y="92"/>
                  </a:cubicBezTo>
                  <a:cubicBezTo>
                    <a:pt x="438" y="87"/>
                    <a:pt x="437" y="82"/>
                    <a:pt x="435" y="76"/>
                  </a:cubicBezTo>
                  <a:cubicBezTo>
                    <a:pt x="435" y="75"/>
                    <a:pt x="434" y="74"/>
                    <a:pt x="434" y="73"/>
                  </a:cubicBezTo>
                  <a:cubicBezTo>
                    <a:pt x="433" y="70"/>
                    <a:pt x="431" y="66"/>
                    <a:pt x="433" y="62"/>
                  </a:cubicBezTo>
                  <a:cubicBezTo>
                    <a:pt x="434" y="61"/>
                    <a:pt x="437" y="56"/>
                    <a:pt x="440" y="54"/>
                  </a:cubicBezTo>
                  <a:cubicBezTo>
                    <a:pt x="441" y="53"/>
                    <a:pt x="441" y="53"/>
                    <a:pt x="441" y="53"/>
                  </a:cubicBezTo>
                  <a:cubicBezTo>
                    <a:pt x="440" y="51"/>
                    <a:pt x="440" y="51"/>
                    <a:pt x="440" y="51"/>
                  </a:cubicBezTo>
                  <a:cubicBezTo>
                    <a:pt x="440" y="51"/>
                    <a:pt x="440" y="50"/>
                    <a:pt x="440" y="50"/>
                  </a:cubicBezTo>
                  <a:cubicBezTo>
                    <a:pt x="440" y="49"/>
                    <a:pt x="440" y="49"/>
                    <a:pt x="440" y="48"/>
                  </a:cubicBezTo>
                  <a:cubicBezTo>
                    <a:pt x="439" y="47"/>
                    <a:pt x="439" y="47"/>
                    <a:pt x="438" y="46"/>
                  </a:cubicBezTo>
                  <a:cubicBezTo>
                    <a:pt x="438" y="45"/>
                    <a:pt x="438" y="45"/>
                    <a:pt x="438" y="45"/>
                  </a:cubicBezTo>
                  <a:cubicBezTo>
                    <a:pt x="438" y="45"/>
                    <a:pt x="438" y="45"/>
                    <a:pt x="438" y="44"/>
                  </a:cubicBezTo>
                  <a:cubicBezTo>
                    <a:pt x="437" y="44"/>
                    <a:pt x="437" y="43"/>
                    <a:pt x="437" y="42"/>
                  </a:cubicBezTo>
                  <a:cubicBezTo>
                    <a:pt x="436" y="41"/>
                    <a:pt x="434" y="40"/>
                    <a:pt x="433" y="40"/>
                  </a:cubicBezTo>
                  <a:cubicBezTo>
                    <a:pt x="432" y="40"/>
                    <a:pt x="431" y="40"/>
                    <a:pt x="431" y="41"/>
                  </a:cubicBezTo>
                  <a:cubicBezTo>
                    <a:pt x="430" y="41"/>
                    <a:pt x="430" y="41"/>
                    <a:pt x="429" y="41"/>
                  </a:cubicBezTo>
                  <a:cubicBezTo>
                    <a:pt x="428" y="41"/>
                    <a:pt x="427" y="40"/>
                    <a:pt x="426" y="40"/>
                  </a:cubicBezTo>
                  <a:cubicBezTo>
                    <a:pt x="425" y="40"/>
                    <a:pt x="425" y="40"/>
                    <a:pt x="424" y="40"/>
                  </a:cubicBezTo>
                  <a:cubicBezTo>
                    <a:pt x="423" y="39"/>
                    <a:pt x="422" y="39"/>
                    <a:pt x="422" y="39"/>
                  </a:cubicBezTo>
                  <a:cubicBezTo>
                    <a:pt x="420" y="39"/>
                    <a:pt x="418" y="40"/>
                    <a:pt x="417" y="40"/>
                  </a:cubicBezTo>
                  <a:cubicBezTo>
                    <a:pt x="416" y="40"/>
                    <a:pt x="416" y="40"/>
                    <a:pt x="415" y="40"/>
                  </a:cubicBezTo>
                  <a:cubicBezTo>
                    <a:pt x="414" y="40"/>
                    <a:pt x="414" y="40"/>
                    <a:pt x="413" y="40"/>
                  </a:cubicBezTo>
                  <a:cubicBezTo>
                    <a:pt x="412" y="40"/>
                    <a:pt x="412" y="40"/>
                    <a:pt x="411" y="40"/>
                  </a:cubicBezTo>
                  <a:cubicBezTo>
                    <a:pt x="410" y="40"/>
                    <a:pt x="410" y="40"/>
                    <a:pt x="409" y="39"/>
                  </a:cubicBezTo>
                  <a:cubicBezTo>
                    <a:pt x="409" y="39"/>
                    <a:pt x="409" y="38"/>
                    <a:pt x="408" y="38"/>
                  </a:cubicBezTo>
                  <a:cubicBezTo>
                    <a:pt x="407" y="37"/>
                    <a:pt x="407" y="37"/>
                    <a:pt x="406" y="37"/>
                  </a:cubicBezTo>
                  <a:cubicBezTo>
                    <a:pt x="406" y="37"/>
                    <a:pt x="405" y="36"/>
                    <a:pt x="405" y="36"/>
                  </a:cubicBezTo>
                  <a:cubicBezTo>
                    <a:pt x="405" y="36"/>
                    <a:pt x="405" y="36"/>
                    <a:pt x="404" y="36"/>
                  </a:cubicBezTo>
                  <a:cubicBezTo>
                    <a:pt x="404" y="35"/>
                    <a:pt x="403" y="35"/>
                    <a:pt x="403" y="34"/>
                  </a:cubicBezTo>
                  <a:cubicBezTo>
                    <a:pt x="402" y="34"/>
                    <a:pt x="401" y="33"/>
                    <a:pt x="399" y="33"/>
                  </a:cubicBezTo>
                  <a:cubicBezTo>
                    <a:pt x="399" y="33"/>
                    <a:pt x="398" y="34"/>
                    <a:pt x="397" y="34"/>
                  </a:cubicBezTo>
                  <a:cubicBezTo>
                    <a:pt x="396" y="34"/>
                    <a:pt x="396" y="34"/>
                    <a:pt x="396" y="34"/>
                  </a:cubicBezTo>
                  <a:cubicBezTo>
                    <a:pt x="395" y="34"/>
                    <a:pt x="395" y="34"/>
                    <a:pt x="395" y="34"/>
                  </a:cubicBezTo>
                  <a:cubicBezTo>
                    <a:pt x="393" y="34"/>
                    <a:pt x="391" y="34"/>
                    <a:pt x="389" y="34"/>
                  </a:cubicBezTo>
                  <a:cubicBezTo>
                    <a:pt x="388" y="34"/>
                    <a:pt x="388" y="34"/>
                    <a:pt x="388" y="34"/>
                  </a:cubicBezTo>
                  <a:cubicBezTo>
                    <a:pt x="387" y="34"/>
                    <a:pt x="387" y="34"/>
                    <a:pt x="386" y="33"/>
                  </a:cubicBezTo>
                  <a:cubicBezTo>
                    <a:pt x="385" y="32"/>
                    <a:pt x="385" y="32"/>
                    <a:pt x="384" y="31"/>
                  </a:cubicBezTo>
                  <a:cubicBezTo>
                    <a:pt x="383" y="30"/>
                    <a:pt x="383" y="30"/>
                    <a:pt x="383" y="29"/>
                  </a:cubicBezTo>
                  <a:cubicBezTo>
                    <a:pt x="382" y="28"/>
                    <a:pt x="383" y="27"/>
                    <a:pt x="383" y="26"/>
                  </a:cubicBezTo>
                  <a:cubicBezTo>
                    <a:pt x="383" y="25"/>
                    <a:pt x="383" y="24"/>
                    <a:pt x="383" y="23"/>
                  </a:cubicBezTo>
                  <a:cubicBezTo>
                    <a:pt x="383" y="21"/>
                    <a:pt x="382" y="18"/>
                    <a:pt x="376" y="17"/>
                  </a:cubicBezTo>
                  <a:cubicBezTo>
                    <a:pt x="375" y="17"/>
                    <a:pt x="375" y="17"/>
                    <a:pt x="375" y="17"/>
                  </a:cubicBezTo>
                  <a:cubicBezTo>
                    <a:pt x="373" y="17"/>
                    <a:pt x="371" y="17"/>
                    <a:pt x="369" y="16"/>
                  </a:cubicBezTo>
                  <a:cubicBezTo>
                    <a:pt x="367" y="15"/>
                    <a:pt x="366" y="15"/>
                    <a:pt x="364" y="14"/>
                  </a:cubicBezTo>
                  <a:cubicBezTo>
                    <a:pt x="361" y="12"/>
                    <a:pt x="358" y="10"/>
                    <a:pt x="354" y="10"/>
                  </a:cubicBezTo>
                  <a:cubicBezTo>
                    <a:pt x="351" y="9"/>
                    <a:pt x="348" y="9"/>
                    <a:pt x="346" y="9"/>
                  </a:cubicBezTo>
                  <a:cubicBezTo>
                    <a:pt x="342" y="9"/>
                    <a:pt x="339" y="10"/>
                    <a:pt x="336" y="11"/>
                  </a:cubicBezTo>
                  <a:cubicBezTo>
                    <a:pt x="335" y="12"/>
                    <a:pt x="335" y="12"/>
                    <a:pt x="335" y="12"/>
                  </a:cubicBezTo>
                  <a:cubicBezTo>
                    <a:pt x="333" y="13"/>
                    <a:pt x="332" y="14"/>
                    <a:pt x="330" y="15"/>
                  </a:cubicBezTo>
                  <a:cubicBezTo>
                    <a:pt x="329" y="15"/>
                    <a:pt x="327" y="15"/>
                    <a:pt x="326" y="15"/>
                  </a:cubicBezTo>
                  <a:cubicBezTo>
                    <a:pt x="325" y="15"/>
                    <a:pt x="323" y="15"/>
                    <a:pt x="322" y="15"/>
                  </a:cubicBezTo>
                  <a:cubicBezTo>
                    <a:pt x="318" y="16"/>
                    <a:pt x="314" y="19"/>
                    <a:pt x="310" y="21"/>
                  </a:cubicBezTo>
                  <a:cubicBezTo>
                    <a:pt x="309" y="22"/>
                    <a:pt x="308" y="23"/>
                    <a:pt x="307" y="24"/>
                  </a:cubicBezTo>
                  <a:cubicBezTo>
                    <a:pt x="296" y="31"/>
                    <a:pt x="290" y="45"/>
                    <a:pt x="292" y="57"/>
                  </a:cubicBezTo>
                  <a:cubicBezTo>
                    <a:pt x="293" y="59"/>
                    <a:pt x="294" y="62"/>
                    <a:pt x="296" y="64"/>
                  </a:cubicBezTo>
                  <a:cubicBezTo>
                    <a:pt x="297" y="66"/>
                    <a:pt x="299" y="68"/>
                    <a:pt x="299" y="71"/>
                  </a:cubicBezTo>
                  <a:cubicBezTo>
                    <a:pt x="299" y="76"/>
                    <a:pt x="296" y="81"/>
                    <a:pt x="293" y="85"/>
                  </a:cubicBezTo>
                  <a:cubicBezTo>
                    <a:pt x="290" y="90"/>
                    <a:pt x="285" y="93"/>
                    <a:pt x="280" y="95"/>
                  </a:cubicBezTo>
                  <a:cubicBezTo>
                    <a:pt x="278" y="96"/>
                    <a:pt x="275" y="97"/>
                    <a:pt x="273" y="97"/>
                  </a:cubicBezTo>
                  <a:cubicBezTo>
                    <a:pt x="272" y="97"/>
                    <a:pt x="272" y="97"/>
                    <a:pt x="271" y="97"/>
                  </a:cubicBezTo>
                  <a:cubicBezTo>
                    <a:pt x="268" y="96"/>
                    <a:pt x="266" y="96"/>
                    <a:pt x="263" y="94"/>
                  </a:cubicBezTo>
                  <a:cubicBezTo>
                    <a:pt x="263" y="94"/>
                    <a:pt x="263" y="94"/>
                    <a:pt x="262" y="93"/>
                  </a:cubicBezTo>
                  <a:cubicBezTo>
                    <a:pt x="261" y="93"/>
                    <a:pt x="260" y="92"/>
                    <a:pt x="260" y="91"/>
                  </a:cubicBezTo>
                  <a:cubicBezTo>
                    <a:pt x="258" y="89"/>
                    <a:pt x="257" y="88"/>
                    <a:pt x="256" y="87"/>
                  </a:cubicBezTo>
                  <a:cubicBezTo>
                    <a:pt x="255" y="86"/>
                    <a:pt x="254" y="86"/>
                    <a:pt x="254" y="85"/>
                  </a:cubicBezTo>
                  <a:cubicBezTo>
                    <a:pt x="253" y="85"/>
                    <a:pt x="253" y="84"/>
                    <a:pt x="252" y="84"/>
                  </a:cubicBezTo>
                  <a:cubicBezTo>
                    <a:pt x="252" y="84"/>
                    <a:pt x="251" y="83"/>
                    <a:pt x="251" y="83"/>
                  </a:cubicBezTo>
                  <a:cubicBezTo>
                    <a:pt x="250" y="82"/>
                    <a:pt x="249" y="81"/>
                    <a:pt x="247" y="80"/>
                  </a:cubicBezTo>
                  <a:cubicBezTo>
                    <a:pt x="246" y="80"/>
                    <a:pt x="246" y="79"/>
                    <a:pt x="245" y="79"/>
                  </a:cubicBezTo>
                  <a:cubicBezTo>
                    <a:pt x="242" y="78"/>
                    <a:pt x="240" y="77"/>
                    <a:pt x="238" y="77"/>
                  </a:cubicBezTo>
                  <a:cubicBezTo>
                    <a:pt x="237" y="76"/>
                    <a:pt x="235" y="75"/>
                    <a:pt x="234" y="75"/>
                  </a:cubicBezTo>
                  <a:cubicBezTo>
                    <a:pt x="232" y="74"/>
                    <a:pt x="231" y="73"/>
                    <a:pt x="229" y="72"/>
                  </a:cubicBezTo>
                  <a:cubicBezTo>
                    <a:pt x="226" y="72"/>
                    <a:pt x="223" y="71"/>
                    <a:pt x="219" y="69"/>
                  </a:cubicBezTo>
                  <a:cubicBezTo>
                    <a:pt x="218" y="69"/>
                    <a:pt x="216" y="68"/>
                    <a:pt x="214" y="68"/>
                  </a:cubicBezTo>
                  <a:cubicBezTo>
                    <a:pt x="213" y="68"/>
                    <a:pt x="211" y="68"/>
                    <a:pt x="210" y="67"/>
                  </a:cubicBezTo>
                  <a:cubicBezTo>
                    <a:pt x="207" y="66"/>
                    <a:pt x="205" y="66"/>
                    <a:pt x="202" y="66"/>
                  </a:cubicBezTo>
                  <a:cubicBezTo>
                    <a:pt x="201" y="66"/>
                    <a:pt x="200" y="65"/>
                    <a:pt x="199" y="65"/>
                  </a:cubicBezTo>
                  <a:cubicBezTo>
                    <a:pt x="198" y="65"/>
                    <a:pt x="196" y="65"/>
                    <a:pt x="195" y="65"/>
                  </a:cubicBezTo>
                  <a:cubicBezTo>
                    <a:pt x="193" y="64"/>
                    <a:pt x="191" y="64"/>
                    <a:pt x="189" y="64"/>
                  </a:cubicBezTo>
                  <a:cubicBezTo>
                    <a:pt x="186" y="64"/>
                    <a:pt x="184" y="63"/>
                    <a:pt x="182" y="61"/>
                  </a:cubicBezTo>
                  <a:cubicBezTo>
                    <a:pt x="181" y="61"/>
                    <a:pt x="181" y="61"/>
                    <a:pt x="181" y="61"/>
                  </a:cubicBezTo>
                  <a:cubicBezTo>
                    <a:pt x="180" y="60"/>
                    <a:pt x="178" y="59"/>
                    <a:pt x="177" y="58"/>
                  </a:cubicBezTo>
                  <a:cubicBezTo>
                    <a:pt x="176" y="57"/>
                    <a:pt x="174" y="55"/>
                    <a:pt x="173" y="52"/>
                  </a:cubicBezTo>
                  <a:cubicBezTo>
                    <a:pt x="171" y="48"/>
                    <a:pt x="170" y="44"/>
                    <a:pt x="170" y="41"/>
                  </a:cubicBezTo>
                  <a:cubicBezTo>
                    <a:pt x="170" y="40"/>
                    <a:pt x="170" y="39"/>
                    <a:pt x="169" y="39"/>
                  </a:cubicBezTo>
                  <a:cubicBezTo>
                    <a:pt x="169" y="35"/>
                    <a:pt x="169" y="31"/>
                    <a:pt x="165" y="28"/>
                  </a:cubicBezTo>
                  <a:cubicBezTo>
                    <a:pt x="161" y="25"/>
                    <a:pt x="158" y="25"/>
                    <a:pt x="154" y="25"/>
                  </a:cubicBezTo>
                  <a:cubicBezTo>
                    <a:pt x="153" y="25"/>
                    <a:pt x="152" y="25"/>
                    <a:pt x="152" y="25"/>
                  </a:cubicBezTo>
                  <a:cubicBezTo>
                    <a:pt x="147" y="25"/>
                    <a:pt x="144" y="24"/>
                    <a:pt x="141" y="22"/>
                  </a:cubicBezTo>
                  <a:cubicBezTo>
                    <a:pt x="140" y="21"/>
                    <a:pt x="140" y="21"/>
                    <a:pt x="140" y="21"/>
                  </a:cubicBezTo>
                  <a:cubicBezTo>
                    <a:pt x="137" y="18"/>
                    <a:pt x="134" y="16"/>
                    <a:pt x="130" y="15"/>
                  </a:cubicBezTo>
                  <a:cubicBezTo>
                    <a:pt x="128" y="15"/>
                    <a:pt x="126" y="15"/>
                    <a:pt x="125" y="14"/>
                  </a:cubicBezTo>
                  <a:cubicBezTo>
                    <a:pt x="122" y="14"/>
                    <a:pt x="120" y="13"/>
                    <a:pt x="117" y="12"/>
                  </a:cubicBezTo>
                  <a:cubicBezTo>
                    <a:pt x="116" y="12"/>
                    <a:pt x="114" y="12"/>
                    <a:pt x="113" y="12"/>
                  </a:cubicBezTo>
                  <a:cubicBezTo>
                    <a:pt x="111" y="11"/>
                    <a:pt x="109" y="10"/>
                    <a:pt x="107" y="10"/>
                  </a:cubicBezTo>
                  <a:cubicBezTo>
                    <a:pt x="106" y="10"/>
                    <a:pt x="105" y="10"/>
                    <a:pt x="104" y="11"/>
                  </a:cubicBezTo>
                  <a:cubicBezTo>
                    <a:pt x="103" y="11"/>
                    <a:pt x="102" y="12"/>
                    <a:pt x="101" y="12"/>
                  </a:cubicBezTo>
                  <a:cubicBezTo>
                    <a:pt x="100" y="12"/>
                    <a:pt x="99" y="13"/>
                    <a:pt x="99" y="13"/>
                  </a:cubicBezTo>
                  <a:cubicBezTo>
                    <a:pt x="98" y="13"/>
                    <a:pt x="96" y="14"/>
                    <a:pt x="95" y="14"/>
                  </a:cubicBezTo>
                  <a:cubicBezTo>
                    <a:pt x="94" y="14"/>
                    <a:pt x="94" y="14"/>
                    <a:pt x="93" y="13"/>
                  </a:cubicBezTo>
                  <a:cubicBezTo>
                    <a:pt x="90" y="13"/>
                    <a:pt x="85" y="13"/>
                    <a:pt x="82" y="11"/>
                  </a:cubicBezTo>
                  <a:cubicBezTo>
                    <a:pt x="80" y="10"/>
                    <a:pt x="79" y="9"/>
                    <a:pt x="77" y="8"/>
                  </a:cubicBezTo>
                  <a:cubicBezTo>
                    <a:pt x="76" y="7"/>
                    <a:pt x="75" y="6"/>
                    <a:pt x="74" y="6"/>
                  </a:cubicBezTo>
                  <a:cubicBezTo>
                    <a:pt x="71" y="4"/>
                    <a:pt x="69" y="4"/>
                    <a:pt x="67" y="3"/>
                  </a:cubicBezTo>
                  <a:cubicBezTo>
                    <a:pt x="66" y="3"/>
                    <a:pt x="65" y="3"/>
                    <a:pt x="64" y="2"/>
                  </a:cubicBezTo>
                  <a:cubicBezTo>
                    <a:pt x="64" y="2"/>
                    <a:pt x="64" y="2"/>
                    <a:pt x="64" y="2"/>
                  </a:cubicBezTo>
                  <a:cubicBezTo>
                    <a:pt x="61" y="0"/>
                    <a:pt x="61" y="0"/>
                    <a:pt x="61" y="0"/>
                  </a:cubicBezTo>
                  <a:cubicBezTo>
                    <a:pt x="61" y="3"/>
                    <a:pt x="61" y="3"/>
                    <a:pt x="61" y="3"/>
                  </a:cubicBezTo>
                  <a:cubicBezTo>
                    <a:pt x="60" y="9"/>
                    <a:pt x="59" y="15"/>
                    <a:pt x="59" y="20"/>
                  </a:cubicBezTo>
                  <a:cubicBezTo>
                    <a:pt x="59" y="22"/>
                    <a:pt x="59" y="22"/>
                    <a:pt x="60" y="23"/>
                  </a:cubicBezTo>
                  <a:cubicBezTo>
                    <a:pt x="61" y="24"/>
                    <a:pt x="61" y="24"/>
                    <a:pt x="61" y="24"/>
                  </a:cubicBezTo>
                  <a:cubicBezTo>
                    <a:pt x="63" y="27"/>
                    <a:pt x="62" y="28"/>
                    <a:pt x="61" y="29"/>
                  </a:cubicBezTo>
                  <a:cubicBezTo>
                    <a:pt x="61" y="29"/>
                    <a:pt x="60" y="30"/>
                    <a:pt x="58" y="31"/>
                  </a:cubicBezTo>
                  <a:cubicBezTo>
                    <a:pt x="58" y="31"/>
                    <a:pt x="58" y="31"/>
                    <a:pt x="57" y="31"/>
                  </a:cubicBezTo>
                  <a:cubicBezTo>
                    <a:pt x="57" y="31"/>
                    <a:pt x="56" y="32"/>
                    <a:pt x="55" y="32"/>
                  </a:cubicBezTo>
                  <a:cubicBezTo>
                    <a:pt x="55" y="32"/>
                    <a:pt x="54" y="33"/>
                    <a:pt x="53" y="33"/>
                  </a:cubicBezTo>
                  <a:cubicBezTo>
                    <a:pt x="52" y="34"/>
                    <a:pt x="51" y="34"/>
                    <a:pt x="50" y="35"/>
                  </a:cubicBezTo>
                  <a:cubicBezTo>
                    <a:pt x="48" y="35"/>
                    <a:pt x="46" y="36"/>
                    <a:pt x="45" y="37"/>
                  </a:cubicBezTo>
                  <a:cubicBezTo>
                    <a:pt x="44" y="38"/>
                    <a:pt x="43" y="39"/>
                    <a:pt x="42" y="41"/>
                  </a:cubicBezTo>
                  <a:cubicBezTo>
                    <a:pt x="41" y="42"/>
                    <a:pt x="40" y="43"/>
                    <a:pt x="38" y="44"/>
                  </a:cubicBezTo>
                  <a:cubicBezTo>
                    <a:pt x="38" y="44"/>
                    <a:pt x="38" y="44"/>
                    <a:pt x="37" y="44"/>
                  </a:cubicBezTo>
                  <a:cubicBezTo>
                    <a:pt x="36" y="45"/>
                    <a:pt x="36" y="46"/>
                    <a:pt x="35" y="47"/>
                  </a:cubicBezTo>
                  <a:cubicBezTo>
                    <a:pt x="35" y="47"/>
                    <a:pt x="35" y="48"/>
                    <a:pt x="35" y="48"/>
                  </a:cubicBezTo>
                  <a:cubicBezTo>
                    <a:pt x="35" y="49"/>
                    <a:pt x="35" y="50"/>
                    <a:pt x="33" y="51"/>
                  </a:cubicBezTo>
                  <a:cubicBezTo>
                    <a:pt x="32" y="51"/>
                    <a:pt x="31" y="51"/>
                    <a:pt x="30" y="52"/>
                  </a:cubicBezTo>
                  <a:cubicBezTo>
                    <a:pt x="28" y="52"/>
                    <a:pt x="27" y="52"/>
                    <a:pt x="25" y="55"/>
                  </a:cubicBezTo>
                  <a:cubicBezTo>
                    <a:pt x="25" y="55"/>
                    <a:pt x="25" y="55"/>
                    <a:pt x="24" y="56"/>
                  </a:cubicBezTo>
                  <a:cubicBezTo>
                    <a:pt x="24" y="57"/>
                    <a:pt x="23" y="58"/>
                    <a:pt x="23" y="60"/>
                  </a:cubicBezTo>
                  <a:cubicBezTo>
                    <a:pt x="23" y="60"/>
                    <a:pt x="23" y="61"/>
                    <a:pt x="24" y="62"/>
                  </a:cubicBezTo>
                  <a:cubicBezTo>
                    <a:pt x="24" y="63"/>
                    <a:pt x="24" y="64"/>
                    <a:pt x="24" y="65"/>
                  </a:cubicBezTo>
                  <a:cubicBezTo>
                    <a:pt x="24" y="67"/>
                    <a:pt x="25" y="68"/>
                    <a:pt x="25" y="69"/>
                  </a:cubicBezTo>
                  <a:cubicBezTo>
                    <a:pt x="26" y="70"/>
                    <a:pt x="26" y="70"/>
                    <a:pt x="26" y="70"/>
                  </a:cubicBezTo>
                  <a:cubicBezTo>
                    <a:pt x="27" y="74"/>
                    <a:pt x="27" y="81"/>
                    <a:pt x="24" y="85"/>
                  </a:cubicBezTo>
                  <a:cubicBezTo>
                    <a:pt x="24" y="86"/>
                    <a:pt x="22" y="87"/>
                    <a:pt x="21" y="88"/>
                  </a:cubicBezTo>
                  <a:cubicBezTo>
                    <a:pt x="20" y="89"/>
                    <a:pt x="19" y="90"/>
                    <a:pt x="19" y="91"/>
                  </a:cubicBezTo>
                  <a:cubicBezTo>
                    <a:pt x="18" y="92"/>
                    <a:pt x="17" y="93"/>
                    <a:pt x="17" y="93"/>
                  </a:cubicBezTo>
                  <a:cubicBezTo>
                    <a:pt x="16" y="94"/>
                    <a:pt x="16" y="96"/>
                    <a:pt x="14" y="97"/>
                  </a:cubicBezTo>
                  <a:cubicBezTo>
                    <a:pt x="11" y="99"/>
                    <a:pt x="9" y="100"/>
                    <a:pt x="7" y="101"/>
                  </a:cubicBezTo>
                  <a:cubicBezTo>
                    <a:pt x="5" y="102"/>
                    <a:pt x="3" y="103"/>
                    <a:pt x="2" y="104"/>
                  </a:cubicBezTo>
                  <a:cubicBezTo>
                    <a:pt x="0" y="106"/>
                    <a:pt x="0" y="106"/>
                    <a:pt x="0" y="106"/>
                  </a:cubicBezTo>
                  <a:cubicBezTo>
                    <a:pt x="1" y="107"/>
                    <a:pt x="1" y="107"/>
                    <a:pt x="1" y="107"/>
                  </a:cubicBezTo>
                  <a:cubicBezTo>
                    <a:pt x="4" y="110"/>
                    <a:pt x="5" y="113"/>
                    <a:pt x="7" y="115"/>
                  </a:cubicBezTo>
                  <a:cubicBezTo>
                    <a:pt x="7" y="116"/>
                    <a:pt x="8" y="117"/>
                    <a:pt x="9" y="118"/>
                  </a:cubicBezTo>
                  <a:cubicBezTo>
                    <a:pt x="10" y="120"/>
                    <a:pt x="12" y="122"/>
                    <a:pt x="12" y="124"/>
                  </a:cubicBezTo>
                  <a:cubicBezTo>
                    <a:pt x="13" y="125"/>
                    <a:pt x="12" y="126"/>
                    <a:pt x="12" y="127"/>
                  </a:cubicBezTo>
                  <a:cubicBezTo>
                    <a:pt x="12" y="127"/>
                    <a:pt x="12" y="128"/>
                    <a:pt x="12" y="128"/>
                  </a:cubicBezTo>
                  <a:cubicBezTo>
                    <a:pt x="12" y="130"/>
                    <a:pt x="13" y="131"/>
                    <a:pt x="13" y="133"/>
                  </a:cubicBezTo>
                  <a:cubicBezTo>
                    <a:pt x="14" y="133"/>
                    <a:pt x="14" y="134"/>
                    <a:pt x="14" y="134"/>
                  </a:cubicBezTo>
                  <a:cubicBezTo>
                    <a:pt x="15" y="136"/>
                    <a:pt x="15" y="139"/>
                    <a:pt x="15" y="141"/>
                  </a:cubicBezTo>
                  <a:cubicBezTo>
                    <a:pt x="16" y="147"/>
                    <a:pt x="15" y="151"/>
                    <a:pt x="14" y="156"/>
                  </a:cubicBezTo>
                  <a:cubicBezTo>
                    <a:pt x="13" y="161"/>
                    <a:pt x="12" y="167"/>
                    <a:pt x="14" y="170"/>
                  </a:cubicBezTo>
                  <a:cubicBezTo>
                    <a:pt x="15" y="171"/>
                    <a:pt x="15" y="171"/>
                    <a:pt x="16" y="172"/>
                  </a:cubicBezTo>
                  <a:cubicBezTo>
                    <a:pt x="17" y="173"/>
                    <a:pt x="18" y="174"/>
                    <a:pt x="18" y="175"/>
                  </a:cubicBezTo>
                  <a:cubicBezTo>
                    <a:pt x="19" y="177"/>
                    <a:pt x="18" y="180"/>
                    <a:pt x="17" y="181"/>
                  </a:cubicBezTo>
                  <a:cubicBezTo>
                    <a:pt x="16" y="185"/>
                    <a:pt x="16" y="185"/>
                    <a:pt x="16" y="185"/>
                  </a:cubicBezTo>
                  <a:cubicBezTo>
                    <a:pt x="15" y="186"/>
                    <a:pt x="14" y="188"/>
                    <a:pt x="14" y="190"/>
                  </a:cubicBezTo>
                  <a:cubicBezTo>
                    <a:pt x="12" y="195"/>
                    <a:pt x="11" y="199"/>
                    <a:pt x="14" y="203"/>
                  </a:cubicBezTo>
                  <a:cubicBezTo>
                    <a:pt x="15" y="205"/>
                    <a:pt x="16" y="207"/>
                    <a:pt x="16" y="209"/>
                  </a:cubicBezTo>
                  <a:cubicBezTo>
                    <a:pt x="17" y="213"/>
                    <a:pt x="17" y="218"/>
                    <a:pt x="17" y="223"/>
                  </a:cubicBezTo>
                  <a:cubicBezTo>
                    <a:pt x="15" y="223"/>
                    <a:pt x="13" y="225"/>
                    <a:pt x="11" y="226"/>
                  </a:cubicBezTo>
                  <a:cubicBezTo>
                    <a:pt x="11" y="226"/>
                    <a:pt x="10" y="227"/>
                    <a:pt x="9" y="227"/>
                  </a:cubicBezTo>
                  <a:cubicBezTo>
                    <a:pt x="6" y="229"/>
                    <a:pt x="4" y="231"/>
                    <a:pt x="3" y="233"/>
                  </a:cubicBezTo>
                  <a:cubicBezTo>
                    <a:pt x="3" y="234"/>
                    <a:pt x="3" y="236"/>
                    <a:pt x="5" y="238"/>
                  </a:cubicBezTo>
                  <a:cubicBezTo>
                    <a:pt x="6" y="240"/>
                    <a:pt x="7" y="242"/>
                    <a:pt x="9" y="244"/>
                  </a:cubicBezTo>
                  <a:cubicBezTo>
                    <a:pt x="10" y="245"/>
                    <a:pt x="11" y="247"/>
                    <a:pt x="12" y="248"/>
                  </a:cubicBezTo>
                  <a:cubicBezTo>
                    <a:pt x="13" y="249"/>
                    <a:pt x="14" y="250"/>
                    <a:pt x="15" y="251"/>
                  </a:cubicBezTo>
                  <a:cubicBezTo>
                    <a:pt x="17" y="254"/>
                    <a:pt x="19" y="257"/>
                    <a:pt x="20" y="260"/>
                  </a:cubicBezTo>
                  <a:cubicBezTo>
                    <a:pt x="21" y="263"/>
                    <a:pt x="21" y="266"/>
                    <a:pt x="21" y="270"/>
                  </a:cubicBezTo>
                  <a:cubicBezTo>
                    <a:pt x="21" y="272"/>
                    <a:pt x="21" y="274"/>
                    <a:pt x="22" y="276"/>
                  </a:cubicBezTo>
                  <a:cubicBezTo>
                    <a:pt x="22" y="277"/>
                    <a:pt x="22" y="277"/>
                    <a:pt x="22" y="277"/>
                  </a:cubicBezTo>
                  <a:cubicBezTo>
                    <a:pt x="22" y="278"/>
                    <a:pt x="22" y="278"/>
                    <a:pt x="22" y="278"/>
                  </a:cubicBezTo>
                  <a:cubicBezTo>
                    <a:pt x="23" y="278"/>
                    <a:pt x="23" y="278"/>
                    <a:pt x="23" y="279"/>
                  </a:cubicBezTo>
                  <a:cubicBezTo>
                    <a:pt x="23" y="279"/>
                    <a:pt x="23" y="280"/>
                    <a:pt x="24" y="280"/>
                  </a:cubicBezTo>
                  <a:cubicBezTo>
                    <a:pt x="24" y="280"/>
                    <a:pt x="25" y="281"/>
                    <a:pt x="25" y="281"/>
                  </a:cubicBezTo>
                  <a:cubicBezTo>
                    <a:pt x="26" y="281"/>
                    <a:pt x="26" y="282"/>
                    <a:pt x="27" y="282"/>
                  </a:cubicBezTo>
                  <a:cubicBezTo>
                    <a:pt x="27" y="283"/>
                    <a:pt x="27" y="284"/>
                    <a:pt x="27" y="284"/>
                  </a:cubicBezTo>
                  <a:cubicBezTo>
                    <a:pt x="27" y="285"/>
                    <a:pt x="27" y="286"/>
                    <a:pt x="27" y="286"/>
                  </a:cubicBezTo>
                  <a:cubicBezTo>
                    <a:pt x="28" y="287"/>
                    <a:pt x="28" y="287"/>
                    <a:pt x="29" y="288"/>
                  </a:cubicBezTo>
                  <a:cubicBezTo>
                    <a:pt x="29" y="288"/>
                    <a:pt x="30" y="288"/>
                    <a:pt x="30" y="288"/>
                  </a:cubicBezTo>
                  <a:cubicBezTo>
                    <a:pt x="31" y="289"/>
                    <a:pt x="31" y="289"/>
                    <a:pt x="31" y="289"/>
                  </a:cubicBezTo>
                  <a:cubicBezTo>
                    <a:pt x="32" y="290"/>
                    <a:pt x="32" y="290"/>
                    <a:pt x="34" y="290"/>
                  </a:cubicBezTo>
                  <a:cubicBezTo>
                    <a:pt x="34" y="290"/>
                    <a:pt x="34" y="290"/>
                    <a:pt x="35" y="290"/>
                  </a:cubicBezTo>
                  <a:cubicBezTo>
                    <a:pt x="36" y="290"/>
                    <a:pt x="36" y="290"/>
                    <a:pt x="37" y="290"/>
                  </a:cubicBezTo>
                  <a:cubicBezTo>
                    <a:pt x="38" y="289"/>
                    <a:pt x="39" y="289"/>
                    <a:pt x="41" y="289"/>
                  </a:cubicBezTo>
                  <a:cubicBezTo>
                    <a:pt x="42" y="289"/>
                    <a:pt x="43" y="289"/>
                    <a:pt x="44" y="289"/>
                  </a:cubicBezTo>
                  <a:cubicBezTo>
                    <a:pt x="65" y="296"/>
                    <a:pt x="65" y="296"/>
                    <a:pt x="65" y="296"/>
                  </a:cubicBezTo>
                  <a:cubicBezTo>
                    <a:pt x="75" y="322"/>
                    <a:pt x="75" y="322"/>
                    <a:pt x="75" y="322"/>
                  </a:cubicBezTo>
                  <a:cubicBezTo>
                    <a:pt x="76" y="322"/>
                    <a:pt x="76" y="322"/>
                    <a:pt x="76" y="322"/>
                  </a:cubicBezTo>
                  <a:cubicBezTo>
                    <a:pt x="107" y="328"/>
                    <a:pt x="121" y="332"/>
                    <a:pt x="122" y="334"/>
                  </a:cubicBezTo>
                  <a:cubicBezTo>
                    <a:pt x="141" y="352"/>
                    <a:pt x="141" y="352"/>
                    <a:pt x="141" y="352"/>
                  </a:cubicBezTo>
                  <a:cubicBezTo>
                    <a:pt x="190" y="324"/>
                    <a:pt x="190" y="324"/>
                    <a:pt x="190" y="324"/>
                  </a:cubicBezTo>
                  <a:cubicBezTo>
                    <a:pt x="421" y="453"/>
                    <a:pt x="421" y="453"/>
                    <a:pt x="421" y="453"/>
                  </a:cubicBezTo>
                  <a:cubicBezTo>
                    <a:pt x="421" y="450"/>
                    <a:pt x="421" y="450"/>
                    <a:pt x="421" y="450"/>
                  </a:cubicBezTo>
                  <a:lnTo>
                    <a:pt x="420" y="438"/>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43" name="Freeform 39">
              <a:extLst>
                <a:ext uri="{FF2B5EF4-FFF2-40B4-BE49-F238E27FC236}">
                  <a16:creationId xmlns:a16="http://schemas.microsoft.com/office/drawing/2014/main" id="{A5C8AADB-03E5-47B0-BEA2-47E45F2EDC85}"/>
                </a:ext>
              </a:extLst>
            </p:cNvPr>
            <p:cNvSpPr>
              <a:spLocks/>
            </p:cNvSpPr>
            <p:nvPr/>
          </p:nvSpPr>
          <p:spPr bwMode="auto">
            <a:xfrm>
              <a:off x="2677439" y="2793934"/>
              <a:ext cx="70309" cy="80133"/>
            </a:xfrm>
            <a:custGeom>
              <a:avLst/>
              <a:gdLst>
                <a:gd name="T0" fmla="*/ 30 w 35"/>
                <a:gd name="T1" fmla="*/ 5 h 43"/>
                <a:gd name="T2" fmla="*/ 28 w 35"/>
                <a:gd name="T3" fmla="*/ 0 h 43"/>
                <a:gd name="T4" fmla="*/ 27 w 35"/>
                <a:gd name="T5" fmla="*/ 0 h 43"/>
                <a:gd name="T6" fmla="*/ 12 w 35"/>
                <a:gd name="T7" fmla="*/ 8 h 43"/>
                <a:gd name="T8" fmla="*/ 6 w 35"/>
                <a:gd name="T9" fmla="*/ 12 h 43"/>
                <a:gd name="T10" fmla="*/ 5 w 35"/>
                <a:gd name="T11" fmla="*/ 12 h 43"/>
                <a:gd name="T12" fmla="*/ 4 w 35"/>
                <a:gd name="T13" fmla="*/ 13 h 43"/>
                <a:gd name="T14" fmla="*/ 1 w 35"/>
                <a:gd name="T15" fmla="*/ 20 h 43"/>
                <a:gd name="T16" fmla="*/ 0 w 35"/>
                <a:gd name="T17" fmla="*/ 21 h 43"/>
                <a:gd name="T18" fmla="*/ 1 w 35"/>
                <a:gd name="T19" fmla="*/ 22 h 43"/>
                <a:gd name="T20" fmla="*/ 1 w 35"/>
                <a:gd name="T21" fmla="*/ 23 h 43"/>
                <a:gd name="T22" fmla="*/ 2 w 35"/>
                <a:gd name="T23" fmla="*/ 26 h 43"/>
                <a:gd name="T24" fmla="*/ 3 w 35"/>
                <a:gd name="T25" fmla="*/ 27 h 43"/>
                <a:gd name="T26" fmla="*/ 3 w 35"/>
                <a:gd name="T27" fmla="*/ 28 h 43"/>
                <a:gd name="T28" fmla="*/ 4 w 35"/>
                <a:gd name="T29" fmla="*/ 36 h 43"/>
                <a:gd name="T30" fmla="*/ 4 w 35"/>
                <a:gd name="T31" fmla="*/ 42 h 43"/>
                <a:gd name="T32" fmla="*/ 4 w 35"/>
                <a:gd name="T33" fmla="*/ 43 h 43"/>
                <a:gd name="T34" fmla="*/ 18 w 35"/>
                <a:gd name="T35" fmla="*/ 43 h 43"/>
                <a:gd name="T36" fmla="*/ 18 w 35"/>
                <a:gd name="T37" fmla="*/ 41 h 43"/>
                <a:gd name="T38" fmla="*/ 18 w 35"/>
                <a:gd name="T39" fmla="*/ 36 h 43"/>
                <a:gd name="T40" fmla="*/ 18 w 35"/>
                <a:gd name="T41" fmla="*/ 25 h 43"/>
                <a:gd name="T42" fmla="*/ 18 w 35"/>
                <a:gd name="T43" fmla="*/ 23 h 43"/>
                <a:gd name="T44" fmla="*/ 18 w 35"/>
                <a:gd name="T45" fmla="*/ 21 h 43"/>
                <a:gd name="T46" fmla="*/ 21 w 35"/>
                <a:gd name="T47" fmla="*/ 17 h 43"/>
                <a:gd name="T48" fmla="*/ 24 w 35"/>
                <a:gd name="T49" fmla="*/ 14 h 43"/>
                <a:gd name="T50" fmla="*/ 24 w 35"/>
                <a:gd name="T51" fmla="*/ 12 h 43"/>
                <a:gd name="T52" fmla="*/ 28 w 35"/>
                <a:gd name="T53" fmla="*/ 9 h 43"/>
                <a:gd name="T54" fmla="*/ 30 w 35"/>
                <a:gd name="T55" fmla="*/ 8 h 43"/>
                <a:gd name="T56" fmla="*/ 35 w 35"/>
                <a:gd name="T57" fmla="*/ 8 h 43"/>
                <a:gd name="T58" fmla="*/ 30 w 35"/>
                <a:gd name="T5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43">
                  <a:moveTo>
                    <a:pt x="30" y="5"/>
                  </a:moveTo>
                  <a:cubicBezTo>
                    <a:pt x="30" y="3"/>
                    <a:pt x="30" y="1"/>
                    <a:pt x="28" y="0"/>
                  </a:cubicBezTo>
                  <a:cubicBezTo>
                    <a:pt x="28" y="0"/>
                    <a:pt x="27" y="0"/>
                    <a:pt x="27" y="0"/>
                  </a:cubicBezTo>
                  <a:cubicBezTo>
                    <a:pt x="23" y="0"/>
                    <a:pt x="18" y="4"/>
                    <a:pt x="12" y="8"/>
                  </a:cubicBezTo>
                  <a:cubicBezTo>
                    <a:pt x="9" y="10"/>
                    <a:pt x="7" y="11"/>
                    <a:pt x="6" y="12"/>
                  </a:cubicBezTo>
                  <a:cubicBezTo>
                    <a:pt x="5" y="12"/>
                    <a:pt x="5" y="12"/>
                    <a:pt x="5" y="12"/>
                  </a:cubicBezTo>
                  <a:cubicBezTo>
                    <a:pt x="4" y="13"/>
                    <a:pt x="4" y="13"/>
                    <a:pt x="4" y="13"/>
                  </a:cubicBezTo>
                  <a:cubicBezTo>
                    <a:pt x="4" y="15"/>
                    <a:pt x="2" y="18"/>
                    <a:pt x="1" y="20"/>
                  </a:cubicBezTo>
                  <a:cubicBezTo>
                    <a:pt x="0" y="21"/>
                    <a:pt x="0" y="21"/>
                    <a:pt x="0" y="21"/>
                  </a:cubicBezTo>
                  <a:cubicBezTo>
                    <a:pt x="1" y="22"/>
                    <a:pt x="1" y="22"/>
                    <a:pt x="1" y="22"/>
                  </a:cubicBezTo>
                  <a:cubicBezTo>
                    <a:pt x="1" y="22"/>
                    <a:pt x="1" y="23"/>
                    <a:pt x="1" y="23"/>
                  </a:cubicBezTo>
                  <a:cubicBezTo>
                    <a:pt x="1" y="24"/>
                    <a:pt x="2" y="25"/>
                    <a:pt x="2" y="26"/>
                  </a:cubicBezTo>
                  <a:cubicBezTo>
                    <a:pt x="3" y="27"/>
                    <a:pt x="3" y="27"/>
                    <a:pt x="3" y="27"/>
                  </a:cubicBezTo>
                  <a:cubicBezTo>
                    <a:pt x="3" y="28"/>
                    <a:pt x="3" y="28"/>
                    <a:pt x="3" y="28"/>
                  </a:cubicBezTo>
                  <a:cubicBezTo>
                    <a:pt x="5" y="31"/>
                    <a:pt x="5" y="33"/>
                    <a:pt x="4" y="36"/>
                  </a:cubicBezTo>
                  <a:cubicBezTo>
                    <a:pt x="4" y="38"/>
                    <a:pt x="4" y="40"/>
                    <a:pt x="4" y="42"/>
                  </a:cubicBezTo>
                  <a:cubicBezTo>
                    <a:pt x="4" y="43"/>
                    <a:pt x="4" y="43"/>
                    <a:pt x="4" y="43"/>
                  </a:cubicBezTo>
                  <a:cubicBezTo>
                    <a:pt x="18" y="43"/>
                    <a:pt x="18" y="43"/>
                    <a:pt x="18" y="43"/>
                  </a:cubicBezTo>
                  <a:cubicBezTo>
                    <a:pt x="18" y="41"/>
                    <a:pt x="18" y="41"/>
                    <a:pt x="18" y="41"/>
                  </a:cubicBezTo>
                  <a:cubicBezTo>
                    <a:pt x="18" y="40"/>
                    <a:pt x="18" y="38"/>
                    <a:pt x="18" y="36"/>
                  </a:cubicBezTo>
                  <a:cubicBezTo>
                    <a:pt x="18" y="33"/>
                    <a:pt x="17" y="29"/>
                    <a:pt x="18" y="25"/>
                  </a:cubicBezTo>
                  <a:cubicBezTo>
                    <a:pt x="18" y="24"/>
                    <a:pt x="18" y="24"/>
                    <a:pt x="18" y="23"/>
                  </a:cubicBezTo>
                  <a:cubicBezTo>
                    <a:pt x="18" y="22"/>
                    <a:pt x="17" y="21"/>
                    <a:pt x="18" y="21"/>
                  </a:cubicBezTo>
                  <a:cubicBezTo>
                    <a:pt x="18" y="19"/>
                    <a:pt x="20" y="18"/>
                    <a:pt x="21" y="17"/>
                  </a:cubicBezTo>
                  <a:cubicBezTo>
                    <a:pt x="22" y="16"/>
                    <a:pt x="23" y="15"/>
                    <a:pt x="24" y="14"/>
                  </a:cubicBezTo>
                  <a:cubicBezTo>
                    <a:pt x="24" y="13"/>
                    <a:pt x="24" y="13"/>
                    <a:pt x="24" y="12"/>
                  </a:cubicBezTo>
                  <a:cubicBezTo>
                    <a:pt x="25" y="11"/>
                    <a:pt x="26" y="10"/>
                    <a:pt x="28" y="9"/>
                  </a:cubicBezTo>
                  <a:cubicBezTo>
                    <a:pt x="28" y="9"/>
                    <a:pt x="29" y="8"/>
                    <a:pt x="30" y="8"/>
                  </a:cubicBezTo>
                  <a:cubicBezTo>
                    <a:pt x="35" y="8"/>
                    <a:pt x="35" y="8"/>
                    <a:pt x="35" y="8"/>
                  </a:cubicBezTo>
                  <a:lnTo>
                    <a:pt x="30" y="5"/>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44" name="Freeform 41">
              <a:extLst>
                <a:ext uri="{FF2B5EF4-FFF2-40B4-BE49-F238E27FC236}">
                  <a16:creationId xmlns:a16="http://schemas.microsoft.com/office/drawing/2014/main" id="{4169C7CE-BFCF-4A94-B89E-093FF553CE0C}"/>
                </a:ext>
              </a:extLst>
            </p:cNvPr>
            <p:cNvSpPr>
              <a:spLocks/>
            </p:cNvSpPr>
            <p:nvPr/>
          </p:nvSpPr>
          <p:spPr bwMode="auto">
            <a:xfrm>
              <a:off x="3672931" y="2665515"/>
              <a:ext cx="117182" cy="134583"/>
            </a:xfrm>
            <a:custGeom>
              <a:avLst/>
              <a:gdLst>
                <a:gd name="T0" fmla="*/ 55 w 58"/>
                <a:gd name="T1" fmla="*/ 24 h 72"/>
                <a:gd name="T2" fmla="*/ 51 w 58"/>
                <a:gd name="T3" fmla="*/ 21 h 72"/>
                <a:gd name="T4" fmla="*/ 49 w 58"/>
                <a:gd name="T5" fmla="*/ 20 h 72"/>
                <a:gd name="T6" fmla="*/ 46 w 58"/>
                <a:gd name="T7" fmla="*/ 19 h 72"/>
                <a:gd name="T8" fmla="*/ 46 w 58"/>
                <a:gd name="T9" fmla="*/ 12 h 72"/>
                <a:gd name="T10" fmla="*/ 47 w 58"/>
                <a:gd name="T11" fmla="*/ 9 h 72"/>
                <a:gd name="T12" fmla="*/ 46 w 58"/>
                <a:gd name="T13" fmla="*/ 7 h 72"/>
                <a:gd name="T14" fmla="*/ 47 w 58"/>
                <a:gd name="T15" fmla="*/ 4 h 72"/>
                <a:gd name="T16" fmla="*/ 48 w 58"/>
                <a:gd name="T17" fmla="*/ 2 h 72"/>
                <a:gd name="T18" fmla="*/ 46 w 58"/>
                <a:gd name="T19" fmla="*/ 1 h 72"/>
                <a:gd name="T20" fmla="*/ 43 w 58"/>
                <a:gd name="T21" fmla="*/ 0 h 72"/>
                <a:gd name="T22" fmla="*/ 43 w 58"/>
                <a:gd name="T23" fmla="*/ 0 h 72"/>
                <a:gd name="T24" fmla="*/ 38 w 58"/>
                <a:gd name="T25" fmla="*/ 1 h 72"/>
                <a:gd name="T26" fmla="*/ 35 w 58"/>
                <a:gd name="T27" fmla="*/ 3 h 72"/>
                <a:gd name="T28" fmla="*/ 33 w 58"/>
                <a:gd name="T29" fmla="*/ 3 h 72"/>
                <a:gd name="T30" fmla="*/ 29 w 58"/>
                <a:gd name="T31" fmla="*/ 6 h 72"/>
                <a:gd name="T32" fmla="*/ 29 w 58"/>
                <a:gd name="T33" fmla="*/ 9 h 72"/>
                <a:gd name="T34" fmla="*/ 25 w 58"/>
                <a:gd name="T35" fmla="*/ 14 h 72"/>
                <a:gd name="T36" fmla="*/ 18 w 58"/>
                <a:gd name="T37" fmla="*/ 16 h 72"/>
                <a:gd name="T38" fmla="*/ 15 w 58"/>
                <a:gd name="T39" fmla="*/ 15 h 72"/>
                <a:gd name="T40" fmla="*/ 12 w 58"/>
                <a:gd name="T41" fmla="*/ 12 h 72"/>
                <a:gd name="T42" fmla="*/ 8 w 58"/>
                <a:gd name="T43" fmla="*/ 8 h 72"/>
                <a:gd name="T44" fmla="*/ 7 w 58"/>
                <a:gd name="T45" fmla="*/ 8 h 72"/>
                <a:gd name="T46" fmla="*/ 1 w 58"/>
                <a:gd name="T47" fmla="*/ 13 h 72"/>
                <a:gd name="T48" fmla="*/ 0 w 58"/>
                <a:gd name="T49" fmla="*/ 14 h 72"/>
                <a:gd name="T50" fmla="*/ 1 w 58"/>
                <a:gd name="T51" fmla="*/ 15 h 72"/>
                <a:gd name="T52" fmla="*/ 6 w 58"/>
                <a:gd name="T53" fmla="*/ 23 h 72"/>
                <a:gd name="T54" fmla="*/ 8 w 58"/>
                <a:gd name="T55" fmla="*/ 30 h 72"/>
                <a:gd name="T56" fmla="*/ 8 w 58"/>
                <a:gd name="T57" fmla="*/ 32 h 72"/>
                <a:gd name="T58" fmla="*/ 8 w 58"/>
                <a:gd name="T59" fmla="*/ 36 h 72"/>
                <a:gd name="T60" fmla="*/ 8 w 58"/>
                <a:gd name="T61" fmla="*/ 49 h 72"/>
                <a:gd name="T62" fmla="*/ 8 w 58"/>
                <a:gd name="T63" fmla="*/ 51 h 72"/>
                <a:gd name="T64" fmla="*/ 9 w 58"/>
                <a:gd name="T65" fmla="*/ 51 h 72"/>
                <a:gd name="T66" fmla="*/ 9 w 58"/>
                <a:gd name="T67" fmla="*/ 51 h 72"/>
                <a:gd name="T68" fmla="*/ 19 w 58"/>
                <a:gd name="T69" fmla="*/ 68 h 72"/>
                <a:gd name="T70" fmla="*/ 19 w 58"/>
                <a:gd name="T71" fmla="*/ 70 h 72"/>
                <a:gd name="T72" fmla="*/ 19 w 58"/>
                <a:gd name="T73" fmla="*/ 72 h 72"/>
                <a:gd name="T74" fmla="*/ 21 w 58"/>
                <a:gd name="T75" fmla="*/ 72 h 72"/>
                <a:gd name="T76" fmla="*/ 22 w 58"/>
                <a:gd name="T77" fmla="*/ 72 h 72"/>
                <a:gd name="T78" fmla="*/ 26 w 58"/>
                <a:gd name="T79" fmla="*/ 70 h 72"/>
                <a:gd name="T80" fmla="*/ 27 w 58"/>
                <a:gd name="T81" fmla="*/ 69 h 72"/>
                <a:gd name="T82" fmla="*/ 28 w 58"/>
                <a:gd name="T83" fmla="*/ 68 h 72"/>
                <a:gd name="T84" fmla="*/ 29 w 58"/>
                <a:gd name="T85" fmla="*/ 68 h 72"/>
                <a:gd name="T86" fmla="*/ 31 w 58"/>
                <a:gd name="T87" fmla="*/ 67 h 72"/>
                <a:gd name="T88" fmla="*/ 33 w 58"/>
                <a:gd name="T89" fmla="*/ 65 h 72"/>
                <a:gd name="T90" fmla="*/ 35 w 58"/>
                <a:gd name="T91" fmla="*/ 63 h 72"/>
                <a:gd name="T92" fmla="*/ 37 w 58"/>
                <a:gd name="T93" fmla="*/ 59 h 72"/>
                <a:gd name="T94" fmla="*/ 38 w 58"/>
                <a:gd name="T95" fmla="*/ 57 h 72"/>
                <a:gd name="T96" fmla="*/ 41 w 58"/>
                <a:gd name="T97" fmla="*/ 51 h 72"/>
                <a:gd name="T98" fmla="*/ 45 w 58"/>
                <a:gd name="T99" fmla="*/ 41 h 72"/>
                <a:gd name="T100" fmla="*/ 51 w 58"/>
                <a:gd name="T101" fmla="*/ 35 h 72"/>
                <a:gd name="T102" fmla="*/ 52 w 58"/>
                <a:gd name="T103" fmla="*/ 34 h 72"/>
                <a:gd name="T104" fmla="*/ 55 w 58"/>
                <a:gd name="T105"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72">
                  <a:moveTo>
                    <a:pt x="55" y="24"/>
                  </a:moveTo>
                  <a:cubicBezTo>
                    <a:pt x="54" y="23"/>
                    <a:pt x="52" y="22"/>
                    <a:pt x="51" y="21"/>
                  </a:cubicBezTo>
                  <a:cubicBezTo>
                    <a:pt x="51" y="21"/>
                    <a:pt x="50" y="21"/>
                    <a:pt x="49" y="20"/>
                  </a:cubicBezTo>
                  <a:cubicBezTo>
                    <a:pt x="48" y="20"/>
                    <a:pt x="47" y="20"/>
                    <a:pt x="46" y="19"/>
                  </a:cubicBezTo>
                  <a:cubicBezTo>
                    <a:pt x="45" y="18"/>
                    <a:pt x="45" y="15"/>
                    <a:pt x="46" y="12"/>
                  </a:cubicBezTo>
                  <a:cubicBezTo>
                    <a:pt x="46" y="11"/>
                    <a:pt x="46" y="10"/>
                    <a:pt x="47" y="9"/>
                  </a:cubicBezTo>
                  <a:cubicBezTo>
                    <a:pt x="47" y="9"/>
                    <a:pt x="47" y="8"/>
                    <a:pt x="46" y="7"/>
                  </a:cubicBezTo>
                  <a:cubicBezTo>
                    <a:pt x="46" y="6"/>
                    <a:pt x="46" y="5"/>
                    <a:pt x="47" y="4"/>
                  </a:cubicBezTo>
                  <a:cubicBezTo>
                    <a:pt x="48" y="2"/>
                    <a:pt x="48" y="2"/>
                    <a:pt x="48" y="2"/>
                  </a:cubicBezTo>
                  <a:cubicBezTo>
                    <a:pt x="46" y="1"/>
                    <a:pt x="46" y="1"/>
                    <a:pt x="46" y="1"/>
                  </a:cubicBezTo>
                  <a:cubicBezTo>
                    <a:pt x="46" y="1"/>
                    <a:pt x="45" y="0"/>
                    <a:pt x="43" y="0"/>
                  </a:cubicBezTo>
                  <a:cubicBezTo>
                    <a:pt x="43" y="0"/>
                    <a:pt x="43" y="0"/>
                    <a:pt x="43" y="0"/>
                  </a:cubicBezTo>
                  <a:cubicBezTo>
                    <a:pt x="41" y="0"/>
                    <a:pt x="40" y="1"/>
                    <a:pt x="38" y="1"/>
                  </a:cubicBezTo>
                  <a:cubicBezTo>
                    <a:pt x="37" y="2"/>
                    <a:pt x="36" y="2"/>
                    <a:pt x="35" y="3"/>
                  </a:cubicBezTo>
                  <a:cubicBezTo>
                    <a:pt x="34" y="3"/>
                    <a:pt x="34" y="3"/>
                    <a:pt x="33" y="3"/>
                  </a:cubicBezTo>
                  <a:cubicBezTo>
                    <a:pt x="31" y="3"/>
                    <a:pt x="30" y="3"/>
                    <a:pt x="29" y="6"/>
                  </a:cubicBezTo>
                  <a:cubicBezTo>
                    <a:pt x="29" y="7"/>
                    <a:pt x="29" y="8"/>
                    <a:pt x="29" y="9"/>
                  </a:cubicBezTo>
                  <a:cubicBezTo>
                    <a:pt x="28" y="12"/>
                    <a:pt x="28" y="13"/>
                    <a:pt x="25" y="14"/>
                  </a:cubicBezTo>
                  <a:cubicBezTo>
                    <a:pt x="23" y="15"/>
                    <a:pt x="21" y="16"/>
                    <a:pt x="18" y="16"/>
                  </a:cubicBezTo>
                  <a:cubicBezTo>
                    <a:pt x="17" y="16"/>
                    <a:pt x="16" y="15"/>
                    <a:pt x="15" y="15"/>
                  </a:cubicBezTo>
                  <a:cubicBezTo>
                    <a:pt x="14" y="14"/>
                    <a:pt x="13" y="13"/>
                    <a:pt x="12" y="12"/>
                  </a:cubicBezTo>
                  <a:cubicBezTo>
                    <a:pt x="11" y="10"/>
                    <a:pt x="10" y="9"/>
                    <a:pt x="8" y="8"/>
                  </a:cubicBezTo>
                  <a:cubicBezTo>
                    <a:pt x="7" y="8"/>
                    <a:pt x="7" y="8"/>
                    <a:pt x="7" y="8"/>
                  </a:cubicBezTo>
                  <a:cubicBezTo>
                    <a:pt x="4" y="8"/>
                    <a:pt x="1" y="12"/>
                    <a:pt x="1" y="13"/>
                  </a:cubicBezTo>
                  <a:cubicBezTo>
                    <a:pt x="0" y="14"/>
                    <a:pt x="0" y="14"/>
                    <a:pt x="0" y="14"/>
                  </a:cubicBezTo>
                  <a:cubicBezTo>
                    <a:pt x="1" y="15"/>
                    <a:pt x="1" y="15"/>
                    <a:pt x="1" y="15"/>
                  </a:cubicBezTo>
                  <a:cubicBezTo>
                    <a:pt x="2" y="18"/>
                    <a:pt x="3" y="20"/>
                    <a:pt x="6" y="23"/>
                  </a:cubicBezTo>
                  <a:cubicBezTo>
                    <a:pt x="8" y="25"/>
                    <a:pt x="8" y="27"/>
                    <a:pt x="8" y="30"/>
                  </a:cubicBezTo>
                  <a:cubicBezTo>
                    <a:pt x="8" y="30"/>
                    <a:pt x="8" y="31"/>
                    <a:pt x="8" y="32"/>
                  </a:cubicBezTo>
                  <a:cubicBezTo>
                    <a:pt x="8" y="36"/>
                    <a:pt x="8" y="36"/>
                    <a:pt x="8" y="36"/>
                  </a:cubicBezTo>
                  <a:cubicBezTo>
                    <a:pt x="8" y="40"/>
                    <a:pt x="8" y="45"/>
                    <a:pt x="8" y="49"/>
                  </a:cubicBezTo>
                  <a:cubicBezTo>
                    <a:pt x="8" y="51"/>
                    <a:pt x="8" y="51"/>
                    <a:pt x="8" y="51"/>
                  </a:cubicBezTo>
                  <a:cubicBezTo>
                    <a:pt x="9" y="51"/>
                    <a:pt x="9" y="51"/>
                    <a:pt x="9" y="51"/>
                  </a:cubicBezTo>
                  <a:cubicBezTo>
                    <a:pt x="9" y="51"/>
                    <a:pt x="9" y="51"/>
                    <a:pt x="9" y="51"/>
                  </a:cubicBezTo>
                  <a:cubicBezTo>
                    <a:pt x="12" y="54"/>
                    <a:pt x="18" y="64"/>
                    <a:pt x="19" y="68"/>
                  </a:cubicBezTo>
                  <a:cubicBezTo>
                    <a:pt x="19" y="68"/>
                    <a:pt x="19" y="69"/>
                    <a:pt x="19" y="70"/>
                  </a:cubicBezTo>
                  <a:cubicBezTo>
                    <a:pt x="19" y="72"/>
                    <a:pt x="19" y="72"/>
                    <a:pt x="19" y="72"/>
                  </a:cubicBezTo>
                  <a:cubicBezTo>
                    <a:pt x="21" y="72"/>
                    <a:pt x="21" y="72"/>
                    <a:pt x="21" y="72"/>
                  </a:cubicBezTo>
                  <a:cubicBezTo>
                    <a:pt x="21" y="72"/>
                    <a:pt x="22" y="72"/>
                    <a:pt x="22" y="72"/>
                  </a:cubicBezTo>
                  <a:cubicBezTo>
                    <a:pt x="24" y="72"/>
                    <a:pt x="25" y="71"/>
                    <a:pt x="26" y="70"/>
                  </a:cubicBezTo>
                  <a:cubicBezTo>
                    <a:pt x="26" y="70"/>
                    <a:pt x="26" y="70"/>
                    <a:pt x="27" y="69"/>
                  </a:cubicBezTo>
                  <a:cubicBezTo>
                    <a:pt x="27" y="69"/>
                    <a:pt x="27" y="68"/>
                    <a:pt x="28" y="68"/>
                  </a:cubicBezTo>
                  <a:cubicBezTo>
                    <a:pt x="28" y="68"/>
                    <a:pt x="29" y="68"/>
                    <a:pt x="29" y="68"/>
                  </a:cubicBezTo>
                  <a:cubicBezTo>
                    <a:pt x="30" y="68"/>
                    <a:pt x="30" y="68"/>
                    <a:pt x="31" y="67"/>
                  </a:cubicBezTo>
                  <a:cubicBezTo>
                    <a:pt x="31" y="66"/>
                    <a:pt x="32" y="66"/>
                    <a:pt x="33" y="65"/>
                  </a:cubicBezTo>
                  <a:cubicBezTo>
                    <a:pt x="34" y="64"/>
                    <a:pt x="34" y="64"/>
                    <a:pt x="35" y="63"/>
                  </a:cubicBezTo>
                  <a:cubicBezTo>
                    <a:pt x="36" y="62"/>
                    <a:pt x="37" y="60"/>
                    <a:pt x="37" y="59"/>
                  </a:cubicBezTo>
                  <a:cubicBezTo>
                    <a:pt x="37" y="58"/>
                    <a:pt x="37" y="57"/>
                    <a:pt x="38" y="57"/>
                  </a:cubicBezTo>
                  <a:cubicBezTo>
                    <a:pt x="39" y="55"/>
                    <a:pt x="40" y="53"/>
                    <a:pt x="41" y="51"/>
                  </a:cubicBezTo>
                  <a:cubicBezTo>
                    <a:pt x="43" y="48"/>
                    <a:pt x="44" y="44"/>
                    <a:pt x="45" y="41"/>
                  </a:cubicBezTo>
                  <a:cubicBezTo>
                    <a:pt x="46" y="38"/>
                    <a:pt x="48" y="37"/>
                    <a:pt x="51" y="35"/>
                  </a:cubicBezTo>
                  <a:cubicBezTo>
                    <a:pt x="52" y="34"/>
                    <a:pt x="52" y="34"/>
                    <a:pt x="52" y="34"/>
                  </a:cubicBezTo>
                  <a:cubicBezTo>
                    <a:pt x="55" y="31"/>
                    <a:pt x="58" y="28"/>
                    <a:pt x="55" y="24"/>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45" name="Freeform 42">
              <a:extLst>
                <a:ext uri="{FF2B5EF4-FFF2-40B4-BE49-F238E27FC236}">
                  <a16:creationId xmlns:a16="http://schemas.microsoft.com/office/drawing/2014/main" id="{9E728285-0281-4C55-8578-9C3F3DC07B1B}"/>
                </a:ext>
              </a:extLst>
            </p:cNvPr>
            <p:cNvSpPr>
              <a:spLocks/>
            </p:cNvSpPr>
            <p:nvPr/>
          </p:nvSpPr>
          <p:spPr bwMode="auto">
            <a:xfrm>
              <a:off x="3249959" y="1103943"/>
              <a:ext cx="965359" cy="1204054"/>
            </a:xfrm>
            <a:custGeom>
              <a:avLst/>
              <a:gdLst>
                <a:gd name="T0" fmla="*/ 465 w 477"/>
                <a:gd name="T1" fmla="*/ 159 h 646"/>
                <a:gd name="T2" fmla="*/ 455 w 477"/>
                <a:gd name="T3" fmla="*/ 149 h 646"/>
                <a:gd name="T4" fmla="*/ 443 w 477"/>
                <a:gd name="T5" fmla="*/ 140 h 646"/>
                <a:gd name="T6" fmla="*/ 436 w 477"/>
                <a:gd name="T7" fmla="*/ 112 h 646"/>
                <a:gd name="T8" fmla="*/ 431 w 477"/>
                <a:gd name="T9" fmla="*/ 71 h 646"/>
                <a:gd name="T10" fmla="*/ 419 w 477"/>
                <a:gd name="T11" fmla="*/ 32 h 646"/>
                <a:gd name="T12" fmla="*/ 393 w 477"/>
                <a:gd name="T13" fmla="*/ 11 h 646"/>
                <a:gd name="T14" fmla="*/ 371 w 477"/>
                <a:gd name="T15" fmla="*/ 10 h 646"/>
                <a:gd name="T16" fmla="*/ 341 w 477"/>
                <a:gd name="T17" fmla="*/ 38 h 646"/>
                <a:gd name="T18" fmla="*/ 302 w 477"/>
                <a:gd name="T19" fmla="*/ 38 h 646"/>
                <a:gd name="T20" fmla="*/ 267 w 477"/>
                <a:gd name="T21" fmla="*/ 29 h 646"/>
                <a:gd name="T22" fmla="*/ 256 w 477"/>
                <a:gd name="T23" fmla="*/ 38 h 646"/>
                <a:gd name="T24" fmla="*/ 158 w 477"/>
                <a:gd name="T25" fmla="*/ 38 h 646"/>
                <a:gd name="T26" fmla="*/ 56 w 477"/>
                <a:gd name="T27" fmla="*/ 103 h 646"/>
                <a:gd name="T28" fmla="*/ 59 w 477"/>
                <a:gd name="T29" fmla="*/ 236 h 646"/>
                <a:gd name="T30" fmla="*/ 52 w 477"/>
                <a:gd name="T31" fmla="*/ 242 h 646"/>
                <a:gd name="T32" fmla="*/ 36 w 477"/>
                <a:gd name="T33" fmla="*/ 245 h 646"/>
                <a:gd name="T34" fmla="*/ 22 w 477"/>
                <a:gd name="T35" fmla="*/ 275 h 646"/>
                <a:gd name="T36" fmla="*/ 16 w 477"/>
                <a:gd name="T37" fmla="*/ 298 h 646"/>
                <a:gd name="T38" fmla="*/ 9 w 477"/>
                <a:gd name="T39" fmla="*/ 325 h 646"/>
                <a:gd name="T40" fmla="*/ 9 w 477"/>
                <a:gd name="T41" fmla="*/ 342 h 646"/>
                <a:gd name="T42" fmla="*/ 21 w 477"/>
                <a:gd name="T43" fmla="*/ 372 h 646"/>
                <a:gd name="T44" fmla="*/ 31 w 477"/>
                <a:gd name="T45" fmla="*/ 401 h 646"/>
                <a:gd name="T46" fmla="*/ 53 w 477"/>
                <a:gd name="T47" fmla="*/ 445 h 646"/>
                <a:gd name="T48" fmla="*/ 47 w 477"/>
                <a:gd name="T49" fmla="*/ 465 h 646"/>
                <a:gd name="T50" fmla="*/ 60 w 477"/>
                <a:gd name="T51" fmla="*/ 475 h 646"/>
                <a:gd name="T52" fmla="*/ 77 w 477"/>
                <a:gd name="T53" fmla="*/ 490 h 646"/>
                <a:gd name="T54" fmla="*/ 101 w 477"/>
                <a:gd name="T55" fmla="*/ 504 h 646"/>
                <a:gd name="T56" fmla="*/ 116 w 477"/>
                <a:gd name="T57" fmla="*/ 527 h 646"/>
                <a:gd name="T58" fmla="*/ 133 w 477"/>
                <a:gd name="T59" fmla="*/ 546 h 646"/>
                <a:gd name="T60" fmla="*/ 144 w 477"/>
                <a:gd name="T61" fmla="*/ 565 h 646"/>
                <a:gd name="T62" fmla="*/ 159 w 477"/>
                <a:gd name="T63" fmla="*/ 579 h 646"/>
                <a:gd name="T64" fmla="*/ 175 w 477"/>
                <a:gd name="T65" fmla="*/ 611 h 646"/>
                <a:gd name="T66" fmla="*/ 198 w 477"/>
                <a:gd name="T67" fmla="*/ 616 h 646"/>
                <a:gd name="T68" fmla="*/ 216 w 477"/>
                <a:gd name="T69" fmla="*/ 619 h 646"/>
                <a:gd name="T70" fmla="*/ 232 w 477"/>
                <a:gd name="T71" fmla="*/ 613 h 646"/>
                <a:gd name="T72" fmla="*/ 255 w 477"/>
                <a:gd name="T73" fmla="*/ 639 h 646"/>
                <a:gd name="T74" fmla="*/ 284 w 477"/>
                <a:gd name="T75" fmla="*/ 641 h 646"/>
                <a:gd name="T76" fmla="*/ 297 w 477"/>
                <a:gd name="T77" fmla="*/ 643 h 646"/>
                <a:gd name="T78" fmla="*/ 304 w 477"/>
                <a:gd name="T79" fmla="*/ 645 h 646"/>
                <a:gd name="T80" fmla="*/ 327 w 477"/>
                <a:gd name="T81" fmla="*/ 635 h 646"/>
                <a:gd name="T82" fmla="*/ 367 w 477"/>
                <a:gd name="T83" fmla="*/ 610 h 646"/>
                <a:gd name="T84" fmla="*/ 400 w 477"/>
                <a:gd name="T85" fmla="*/ 585 h 646"/>
                <a:gd name="T86" fmla="*/ 387 w 477"/>
                <a:gd name="T87" fmla="*/ 575 h 646"/>
                <a:gd name="T88" fmla="*/ 369 w 477"/>
                <a:gd name="T89" fmla="*/ 538 h 646"/>
                <a:gd name="T90" fmla="*/ 343 w 477"/>
                <a:gd name="T91" fmla="*/ 509 h 646"/>
                <a:gd name="T92" fmla="*/ 328 w 477"/>
                <a:gd name="T93" fmla="*/ 498 h 646"/>
                <a:gd name="T94" fmla="*/ 344 w 477"/>
                <a:gd name="T95" fmla="*/ 487 h 646"/>
                <a:gd name="T96" fmla="*/ 356 w 477"/>
                <a:gd name="T97" fmla="*/ 439 h 646"/>
                <a:gd name="T98" fmla="*/ 373 w 477"/>
                <a:gd name="T99" fmla="*/ 406 h 646"/>
                <a:gd name="T100" fmla="*/ 379 w 477"/>
                <a:gd name="T101" fmla="*/ 397 h 646"/>
                <a:gd name="T102" fmla="*/ 395 w 477"/>
                <a:gd name="T103" fmla="*/ 356 h 646"/>
                <a:gd name="T104" fmla="*/ 413 w 477"/>
                <a:gd name="T105" fmla="*/ 334 h 646"/>
                <a:gd name="T106" fmla="*/ 420 w 477"/>
                <a:gd name="T107" fmla="*/ 272 h 646"/>
                <a:gd name="T108" fmla="*/ 430 w 477"/>
                <a:gd name="T109" fmla="*/ 221 h 646"/>
                <a:gd name="T110" fmla="*/ 436 w 477"/>
                <a:gd name="T111" fmla="*/ 202 h 646"/>
                <a:gd name="T112" fmla="*/ 456 w 477"/>
                <a:gd name="T113" fmla="*/ 186 h 646"/>
                <a:gd name="T114" fmla="*/ 477 w 477"/>
                <a:gd name="T115" fmla="*/ 168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7" h="646">
                  <a:moveTo>
                    <a:pt x="476" y="166"/>
                  </a:moveTo>
                  <a:cubicBezTo>
                    <a:pt x="476" y="166"/>
                    <a:pt x="476" y="166"/>
                    <a:pt x="476" y="166"/>
                  </a:cubicBezTo>
                  <a:cubicBezTo>
                    <a:pt x="475" y="165"/>
                    <a:pt x="474" y="164"/>
                    <a:pt x="473" y="164"/>
                  </a:cubicBezTo>
                  <a:cubicBezTo>
                    <a:pt x="472" y="163"/>
                    <a:pt x="471" y="163"/>
                    <a:pt x="471" y="163"/>
                  </a:cubicBezTo>
                  <a:cubicBezTo>
                    <a:pt x="471" y="162"/>
                    <a:pt x="470" y="162"/>
                    <a:pt x="470" y="162"/>
                  </a:cubicBezTo>
                  <a:cubicBezTo>
                    <a:pt x="469" y="161"/>
                    <a:pt x="468" y="160"/>
                    <a:pt x="465" y="159"/>
                  </a:cubicBezTo>
                  <a:cubicBezTo>
                    <a:pt x="465" y="159"/>
                    <a:pt x="464" y="159"/>
                    <a:pt x="464" y="159"/>
                  </a:cubicBezTo>
                  <a:cubicBezTo>
                    <a:pt x="464" y="159"/>
                    <a:pt x="464" y="158"/>
                    <a:pt x="464" y="158"/>
                  </a:cubicBezTo>
                  <a:cubicBezTo>
                    <a:pt x="464" y="158"/>
                    <a:pt x="464" y="157"/>
                    <a:pt x="463" y="157"/>
                  </a:cubicBezTo>
                  <a:cubicBezTo>
                    <a:pt x="463" y="155"/>
                    <a:pt x="461" y="154"/>
                    <a:pt x="460" y="153"/>
                  </a:cubicBezTo>
                  <a:cubicBezTo>
                    <a:pt x="459" y="153"/>
                    <a:pt x="459" y="153"/>
                    <a:pt x="459" y="152"/>
                  </a:cubicBezTo>
                  <a:cubicBezTo>
                    <a:pt x="457" y="151"/>
                    <a:pt x="456" y="150"/>
                    <a:pt x="455" y="149"/>
                  </a:cubicBezTo>
                  <a:cubicBezTo>
                    <a:pt x="454" y="148"/>
                    <a:pt x="454" y="148"/>
                    <a:pt x="454" y="147"/>
                  </a:cubicBezTo>
                  <a:cubicBezTo>
                    <a:pt x="453" y="146"/>
                    <a:pt x="452" y="145"/>
                    <a:pt x="449" y="144"/>
                  </a:cubicBezTo>
                  <a:cubicBezTo>
                    <a:pt x="449" y="144"/>
                    <a:pt x="448" y="144"/>
                    <a:pt x="448" y="144"/>
                  </a:cubicBezTo>
                  <a:cubicBezTo>
                    <a:pt x="448" y="144"/>
                    <a:pt x="447" y="144"/>
                    <a:pt x="446" y="144"/>
                  </a:cubicBezTo>
                  <a:cubicBezTo>
                    <a:pt x="446" y="144"/>
                    <a:pt x="445" y="144"/>
                    <a:pt x="445" y="144"/>
                  </a:cubicBezTo>
                  <a:cubicBezTo>
                    <a:pt x="444" y="143"/>
                    <a:pt x="443" y="141"/>
                    <a:pt x="443" y="140"/>
                  </a:cubicBezTo>
                  <a:cubicBezTo>
                    <a:pt x="443" y="139"/>
                    <a:pt x="443" y="139"/>
                    <a:pt x="443" y="139"/>
                  </a:cubicBezTo>
                  <a:cubicBezTo>
                    <a:pt x="441" y="135"/>
                    <a:pt x="440" y="131"/>
                    <a:pt x="439" y="127"/>
                  </a:cubicBezTo>
                  <a:cubicBezTo>
                    <a:pt x="438" y="126"/>
                    <a:pt x="438" y="124"/>
                    <a:pt x="438" y="123"/>
                  </a:cubicBezTo>
                  <a:cubicBezTo>
                    <a:pt x="438" y="122"/>
                    <a:pt x="438" y="121"/>
                    <a:pt x="438" y="119"/>
                  </a:cubicBezTo>
                  <a:cubicBezTo>
                    <a:pt x="438" y="118"/>
                    <a:pt x="437" y="117"/>
                    <a:pt x="437" y="115"/>
                  </a:cubicBezTo>
                  <a:cubicBezTo>
                    <a:pt x="436" y="114"/>
                    <a:pt x="436" y="113"/>
                    <a:pt x="436" y="112"/>
                  </a:cubicBezTo>
                  <a:cubicBezTo>
                    <a:pt x="436" y="111"/>
                    <a:pt x="435" y="109"/>
                    <a:pt x="435" y="108"/>
                  </a:cubicBezTo>
                  <a:cubicBezTo>
                    <a:pt x="434" y="106"/>
                    <a:pt x="434" y="105"/>
                    <a:pt x="434" y="103"/>
                  </a:cubicBezTo>
                  <a:cubicBezTo>
                    <a:pt x="433" y="99"/>
                    <a:pt x="433" y="93"/>
                    <a:pt x="434" y="87"/>
                  </a:cubicBezTo>
                  <a:cubicBezTo>
                    <a:pt x="434" y="85"/>
                    <a:pt x="433" y="83"/>
                    <a:pt x="433" y="81"/>
                  </a:cubicBezTo>
                  <a:cubicBezTo>
                    <a:pt x="433" y="80"/>
                    <a:pt x="432" y="79"/>
                    <a:pt x="432" y="78"/>
                  </a:cubicBezTo>
                  <a:cubicBezTo>
                    <a:pt x="432" y="76"/>
                    <a:pt x="432" y="73"/>
                    <a:pt x="431" y="71"/>
                  </a:cubicBezTo>
                  <a:cubicBezTo>
                    <a:pt x="431" y="70"/>
                    <a:pt x="431" y="69"/>
                    <a:pt x="432" y="68"/>
                  </a:cubicBezTo>
                  <a:cubicBezTo>
                    <a:pt x="432" y="66"/>
                    <a:pt x="432" y="64"/>
                    <a:pt x="431" y="63"/>
                  </a:cubicBezTo>
                  <a:cubicBezTo>
                    <a:pt x="430" y="61"/>
                    <a:pt x="429" y="59"/>
                    <a:pt x="428" y="57"/>
                  </a:cubicBezTo>
                  <a:cubicBezTo>
                    <a:pt x="427" y="54"/>
                    <a:pt x="425" y="51"/>
                    <a:pt x="424" y="48"/>
                  </a:cubicBezTo>
                  <a:cubicBezTo>
                    <a:pt x="423" y="46"/>
                    <a:pt x="423" y="44"/>
                    <a:pt x="423" y="41"/>
                  </a:cubicBezTo>
                  <a:cubicBezTo>
                    <a:pt x="422" y="37"/>
                    <a:pt x="422" y="35"/>
                    <a:pt x="419" y="32"/>
                  </a:cubicBezTo>
                  <a:cubicBezTo>
                    <a:pt x="418" y="31"/>
                    <a:pt x="416" y="30"/>
                    <a:pt x="415" y="29"/>
                  </a:cubicBezTo>
                  <a:cubicBezTo>
                    <a:pt x="412" y="27"/>
                    <a:pt x="410" y="25"/>
                    <a:pt x="408" y="23"/>
                  </a:cubicBezTo>
                  <a:cubicBezTo>
                    <a:pt x="407" y="22"/>
                    <a:pt x="406" y="21"/>
                    <a:pt x="406" y="20"/>
                  </a:cubicBezTo>
                  <a:cubicBezTo>
                    <a:pt x="404" y="17"/>
                    <a:pt x="402" y="13"/>
                    <a:pt x="397" y="12"/>
                  </a:cubicBezTo>
                  <a:cubicBezTo>
                    <a:pt x="397" y="12"/>
                    <a:pt x="396" y="12"/>
                    <a:pt x="395" y="12"/>
                  </a:cubicBezTo>
                  <a:cubicBezTo>
                    <a:pt x="394" y="12"/>
                    <a:pt x="393" y="12"/>
                    <a:pt x="393" y="11"/>
                  </a:cubicBezTo>
                  <a:cubicBezTo>
                    <a:pt x="391" y="10"/>
                    <a:pt x="390" y="9"/>
                    <a:pt x="389" y="8"/>
                  </a:cubicBezTo>
                  <a:cubicBezTo>
                    <a:pt x="388" y="6"/>
                    <a:pt x="387" y="4"/>
                    <a:pt x="386" y="3"/>
                  </a:cubicBezTo>
                  <a:cubicBezTo>
                    <a:pt x="384" y="0"/>
                    <a:pt x="384" y="0"/>
                    <a:pt x="384" y="0"/>
                  </a:cubicBezTo>
                  <a:cubicBezTo>
                    <a:pt x="382" y="3"/>
                    <a:pt x="382" y="3"/>
                    <a:pt x="382" y="3"/>
                  </a:cubicBezTo>
                  <a:cubicBezTo>
                    <a:pt x="380" y="5"/>
                    <a:pt x="378" y="8"/>
                    <a:pt x="376" y="9"/>
                  </a:cubicBezTo>
                  <a:cubicBezTo>
                    <a:pt x="374" y="10"/>
                    <a:pt x="373" y="10"/>
                    <a:pt x="371" y="10"/>
                  </a:cubicBezTo>
                  <a:cubicBezTo>
                    <a:pt x="369" y="10"/>
                    <a:pt x="368" y="10"/>
                    <a:pt x="366" y="12"/>
                  </a:cubicBezTo>
                  <a:cubicBezTo>
                    <a:pt x="363" y="14"/>
                    <a:pt x="362" y="17"/>
                    <a:pt x="362" y="20"/>
                  </a:cubicBezTo>
                  <a:cubicBezTo>
                    <a:pt x="360" y="24"/>
                    <a:pt x="359" y="28"/>
                    <a:pt x="355" y="29"/>
                  </a:cubicBezTo>
                  <a:cubicBezTo>
                    <a:pt x="354" y="30"/>
                    <a:pt x="352" y="30"/>
                    <a:pt x="351" y="30"/>
                  </a:cubicBezTo>
                  <a:cubicBezTo>
                    <a:pt x="349" y="30"/>
                    <a:pt x="347" y="30"/>
                    <a:pt x="345" y="32"/>
                  </a:cubicBezTo>
                  <a:cubicBezTo>
                    <a:pt x="343" y="34"/>
                    <a:pt x="342" y="36"/>
                    <a:pt x="341" y="38"/>
                  </a:cubicBezTo>
                  <a:cubicBezTo>
                    <a:pt x="341" y="40"/>
                    <a:pt x="341" y="41"/>
                    <a:pt x="340" y="42"/>
                  </a:cubicBezTo>
                  <a:cubicBezTo>
                    <a:pt x="339" y="45"/>
                    <a:pt x="337" y="46"/>
                    <a:pt x="334" y="47"/>
                  </a:cubicBezTo>
                  <a:cubicBezTo>
                    <a:pt x="334" y="47"/>
                    <a:pt x="333" y="47"/>
                    <a:pt x="333" y="47"/>
                  </a:cubicBezTo>
                  <a:cubicBezTo>
                    <a:pt x="329" y="47"/>
                    <a:pt x="324" y="44"/>
                    <a:pt x="322" y="42"/>
                  </a:cubicBezTo>
                  <a:cubicBezTo>
                    <a:pt x="318" y="38"/>
                    <a:pt x="312" y="38"/>
                    <a:pt x="308" y="38"/>
                  </a:cubicBezTo>
                  <a:cubicBezTo>
                    <a:pt x="306" y="38"/>
                    <a:pt x="304" y="38"/>
                    <a:pt x="302" y="38"/>
                  </a:cubicBezTo>
                  <a:cubicBezTo>
                    <a:pt x="299" y="38"/>
                    <a:pt x="299" y="38"/>
                    <a:pt x="299" y="38"/>
                  </a:cubicBezTo>
                  <a:cubicBezTo>
                    <a:pt x="294" y="38"/>
                    <a:pt x="288" y="38"/>
                    <a:pt x="282" y="38"/>
                  </a:cubicBezTo>
                  <a:cubicBezTo>
                    <a:pt x="277" y="38"/>
                    <a:pt x="273" y="38"/>
                    <a:pt x="269" y="38"/>
                  </a:cubicBezTo>
                  <a:cubicBezTo>
                    <a:pt x="269" y="37"/>
                    <a:pt x="269" y="37"/>
                    <a:pt x="269" y="36"/>
                  </a:cubicBezTo>
                  <a:cubicBezTo>
                    <a:pt x="269" y="33"/>
                    <a:pt x="269" y="32"/>
                    <a:pt x="268" y="31"/>
                  </a:cubicBezTo>
                  <a:cubicBezTo>
                    <a:pt x="267" y="29"/>
                    <a:pt x="267" y="29"/>
                    <a:pt x="267" y="29"/>
                  </a:cubicBezTo>
                  <a:cubicBezTo>
                    <a:pt x="266" y="30"/>
                    <a:pt x="266" y="30"/>
                    <a:pt x="266" y="30"/>
                  </a:cubicBezTo>
                  <a:cubicBezTo>
                    <a:pt x="266" y="30"/>
                    <a:pt x="266" y="30"/>
                    <a:pt x="266" y="30"/>
                  </a:cubicBezTo>
                  <a:cubicBezTo>
                    <a:pt x="265" y="31"/>
                    <a:pt x="264" y="32"/>
                    <a:pt x="263" y="34"/>
                  </a:cubicBezTo>
                  <a:cubicBezTo>
                    <a:pt x="262" y="36"/>
                    <a:pt x="261" y="38"/>
                    <a:pt x="259" y="38"/>
                  </a:cubicBezTo>
                  <a:cubicBezTo>
                    <a:pt x="259" y="38"/>
                    <a:pt x="259" y="38"/>
                    <a:pt x="258" y="38"/>
                  </a:cubicBezTo>
                  <a:cubicBezTo>
                    <a:pt x="258" y="38"/>
                    <a:pt x="257" y="38"/>
                    <a:pt x="256" y="38"/>
                  </a:cubicBezTo>
                  <a:cubicBezTo>
                    <a:pt x="256" y="38"/>
                    <a:pt x="255" y="38"/>
                    <a:pt x="254" y="38"/>
                  </a:cubicBezTo>
                  <a:cubicBezTo>
                    <a:pt x="253" y="38"/>
                    <a:pt x="252" y="38"/>
                    <a:pt x="251" y="38"/>
                  </a:cubicBezTo>
                  <a:cubicBezTo>
                    <a:pt x="248" y="38"/>
                    <a:pt x="245" y="38"/>
                    <a:pt x="243" y="38"/>
                  </a:cubicBezTo>
                  <a:cubicBezTo>
                    <a:pt x="238" y="38"/>
                    <a:pt x="238" y="38"/>
                    <a:pt x="238" y="38"/>
                  </a:cubicBezTo>
                  <a:cubicBezTo>
                    <a:pt x="226" y="38"/>
                    <a:pt x="212" y="38"/>
                    <a:pt x="197" y="38"/>
                  </a:cubicBezTo>
                  <a:cubicBezTo>
                    <a:pt x="184" y="38"/>
                    <a:pt x="171" y="38"/>
                    <a:pt x="158" y="38"/>
                  </a:cubicBezTo>
                  <a:cubicBezTo>
                    <a:pt x="142" y="38"/>
                    <a:pt x="142" y="38"/>
                    <a:pt x="142" y="38"/>
                  </a:cubicBezTo>
                  <a:cubicBezTo>
                    <a:pt x="131" y="38"/>
                    <a:pt x="121" y="38"/>
                    <a:pt x="111" y="38"/>
                  </a:cubicBezTo>
                  <a:cubicBezTo>
                    <a:pt x="102" y="38"/>
                    <a:pt x="93" y="38"/>
                    <a:pt x="84" y="38"/>
                  </a:cubicBezTo>
                  <a:cubicBezTo>
                    <a:pt x="82" y="38"/>
                    <a:pt x="82" y="38"/>
                    <a:pt x="82" y="38"/>
                  </a:cubicBezTo>
                  <a:cubicBezTo>
                    <a:pt x="84" y="103"/>
                    <a:pt x="84" y="103"/>
                    <a:pt x="84" y="103"/>
                  </a:cubicBezTo>
                  <a:cubicBezTo>
                    <a:pt x="56" y="103"/>
                    <a:pt x="56" y="103"/>
                    <a:pt x="56" y="103"/>
                  </a:cubicBezTo>
                  <a:cubicBezTo>
                    <a:pt x="56" y="118"/>
                    <a:pt x="56" y="118"/>
                    <a:pt x="56" y="118"/>
                  </a:cubicBezTo>
                  <a:cubicBezTo>
                    <a:pt x="57" y="128"/>
                    <a:pt x="57" y="137"/>
                    <a:pt x="57" y="147"/>
                  </a:cubicBezTo>
                  <a:cubicBezTo>
                    <a:pt x="57" y="156"/>
                    <a:pt x="57" y="156"/>
                    <a:pt x="57" y="156"/>
                  </a:cubicBezTo>
                  <a:cubicBezTo>
                    <a:pt x="58" y="176"/>
                    <a:pt x="58" y="199"/>
                    <a:pt x="59" y="221"/>
                  </a:cubicBezTo>
                  <a:cubicBezTo>
                    <a:pt x="59" y="226"/>
                    <a:pt x="59" y="226"/>
                    <a:pt x="59" y="226"/>
                  </a:cubicBezTo>
                  <a:cubicBezTo>
                    <a:pt x="59" y="226"/>
                    <a:pt x="59" y="233"/>
                    <a:pt x="59" y="236"/>
                  </a:cubicBezTo>
                  <a:cubicBezTo>
                    <a:pt x="59" y="236"/>
                    <a:pt x="59" y="237"/>
                    <a:pt x="59" y="237"/>
                  </a:cubicBezTo>
                  <a:cubicBezTo>
                    <a:pt x="60" y="238"/>
                    <a:pt x="60" y="240"/>
                    <a:pt x="60" y="241"/>
                  </a:cubicBezTo>
                  <a:cubicBezTo>
                    <a:pt x="59" y="242"/>
                    <a:pt x="59" y="243"/>
                    <a:pt x="58" y="243"/>
                  </a:cubicBezTo>
                  <a:cubicBezTo>
                    <a:pt x="58" y="243"/>
                    <a:pt x="58" y="243"/>
                    <a:pt x="57" y="243"/>
                  </a:cubicBezTo>
                  <a:cubicBezTo>
                    <a:pt x="56" y="243"/>
                    <a:pt x="55" y="243"/>
                    <a:pt x="54" y="243"/>
                  </a:cubicBezTo>
                  <a:cubicBezTo>
                    <a:pt x="54" y="243"/>
                    <a:pt x="53" y="242"/>
                    <a:pt x="52" y="242"/>
                  </a:cubicBezTo>
                  <a:cubicBezTo>
                    <a:pt x="52" y="242"/>
                    <a:pt x="52" y="242"/>
                    <a:pt x="51" y="242"/>
                  </a:cubicBezTo>
                  <a:cubicBezTo>
                    <a:pt x="49" y="242"/>
                    <a:pt x="48" y="243"/>
                    <a:pt x="46" y="244"/>
                  </a:cubicBezTo>
                  <a:cubicBezTo>
                    <a:pt x="45" y="245"/>
                    <a:pt x="44" y="246"/>
                    <a:pt x="42" y="246"/>
                  </a:cubicBezTo>
                  <a:cubicBezTo>
                    <a:pt x="42" y="246"/>
                    <a:pt x="42" y="246"/>
                    <a:pt x="42" y="246"/>
                  </a:cubicBezTo>
                  <a:cubicBezTo>
                    <a:pt x="41" y="246"/>
                    <a:pt x="40" y="246"/>
                    <a:pt x="39" y="246"/>
                  </a:cubicBezTo>
                  <a:cubicBezTo>
                    <a:pt x="38" y="246"/>
                    <a:pt x="37" y="245"/>
                    <a:pt x="36" y="245"/>
                  </a:cubicBezTo>
                  <a:cubicBezTo>
                    <a:pt x="34" y="245"/>
                    <a:pt x="32" y="246"/>
                    <a:pt x="31" y="248"/>
                  </a:cubicBezTo>
                  <a:cubicBezTo>
                    <a:pt x="29" y="251"/>
                    <a:pt x="30" y="253"/>
                    <a:pt x="31" y="256"/>
                  </a:cubicBezTo>
                  <a:cubicBezTo>
                    <a:pt x="31" y="258"/>
                    <a:pt x="32" y="260"/>
                    <a:pt x="30" y="262"/>
                  </a:cubicBezTo>
                  <a:cubicBezTo>
                    <a:pt x="30" y="264"/>
                    <a:pt x="28" y="265"/>
                    <a:pt x="27" y="267"/>
                  </a:cubicBezTo>
                  <a:cubicBezTo>
                    <a:pt x="25" y="268"/>
                    <a:pt x="23" y="270"/>
                    <a:pt x="23" y="272"/>
                  </a:cubicBezTo>
                  <a:cubicBezTo>
                    <a:pt x="22" y="273"/>
                    <a:pt x="22" y="274"/>
                    <a:pt x="22" y="275"/>
                  </a:cubicBezTo>
                  <a:cubicBezTo>
                    <a:pt x="22" y="277"/>
                    <a:pt x="22" y="278"/>
                    <a:pt x="22" y="279"/>
                  </a:cubicBezTo>
                  <a:cubicBezTo>
                    <a:pt x="21" y="280"/>
                    <a:pt x="20" y="280"/>
                    <a:pt x="18" y="281"/>
                  </a:cubicBezTo>
                  <a:cubicBezTo>
                    <a:pt x="17" y="281"/>
                    <a:pt x="16" y="281"/>
                    <a:pt x="15" y="282"/>
                  </a:cubicBezTo>
                  <a:cubicBezTo>
                    <a:pt x="13" y="285"/>
                    <a:pt x="15" y="287"/>
                    <a:pt x="17" y="289"/>
                  </a:cubicBezTo>
                  <a:cubicBezTo>
                    <a:pt x="19" y="291"/>
                    <a:pt x="21" y="293"/>
                    <a:pt x="20" y="295"/>
                  </a:cubicBezTo>
                  <a:cubicBezTo>
                    <a:pt x="19" y="297"/>
                    <a:pt x="17" y="297"/>
                    <a:pt x="16" y="298"/>
                  </a:cubicBezTo>
                  <a:cubicBezTo>
                    <a:pt x="15" y="298"/>
                    <a:pt x="14" y="299"/>
                    <a:pt x="14" y="299"/>
                  </a:cubicBezTo>
                  <a:cubicBezTo>
                    <a:pt x="12" y="300"/>
                    <a:pt x="10" y="302"/>
                    <a:pt x="9" y="304"/>
                  </a:cubicBezTo>
                  <a:cubicBezTo>
                    <a:pt x="5" y="308"/>
                    <a:pt x="6" y="311"/>
                    <a:pt x="9" y="316"/>
                  </a:cubicBezTo>
                  <a:cubicBezTo>
                    <a:pt x="9" y="316"/>
                    <a:pt x="9" y="317"/>
                    <a:pt x="10" y="317"/>
                  </a:cubicBezTo>
                  <a:cubicBezTo>
                    <a:pt x="11" y="319"/>
                    <a:pt x="12" y="320"/>
                    <a:pt x="12" y="322"/>
                  </a:cubicBezTo>
                  <a:cubicBezTo>
                    <a:pt x="11" y="324"/>
                    <a:pt x="10" y="324"/>
                    <a:pt x="9" y="325"/>
                  </a:cubicBezTo>
                  <a:cubicBezTo>
                    <a:pt x="8" y="325"/>
                    <a:pt x="8" y="325"/>
                    <a:pt x="7" y="326"/>
                  </a:cubicBezTo>
                  <a:cubicBezTo>
                    <a:pt x="3" y="328"/>
                    <a:pt x="0" y="334"/>
                    <a:pt x="0" y="339"/>
                  </a:cubicBezTo>
                  <a:cubicBezTo>
                    <a:pt x="0" y="341"/>
                    <a:pt x="0" y="344"/>
                    <a:pt x="3" y="345"/>
                  </a:cubicBezTo>
                  <a:cubicBezTo>
                    <a:pt x="4" y="346"/>
                    <a:pt x="4" y="346"/>
                    <a:pt x="5" y="346"/>
                  </a:cubicBezTo>
                  <a:cubicBezTo>
                    <a:pt x="6" y="346"/>
                    <a:pt x="6" y="346"/>
                    <a:pt x="7" y="345"/>
                  </a:cubicBezTo>
                  <a:cubicBezTo>
                    <a:pt x="8" y="345"/>
                    <a:pt x="9" y="344"/>
                    <a:pt x="9" y="342"/>
                  </a:cubicBezTo>
                  <a:cubicBezTo>
                    <a:pt x="9" y="342"/>
                    <a:pt x="10" y="342"/>
                    <a:pt x="10" y="342"/>
                  </a:cubicBezTo>
                  <a:cubicBezTo>
                    <a:pt x="12" y="342"/>
                    <a:pt x="14" y="343"/>
                    <a:pt x="15" y="344"/>
                  </a:cubicBezTo>
                  <a:cubicBezTo>
                    <a:pt x="16" y="346"/>
                    <a:pt x="16" y="349"/>
                    <a:pt x="15" y="352"/>
                  </a:cubicBezTo>
                  <a:cubicBezTo>
                    <a:pt x="14" y="355"/>
                    <a:pt x="16" y="358"/>
                    <a:pt x="18" y="360"/>
                  </a:cubicBezTo>
                  <a:cubicBezTo>
                    <a:pt x="19" y="361"/>
                    <a:pt x="20" y="363"/>
                    <a:pt x="21" y="364"/>
                  </a:cubicBezTo>
                  <a:cubicBezTo>
                    <a:pt x="22" y="367"/>
                    <a:pt x="22" y="369"/>
                    <a:pt x="21" y="372"/>
                  </a:cubicBezTo>
                  <a:cubicBezTo>
                    <a:pt x="20" y="375"/>
                    <a:pt x="20" y="378"/>
                    <a:pt x="22" y="380"/>
                  </a:cubicBezTo>
                  <a:cubicBezTo>
                    <a:pt x="24" y="382"/>
                    <a:pt x="25" y="383"/>
                    <a:pt x="27" y="383"/>
                  </a:cubicBezTo>
                  <a:cubicBezTo>
                    <a:pt x="28" y="383"/>
                    <a:pt x="29" y="384"/>
                    <a:pt x="30" y="384"/>
                  </a:cubicBezTo>
                  <a:cubicBezTo>
                    <a:pt x="32" y="386"/>
                    <a:pt x="33" y="388"/>
                    <a:pt x="33" y="391"/>
                  </a:cubicBezTo>
                  <a:cubicBezTo>
                    <a:pt x="33" y="395"/>
                    <a:pt x="32" y="397"/>
                    <a:pt x="31" y="400"/>
                  </a:cubicBezTo>
                  <a:cubicBezTo>
                    <a:pt x="31" y="401"/>
                    <a:pt x="31" y="401"/>
                    <a:pt x="31" y="401"/>
                  </a:cubicBezTo>
                  <a:cubicBezTo>
                    <a:pt x="29" y="405"/>
                    <a:pt x="32" y="408"/>
                    <a:pt x="35" y="410"/>
                  </a:cubicBezTo>
                  <a:cubicBezTo>
                    <a:pt x="36" y="411"/>
                    <a:pt x="36" y="411"/>
                    <a:pt x="37" y="412"/>
                  </a:cubicBezTo>
                  <a:cubicBezTo>
                    <a:pt x="39" y="415"/>
                    <a:pt x="41" y="418"/>
                    <a:pt x="43" y="421"/>
                  </a:cubicBezTo>
                  <a:cubicBezTo>
                    <a:pt x="44" y="423"/>
                    <a:pt x="45" y="425"/>
                    <a:pt x="46" y="426"/>
                  </a:cubicBezTo>
                  <a:cubicBezTo>
                    <a:pt x="47" y="428"/>
                    <a:pt x="48" y="429"/>
                    <a:pt x="49" y="431"/>
                  </a:cubicBezTo>
                  <a:cubicBezTo>
                    <a:pt x="52" y="435"/>
                    <a:pt x="55" y="439"/>
                    <a:pt x="53" y="445"/>
                  </a:cubicBezTo>
                  <a:cubicBezTo>
                    <a:pt x="53" y="446"/>
                    <a:pt x="53" y="446"/>
                    <a:pt x="53" y="446"/>
                  </a:cubicBezTo>
                  <a:cubicBezTo>
                    <a:pt x="52" y="448"/>
                    <a:pt x="52" y="449"/>
                    <a:pt x="52" y="450"/>
                  </a:cubicBezTo>
                  <a:cubicBezTo>
                    <a:pt x="52" y="451"/>
                    <a:pt x="52" y="452"/>
                    <a:pt x="53" y="452"/>
                  </a:cubicBezTo>
                  <a:cubicBezTo>
                    <a:pt x="53" y="454"/>
                    <a:pt x="53" y="454"/>
                    <a:pt x="53" y="456"/>
                  </a:cubicBezTo>
                  <a:cubicBezTo>
                    <a:pt x="52" y="457"/>
                    <a:pt x="51" y="458"/>
                    <a:pt x="50" y="459"/>
                  </a:cubicBezTo>
                  <a:cubicBezTo>
                    <a:pt x="48" y="460"/>
                    <a:pt x="46" y="462"/>
                    <a:pt x="47" y="465"/>
                  </a:cubicBezTo>
                  <a:cubicBezTo>
                    <a:pt x="48" y="466"/>
                    <a:pt x="48" y="466"/>
                    <a:pt x="49" y="467"/>
                  </a:cubicBezTo>
                  <a:cubicBezTo>
                    <a:pt x="50" y="467"/>
                    <a:pt x="50" y="468"/>
                    <a:pt x="51" y="468"/>
                  </a:cubicBezTo>
                  <a:cubicBezTo>
                    <a:pt x="51" y="469"/>
                    <a:pt x="51" y="470"/>
                    <a:pt x="51" y="471"/>
                  </a:cubicBezTo>
                  <a:cubicBezTo>
                    <a:pt x="50" y="472"/>
                    <a:pt x="50" y="473"/>
                    <a:pt x="51" y="474"/>
                  </a:cubicBezTo>
                  <a:cubicBezTo>
                    <a:pt x="51" y="475"/>
                    <a:pt x="53" y="476"/>
                    <a:pt x="54" y="476"/>
                  </a:cubicBezTo>
                  <a:cubicBezTo>
                    <a:pt x="56" y="476"/>
                    <a:pt x="57" y="476"/>
                    <a:pt x="60" y="475"/>
                  </a:cubicBezTo>
                  <a:cubicBezTo>
                    <a:pt x="62" y="474"/>
                    <a:pt x="64" y="474"/>
                    <a:pt x="66" y="474"/>
                  </a:cubicBezTo>
                  <a:cubicBezTo>
                    <a:pt x="68" y="474"/>
                    <a:pt x="70" y="475"/>
                    <a:pt x="71" y="477"/>
                  </a:cubicBezTo>
                  <a:cubicBezTo>
                    <a:pt x="72" y="478"/>
                    <a:pt x="71" y="480"/>
                    <a:pt x="70" y="482"/>
                  </a:cubicBezTo>
                  <a:cubicBezTo>
                    <a:pt x="69" y="485"/>
                    <a:pt x="68" y="488"/>
                    <a:pt x="71" y="489"/>
                  </a:cubicBezTo>
                  <a:cubicBezTo>
                    <a:pt x="72" y="489"/>
                    <a:pt x="73" y="490"/>
                    <a:pt x="76" y="490"/>
                  </a:cubicBezTo>
                  <a:cubicBezTo>
                    <a:pt x="77" y="490"/>
                    <a:pt x="77" y="490"/>
                    <a:pt x="77" y="490"/>
                  </a:cubicBezTo>
                  <a:cubicBezTo>
                    <a:pt x="78" y="490"/>
                    <a:pt x="79" y="490"/>
                    <a:pt x="80" y="490"/>
                  </a:cubicBezTo>
                  <a:cubicBezTo>
                    <a:pt x="84" y="491"/>
                    <a:pt x="88" y="492"/>
                    <a:pt x="90" y="494"/>
                  </a:cubicBezTo>
                  <a:cubicBezTo>
                    <a:pt x="91" y="495"/>
                    <a:pt x="91" y="496"/>
                    <a:pt x="92" y="497"/>
                  </a:cubicBezTo>
                  <a:cubicBezTo>
                    <a:pt x="92" y="499"/>
                    <a:pt x="93" y="500"/>
                    <a:pt x="94" y="501"/>
                  </a:cubicBezTo>
                  <a:cubicBezTo>
                    <a:pt x="95" y="502"/>
                    <a:pt x="97" y="502"/>
                    <a:pt x="98" y="502"/>
                  </a:cubicBezTo>
                  <a:cubicBezTo>
                    <a:pt x="99" y="503"/>
                    <a:pt x="101" y="503"/>
                    <a:pt x="101" y="504"/>
                  </a:cubicBezTo>
                  <a:cubicBezTo>
                    <a:pt x="102" y="506"/>
                    <a:pt x="102" y="507"/>
                    <a:pt x="101" y="509"/>
                  </a:cubicBezTo>
                  <a:cubicBezTo>
                    <a:pt x="100" y="510"/>
                    <a:pt x="99" y="511"/>
                    <a:pt x="100" y="513"/>
                  </a:cubicBezTo>
                  <a:cubicBezTo>
                    <a:pt x="100" y="514"/>
                    <a:pt x="101" y="515"/>
                    <a:pt x="104" y="518"/>
                  </a:cubicBezTo>
                  <a:cubicBezTo>
                    <a:pt x="105" y="519"/>
                    <a:pt x="105" y="519"/>
                    <a:pt x="105" y="519"/>
                  </a:cubicBezTo>
                  <a:cubicBezTo>
                    <a:pt x="107" y="521"/>
                    <a:pt x="109" y="523"/>
                    <a:pt x="112" y="525"/>
                  </a:cubicBezTo>
                  <a:cubicBezTo>
                    <a:pt x="113" y="526"/>
                    <a:pt x="115" y="527"/>
                    <a:pt x="116" y="527"/>
                  </a:cubicBezTo>
                  <a:cubicBezTo>
                    <a:pt x="118" y="527"/>
                    <a:pt x="119" y="527"/>
                    <a:pt x="121" y="528"/>
                  </a:cubicBezTo>
                  <a:cubicBezTo>
                    <a:pt x="122" y="529"/>
                    <a:pt x="122" y="530"/>
                    <a:pt x="123" y="532"/>
                  </a:cubicBezTo>
                  <a:cubicBezTo>
                    <a:pt x="124" y="533"/>
                    <a:pt x="124" y="535"/>
                    <a:pt x="125" y="536"/>
                  </a:cubicBezTo>
                  <a:cubicBezTo>
                    <a:pt x="127" y="537"/>
                    <a:pt x="128" y="538"/>
                    <a:pt x="129" y="539"/>
                  </a:cubicBezTo>
                  <a:cubicBezTo>
                    <a:pt x="130" y="540"/>
                    <a:pt x="131" y="540"/>
                    <a:pt x="131" y="541"/>
                  </a:cubicBezTo>
                  <a:cubicBezTo>
                    <a:pt x="134" y="544"/>
                    <a:pt x="134" y="545"/>
                    <a:pt x="133" y="546"/>
                  </a:cubicBezTo>
                  <a:cubicBezTo>
                    <a:pt x="132" y="547"/>
                    <a:pt x="131" y="548"/>
                    <a:pt x="131" y="549"/>
                  </a:cubicBezTo>
                  <a:cubicBezTo>
                    <a:pt x="130" y="552"/>
                    <a:pt x="132" y="553"/>
                    <a:pt x="134" y="553"/>
                  </a:cubicBezTo>
                  <a:cubicBezTo>
                    <a:pt x="135" y="554"/>
                    <a:pt x="136" y="554"/>
                    <a:pt x="136" y="555"/>
                  </a:cubicBezTo>
                  <a:cubicBezTo>
                    <a:pt x="137" y="556"/>
                    <a:pt x="137" y="557"/>
                    <a:pt x="138" y="559"/>
                  </a:cubicBezTo>
                  <a:cubicBezTo>
                    <a:pt x="138" y="561"/>
                    <a:pt x="138" y="562"/>
                    <a:pt x="140" y="564"/>
                  </a:cubicBezTo>
                  <a:cubicBezTo>
                    <a:pt x="141" y="565"/>
                    <a:pt x="143" y="565"/>
                    <a:pt x="144" y="565"/>
                  </a:cubicBezTo>
                  <a:cubicBezTo>
                    <a:pt x="146" y="565"/>
                    <a:pt x="147" y="565"/>
                    <a:pt x="149" y="567"/>
                  </a:cubicBezTo>
                  <a:cubicBezTo>
                    <a:pt x="149" y="567"/>
                    <a:pt x="149" y="567"/>
                    <a:pt x="150" y="568"/>
                  </a:cubicBezTo>
                  <a:cubicBezTo>
                    <a:pt x="150" y="568"/>
                    <a:pt x="150" y="569"/>
                    <a:pt x="151" y="569"/>
                  </a:cubicBezTo>
                  <a:cubicBezTo>
                    <a:pt x="152" y="569"/>
                    <a:pt x="152" y="570"/>
                    <a:pt x="153" y="570"/>
                  </a:cubicBezTo>
                  <a:cubicBezTo>
                    <a:pt x="154" y="570"/>
                    <a:pt x="154" y="570"/>
                    <a:pt x="155" y="571"/>
                  </a:cubicBezTo>
                  <a:cubicBezTo>
                    <a:pt x="157" y="573"/>
                    <a:pt x="158" y="575"/>
                    <a:pt x="159" y="579"/>
                  </a:cubicBezTo>
                  <a:cubicBezTo>
                    <a:pt x="159" y="580"/>
                    <a:pt x="159" y="580"/>
                    <a:pt x="159" y="580"/>
                  </a:cubicBezTo>
                  <a:cubicBezTo>
                    <a:pt x="160" y="587"/>
                    <a:pt x="161" y="591"/>
                    <a:pt x="165" y="596"/>
                  </a:cubicBezTo>
                  <a:cubicBezTo>
                    <a:pt x="166" y="597"/>
                    <a:pt x="168" y="598"/>
                    <a:pt x="169" y="600"/>
                  </a:cubicBezTo>
                  <a:cubicBezTo>
                    <a:pt x="170" y="600"/>
                    <a:pt x="171" y="601"/>
                    <a:pt x="172" y="602"/>
                  </a:cubicBezTo>
                  <a:cubicBezTo>
                    <a:pt x="173" y="604"/>
                    <a:pt x="173" y="605"/>
                    <a:pt x="174" y="607"/>
                  </a:cubicBezTo>
                  <a:cubicBezTo>
                    <a:pt x="174" y="608"/>
                    <a:pt x="174" y="609"/>
                    <a:pt x="175" y="611"/>
                  </a:cubicBezTo>
                  <a:cubicBezTo>
                    <a:pt x="176" y="613"/>
                    <a:pt x="180" y="615"/>
                    <a:pt x="183" y="617"/>
                  </a:cubicBezTo>
                  <a:cubicBezTo>
                    <a:pt x="185" y="617"/>
                    <a:pt x="187" y="618"/>
                    <a:pt x="188" y="619"/>
                  </a:cubicBezTo>
                  <a:cubicBezTo>
                    <a:pt x="189" y="620"/>
                    <a:pt x="191" y="620"/>
                    <a:pt x="192" y="620"/>
                  </a:cubicBezTo>
                  <a:cubicBezTo>
                    <a:pt x="193" y="620"/>
                    <a:pt x="194" y="620"/>
                    <a:pt x="196" y="618"/>
                  </a:cubicBezTo>
                  <a:cubicBezTo>
                    <a:pt x="197" y="618"/>
                    <a:pt x="197" y="618"/>
                    <a:pt x="197" y="618"/>
                  </a:cubicBezTo>
                  <a:cubicBezTo>
                    <a:pt x="198" y="616"/>
                    <a:pt x="198" y="616"/>
                    <a:pt x="198" y="616"/>
                  </a:cubicBezTo>
                  <a:cubicBezTo>
                    <a:pt x="200" y="615"/>
                    <a:pt x="202" y="614"/>
                    <a:pt x="204" y="614"/>
                  </a:cubicBezTo>
                  <a:cubicBezTo>
                    <a:pt x="205" y="614"/>
                    <a:pt x="205" y="614"/>
                    <a:pt x="207" y="614"/>
                  </a:cubicBezTo>
                  <a:cubicBezTo>
                    <a:pt x="208" y="614"/>
                    <a:pt x="208" y="614"/>
                    <a:pt x="208" y="614"/>
                  </a:cubicBezTo>
                  <a:cubicBezTo>
                    <a:pt x="209" y="615"/>
                    <a:pt x="211" y="615"/>
                    <a:pt x="212" y="616"/>
                  </a:cubicBezTo>
                  <a:cubicBezTo>
                    <a:pt x="213" y="616"/>
                    <a:pt x="213" y="617"/>
                    <a:pt x="214" y="617"/>
                  </a:cubicBezTo>
                  <a:cubicBezTo>
                    <a:pt x="215" y="618"/>
                    <a:pt x="215" y="619"/>
                    <a:pt x="216" y="619"/>
                  </a:cubicBezTo>
                  <a:cubicBezTo>
                    <a:pt x="217" y="619"/>
                    <a:pt x="217" y="619"/>
                    <a:pt x="217" y="619"/>
                  </a:cubicBezTo>
                  <a:cubicBezTo>
                    <a:pt x="220" y="619"/>
                    <a:pt x="221" y="616"/>
                    <a:pt x="222" y="614"/>
                  </a:cubicBezTo>
                  <a:cubicBezTo>
                    <a:pt x="223" y="613"/>
                    <a:pt x="223" y="612"/>
                    <a:pt x="224" y="611"/>
                  </a:cubicBezTo>
                  <a:cubicBezTo>
                    <a:pt x="225" y="610"/>
                    <a:pt x="226" y="609"/>
                    <a:pt x="228" y="609"/>
                  </a:cubicBezTo>
                  <a:cubicBezTo>
                    <a:pt x="228" y="609"/>
                    <a:pt x="228" y="609"/>
                    <a:pt x="228" y="609"/>
                  </a:cubicBezTo>
                  <a:cubicBezTo>
                    <a:pt x="230" y="610"/>
                    <a:pt x="232" y="611"/>
                    <a:pt x="232" y="613"/>
                  </a:cubicBezTo>
                  <a:cubicBezTo>
                    <a:pt x="235" y="619"/>
                    <a:pt x="239" y="623"/>
                    <a:pt x="244" y="628"/>
                  </a:cubicBezTo>
                  <a:cubicBezTo>
                    <a:pt x="245" y="629"/>
                    <a:pt x="246" y="630"/>
                    <a:pt x="247" y="631"/>
                  </a:cubicBezTo>
                  <a:cubicBezTo>
                    <a:pt x="249" y="633"/>
                    <a:pt x="250" y="633"/>
                    <a:pt x="251" y="634"/>
                  </a:cubicBezTo>
                  <a:cubicBezTo>
                    <a:pt x="252" y="634"/>
                    <a:pt x="252" y="634"/>
                    <a:pt x="253" y="634"/>
                  </a:cubicBezTo>
                  <a:cubicBezTo>
                    <a:pt x="255" y="635"/>
                    <a:pt x="255" y="636"/>
                    <a:pt x="255" y="638"/>
                  </a:cubicBezTo>
                  <a:cubicBezTo>
                    <a:pt x="255" y="638"/>
                    <a:pt x="255" y="639"/>
                    <a:pt x="255" y="639"/>
                  </a:cubicBezTo>
                  <a:cubicBezTo>
                    <a:pt x="257" y="643"/>
                    <a:pt x="259" y="643"/>
                    <a:pt x="263" y="643"/>
                  </a:cubicBezTo>
                  <a:cubicBezTo>
                    <a:pt x="266" y="643"/>
                    <a:pt x="267" y="642"/>
                    <a:pt x="269" y="641"/>
                  </a:cubicBezTo>
                  <a:cubicBezTo>
                    <a:pt x="269" y="640"/>
                    <a:pt x="270" y="639"/>
                    <a:pt x="272" y="638"/>
                  </a:cubicBezTo>
                  <a:cubicBezTo>
                    <a:pt x="273" y="638"/>
                    <a:pt x="274" y="637"/>
                    <a:pt x="275" y="637"/>
                  </a:cubicBezTo>
                  <a:cubicBezTo>
                    <a:pt x="277" y="637"/>
                    <a:pt x="278" y="638"/>
                    <a:pt x="280" y="639"/>
                  </a:cubicBezTo>
                  <a:cubicBezTo>
                    <a:pt x="281" y="640"/>
                    <a:pt x="283" y="641"/>
                    <a:pt x="284" y="641"/>
                  </a:cubicBezTo>
                  <a:cubicBezTo>
                    <a:pt x="286" y="641"/>
                    <a:pt x="287" y="641"/>
                    <a:pt x="288" y="640"/>
                  </a:cubicBezTo>
                  <a:cubicBezTo>
                    <a:pt x="289" y="639"/>
                    <a:pt x="291" y="638"/>
                    <a:pt x="292" y="638"/>
                  </a:cubicBezTo>
                  <a:cubicBezTo>
                    <a:pt x="293" y="638"/>
                    <a:pt x="294" y="638"/>
                    <a:pt x="294" y="639"/>
                  </a:cubicBezTo>
                  <a:cubicBezTo>
                    <a:pt x="295" y="639"/>
                    <a:pt x="295" y="640"/>
                    <a:pt x="296" y="641"/>
                  </a:cubicBezTo>
                  <a:cubicBezTo>
                    <a:pt x="296" y="642"/>
                    <a:pt x="296" y="642"/>
                    <a:pt x="296" y="642"/>
                  </a:cubicBezTo>
                  <a:cubicBezTo>
                    <a:pt x="297" y="643"/>
                    <a:pt x="297" y="643"/>
                    <a:pt x="297" y="643"/>
                  </a:cubicBezTo>
                  <a:cubicBezTo>
                    <a:pt x="297" y="643"/>
                    <a:pt x="297" y="644"/>
                    <a:pt x="297" y="644"/>
                  </a:cubicBezTo>
                  <a:cubicBezTo>
                    <a:pt x="299" y="646"/>
                    <a:pt x="299" y="646"/>
                    <a:pt x="299" y="646"/>
                  </a:cubicBezTo>
                  <a:cubicBezTo>
                    <a:pt x="300" y="645"/>
                    <a:pt x="300" y="645"/>
                    <a:pt x="300" y="645"/>
                  </a:cubicBezTo>
                  <a:cubicBezTo>
                    <a:pt x="301" y="645"/>
                    <a:pt x="301" y="645"/>
                    <a:pt x="301" y="645"/>
                  </a:cubicBezTo>
                  <a:cubicBezTo>
                    <a:pt x="301" y="645"/>
                    <a:pt x="301" y="645"/>
                    <a:pt x="302" y="645"/>
                  </a:cubicBezTo>
                  <a:cubicBezTo>
                    <a:pt x="304" y="645"/>
                    <a:pt x="304" y="645"/>
                    <a:pt x="304" y="645"/>
                  </a:cubicBezTo>
                  <a:cubicBezTo>
                    <a:pt x="304" y="644"/>
                    <a:pt x="304" y="644"/>
                    <a:pt x="304" y="644"/>
                  </a:cubicBezTo>
                  <a:cubicBezTo>
                    <a:pt x="304" y="643"/>
                    <a:pt x="305" y="643"/>
                    <a:pt x="305" y="642"/>
                  </a:cubicBezTo>
                  <a:cubicBezTo>
                    <a:pt x="305" y="642"/>
                    <a:pt x="306" y="641"/>
                    <a:pt x="306" y="641"/>
                  </a:cubicBezTo>
                  <a:cubicBezTo>
                    <a:pt x="308" y="639"/>
                    <a:pt x="311" y="639"/>
                    <a:pt x="314" y="639"/>
                  </a:cubicBezTo>
                  <a:cubicBezTo>
                    <a:pt x="318" y="639"/>
                    <a:pt x="320" y="638"/>
                    <a:pt x="323" y="636"/>
                  </a:cubicBezTo>
                  <a:cubicBezTo>
                    <a:pt x="325" y="635"/>
                    <a:pt x="326" y="635"/>
                    <a:pt x="327" y="635"/>
                  </a:cubicBezTo>
                  <a:cubicBezTo>
                    <a:pt x="328" y="635"/>
                    <a:pt x="329" y="636"/>
                    <a:pt x="330" y="637"/>
                  </a:cubicBezTo>
                  <a:cubicBezTo>
                    <a:pt x="331" y="637"/>
                    <a:pt x="331" y="637"/>
                    <a:pt x="331" y="637"/>
                  </a:cubicBezTo>
                  <a:cubicBezTo>
                    <a:pt x="333" y="638"/>
                    <a:pt x="335" y="638"/>
                    <a:pt x="337" y="638"/>
                  </a:cubicBezTo>
                  <a:cubicBezTo>
                    <a:pt x="339" y="638"/>
                    <a:pt x="340" y="638"/>
                    <a:pt x="342" y="638"/>
                  </a:cubicBezTo>
                  <a:cubicBezTo>
                    <a:pt x="342" y="638"/>
                    <a:pt x="342" y="638"/>
                    <a:pt x="342" y="638"/>
                  </a:cubicBezTo>
                  <a:cubicBezTo>
                    <a:pt x="367" y="610"/>
                    <a:pt x="367" y="610"/>
                    <a:pt x="367" y="610"/>
                  </a:cubicBezTo>
                  <a:cubicBezTo>
                    <a:pt x="408" y="610"/>
                    <a:pt x="408" y="610"/>
                    <a:pt x="408" y="610"/>
                  </a:cubicBezTo>
                  <a:cubicBezTo>
                    <a:pt x="407" y="607"/>
                    <a:pt x="407" y="607"/>
                    <a:pt x="407" y="607"/>
                  </a:cubicBezTo>
                  <a:cubicBezTo>
                    <a:pt x="407" y="605"/>
                    <a:pt x="407" y="602"/>
                    <a:pt x="407" y="599"/>
                  </a:cubicBezTo>
                  <a:cubicBezTo>
                    <a:pt x="407" y="598"/>
                    <a:pt x="407" y="597"/>
                    <a:pt x="408" y="596"/>
                  </a:cubicBezTo>
                  <a:cubicBezTo>
                    <a:pt x="408" y="592"/>
                    <a:pt x="407" y="588"/>
                    <a:pt x="403" y="586"/>
                  </a:cubicBezTo>
                  <a:cubicBezTo>
                    <a:pt x="402" y="586"/>
                    <a:pt x="401" y="585"/>
                    <a:pt x="400" y="585"/>
                  </a:cubicBezTo>
                  <a:cubicBezTo>
                    <a:pt x="400" y="585"/>
                    <a:pt x="399" y="586"/>
                    <a:pt x="398" y="586"/>
                  </a:cubicBezTo>
                  <a:cubicBezTo>
                    <a:pt x="398" y="586"/>
                    <a:pt x="397" y="586"/>
                    <a:pt x="396" y="586"/>
                  </a:cubicBezTo>
                  <a:cubicBezTo>
                    <a:pt x="395" y="586"/>
                    <a:pt x="394" y="586"/>
                    <a:pt x="394" y="586"/>
                  </a:cubicBezTo>
                  <a:cubicBezTo>
                    <a:pt x="393" y="584"/>
                    <a:pt x="392" y="583"/>
                    <a:pt x="391" y="582"/>
                  </a:cubicBezTo>
                  <a:cubicBezTo>
                    <a:pt x="390" y="581"/>
                    <a:pt x="390" y="580"/>
                    <a:pt x="389" y="579"/>
                  </a:cubicBezTo>
                  <a:cubicBezTo>
                    <a:pt x="388" y="578"/>
                    <a:pt x="388" y="576"/>
                    <a:pt x="387" y="575"/>
                  </a:cubicBezTo>
                  <a:cubicBezTo>
                    <a:pt x="387" y="573"/>
                    <a:pt x="387" y="572"/>
                    <a:pt x="386" y="571"/>
                  </a:cubicBezTo>
                  <a:cubicBezTo>
                    <a:pt x="385" y="566"/>
                    <a:pt x="382" y="560"/>
                    <a:pt x="380" y="554"/>
                  </a:cubicBezTo>
                  <a:cubicBezTo>
                    <a:pt x="380" y="553"/>
                    <a:pt x="380" y="553"/>
                    <a:pt x="380" y="553"/>
                  </a:cubicBezTo>
                  <a:cubicBezTo>
                    <a:pt x="379" y="549"/>
                    <a:pt x="378" y="545"/>
                    <a:pt x="374" y="543"/>
                  </a:cubicBezTo>
                  <a:cubicBezTo>
                    <a:pt x="371" y="541"/>
                    <a:pt x="371" y="541"/>
                    <a:pt x="370" y="539"/>
                  </a:cubicBezTo>
                  <a:cubicBezTo>
                    <a:pt x="369" y="538"/>
                    <a:pt x="369" y="538"/>
                    <a:pt x="369" y="538"/>
                  </a:cubicBezTo>
                  <a:cubicBezTo>
                    <a:pt x="368" y="537"/>
                    <a:pt x="367" y="536"/>
                    <a:pt x="366" y="535"/>
                  </a:cubicBezTo>
                  <a:cubicBezTo>
                    <a:pt x="365" y="535"/>
                    <a:pt x="365" y="534"/>
                    <a:pt x="364" y="534"/>
                  </a:cubicBezTo>
                  <a:cubicBezTo>
                    <a:pt x="361" y="531"/>
                    <a:pt x="359" y="527"/>
                    <a:pt x="356" y="524"/>
                  </a:cubicBezTo>
                  <a:cubicBezTo>
                    <a:pt x="354" y="520"/>
                    <a:pt x="352" y="516"/>
                    <a:pt x="348" y="513"/>
                  </a:cubicBezTo>
                  <a:cubicBezTo>
                    <a:pt x="347" y="512"/>
                    <a:pt x="347" y="512"/>
                    <a:pt x="347" y="512"/>
                  </a:cubicBezTo>
                  <a:cubicBezTo>
                    <a:pt x="346" y="511"/>
                    <a:pt x="345" y="509"/>
                    <a:pt x="343" y="509"/>
                  </a:cubicBezTo>
                  <a:cubicBezTo>
                    <a:pt x="342" y="509"/>
                    <a:pt x="342" y="509"/>
                    <a:pt x="341" y="509"/>
                  </a:cubicBezTo>
                  <a:cubicBezTo>
                    <a:pt x="340" y="509"/>
                    <a:pt x="339" y="509"/>
                    <a:pt x="339" y="509"/>
                  </a:cubicBezTo>
                  <a:cubicBezTo>
                    <a:pt x="338" y="509"/>
                    <a:pt x="337" y="509"/>
                    <a:pt x="336" y="509"/>
                  </a:cubicBezTo>
                  <a:cubicBezTo>
                    <a:pt x="336" y="509"/>
                    <a:pt x="335" y="509"/>
                    <a:pt x="335" y="509"/>
                  </a:cubicBezTo>
                  <a:cubicBezTo>
                    <a:pt x="330" y="508"/>
                    <a:pt x="325" y="504"/>
                    <a:pt x="326" y="501"/>
                  </a:cubicBezTo>
                  <a:cubicBezTo>
                    <a:pt x="326" y="500"/>
                    <a:pt x="327" y="499"/>
                    <a:pt x="328" y="498"/>
                  </a:cubicBezTo>
                  <a:cubicBezTo>
                    <a:pt x="328" y="497"/>
                    <a:pt x="329" y="496"/>
                    <a:pt x="329" y="495"/>
                  </a:cubicBezTo>
                  <a:cubicBezTo>
                    <a:pt x="330" y="494"/>
                    <a:pt x="330" y="492"/>
                    <a:pt x="330" y="491"/>
                  </a:cubicBezTo>
                  <a:cubicBezTo>
                    <a:pt x="330" y="490"/>
                    <a:pt x="330" y="488"/>
                    <a:pt x="331" y="487"/>
                  </a:cubicBezTo>
                  <a:cubicBezTo>
                    <a:pt x="332" y="484"/>
                    <a:pt x="334" y="483"/>
                    <a:pt x="335" y="483"/>
                  </a:cubicBezTo>
                  <a:cubicBezTo>
                    <a:pt x="337" y="483"/>
                    <a:pt x="339" y="485"/>
                    <a:pt x="341" y="486"/>
                  </a:cubicBezTo>
                  <a:cubicBezTo>
                    <a:pt x="342" y="486"/>
                    <a:pt x="343" y="487"/>
                    <a:pt x="344" y="487"/>
                  </a:cubicBezTo>
                  <a:cubicBezTo>
                    <a:pt x="345" y="487"/>
                    <a:pt x="345" y="488"/>
                    <a:pt x="346" y="488"/>
                  </a:cubicBezTo>
                  <a:cubicBezTo>
                    <a:pt x="350" y="488"/>
                    <a:pt x="352" y="484"/>
                    <a:pt x="354" y="481"/>
                  </a:cubicBezTo>
                  <a:cubicBezTo>
                    <a:pt x="357" y="477"/>
                    <a:pt x="356" y="471"/>
                    <a:pt x="356" y="466"/>
                  </a:cubicBezTo>
                  <a:cubicBezTo>
                    <a:pt x="355" y="464"/>
                    <a:pt x="355" y="461"/>
                    <a:pt x="355" y="459"/>
                  </a:cubicBezTo>
                  <a:cubicBezTo>
                    <a:pt x="355" y="458"/>
                    <a:pt x="355" y="456"/>
                    <a:pt x="355" y="454"/>
                  </a:cubicBezTo>
                  <a:cubicBezTo>
                    <a:pt x="355" y="449"/>
                    <a:pt x="355" y="444"/>
                    <a:pt x="356" y="439"/>
                  </a:cubicBezTo>
                  <a:cubicBezTo>
                    <a:pt x="357" y="437"/>
                    <a:pt x="357" y="437"/>
                    <a:pt x="357" y="437"/>
                  </a:cubicBezTo>
                  <a:cubicBezTo>
                    <a:pt x="358" y="431"/>
                    <a:pt x="360" y="426"/>
                    <a:pt x="360" y="420"/>
                  </a:cubicBezTo>
                  <a:cubicBezTo>
                    <a:pt x="361" y="419"/>
                    <a:pt x="361" y="419"/>
                    <a:pt x="361" y="419"/>
                  </a:cubicBezTo>
                  <a:cubicBezTo>
                    <a:pt x="361" y="414"/>
                    <a:pt x="362" y="406"/>
                    <a:pt x="367" y="405"/>
                  </a:cubicBezTo>
                  <a:cubicBezTo>
                    <a:pt x="368" y="405"/>
                    <a:pt x="368" y="405"/>
                    <a:pt x="368" y="405"/>
                  </a:cubicBezTo>
                  <a:cubicBezTo>
                    <a:pt x="370" y="405"/>
                    <a:pt x="371" y="406"/>
                    <a:pt x="373" y="406"/>
                  </a:cubicBezTo>
                  <a:cubicBezTo>
                    <a:pt x="375" y="408"/>
                    <a:pt x="376" y="408"/>
                    <a:pt x="377" y="408"/>
                  </a:cubicBezTo>
                  <a:cubicBezTo>
                    <a:pt x="378" y="408"/>
                    <a:pt x="379" y="407"/>
                    <a:pt x="379" y="407"/>
                  </a:cubicBezTo>
                  <a:cubicBezTo>
                    <a:pt x="379" y="407"/>
                    <a:pt x="379" y="407"/>
                    <a:pt x="379" y="407"/>
                  </a:cubicBezTo>
                  <a:cubicBezTo>
                    <a:pt x="379" y="406"/>
                    <a:pt x="379" y="406"/>
                    <a:pt x="379" y="406"/>
                  </a:cubicBezTo>
                  <a:cubicBezTo>
                    <a:pt x="379" y="406"/>
                    <a:pt x="379" y="405"/>
                    <a:pt x="379" y="400"/>
                  </a:cubicBezTo>
                  <a:cubicBezTo>
                    <a:pt x="379" y="399"/>
                    <a:pt x="379" y="398"/>
                    <a:pt x="379" y="397"/>
                  </a:cubicBezTo>
                  <a:cubicBezTo>
                    <a:pt x="379" y="394"/>
                    <a:pt x="380" y="390"/>
                    <a:pt x="381" y="386"/>
                  </a:cubicBezTo>
                  <a:cubicBezTo>
                    <a:pt x="381" y="384"/>
                    <a:pt x="381" y="383"/>
                    <a:pt x="381" y="381"/>
                  </a:cubicBezTo>
                  <a:cubicBezTo>
                    <a:pt x="381" y="380"/>
                    <a:pt x="381" y="378"/>
                    <a:pt x="382" y="376"/>
                  </a:cubicBezTo>
                  <a:cubicBezTo>
                    <a:pt x="382" y="374"/>
                    <a:pt x="383" y="373"/>
                    <a:pt x="384" y="373"/>
                  </a:cubicBezTo>
                  <a:cubicBezTo>
                    <a:pt x="385" y="372"/>
                    <a:pt x="386" y="372"/>
                    <a:pt x="387" y="371"/>
                  </a:cubicBezTo>
                  <a:cubicBezTo>
                    <a:pt x="390" y="367"/>
                    <a:pt x="393" y="361"/>
                    <a:pt x="395" y="356"/>
                  </a:cubicBezTo>
                  <a:cubicBezTo>
                    <a:pt x="396" y="353"/>
                    <a:pt x="396" y="353"/>
                    <a:pt x="396" y="353"/>
                  </a:cubicBezTo>
                  <a:cubicBezTo>
                    <a:pt x="396" y="353"/>
                    <a:pt x="397" y="352"/>
                    <a:pt x="397" y="352"/>
                  </a:cubicBezTo>
                  <a:cubicBezTo>
                    <a:pt x="398" y="349"/>
                    <a:pt x="399" y="347"/>
                    <a:pt x="401" y="346"/>
                  </a:cubicBezTo>
                  <a:cubicBezTo>
                    <a:pt x="403" y="345"/>
                    <a:pt x="405" y="345"/>
                    <a:pt x="406" y="345"/>
                  </a:cubicBezTo>
                  <a:cubicBezTo>
                    <a:pt x="409" y="345"/>
                    <a:pt x="411" y="345"/>
                    <a:pt x="412" y="340"/>
                  </a:cubicBezTo>
                  <a:cubicBezTo>
                    <a:pt x="413" y="338"/>
                    <a:pt x="413" y="336"/>
                    <a:pt x="413" y="334"/>
                  </a:cubicBezTo>
                  <a:cubicBezTo>
                    <a:pt x="413" y="330"/>
                    <a:pt x="413" y="328"/>
                    <a:pt x="414" y="325"/>
                  </a:cubicBezTo>
                  <a:cubicBezTo>
                    <a:pt x="417" y="318"/>
                    <a:pt x="418" y="313"/>
                    <a:pt x="420" y="306"/>
                  </a:cubicBezTo>
                  <a:cubicBezTo>
                    <a:pt x="422" y="302"/>
                    <a:pt x="421" y="298"/>
                    <a:pt x="421" y="293"/>
                  </a:cubicBezTo>
                  <a:cubicBezTo>
                    <a:pt x="421" y="292"/>
                    <a:pt x="420" y="291"/>
                    <a:pt x="420" y="289"/>
                  </a:cubicBezTo>
                  <a:cubicBezTo>
                    <a:pt x="420" y="287"/>
                    <a:pt x="420" y="284"/>
                    <a:pt x="420" y="281"/>
                  </a:cubicBezTo>
                  <a:cubicBezTo>
                    <a:pt x="420" y="278"/>
                    <a:pt x="420" y="275"/>
                    <a:pt x="420" y="272"/>
                  </a:cubicBezTo>
                  <a:cubicBezTo>
                    <a:pt x="419" y="265"/>
                    <a:pt x="419" y="263"/>
                    <a:pt x="422" y="258"/>
                  </a:cubicBezTo>
                  <a:cubicBezTo>
                    <a:pt x="424" y="254"/>
                    <a:pt x="424" y="251"/>
                    <a:pt x="425" y="248"/>
                  </a:cubicBezTo>
                  <a:cubicBezTo>
                    <a:pt x="425" y="246"/>
                    <a:pt x="425" y="245"/>
                    <a:pt x="426" y="243"/>
                  </a:cubicBezTo>
                  <a:cubicBezTo>
                    <a:pt x="426" y="241"/>
                    <a:pt x="427" y="239"/>
                    <a:pt x="428" y="237"/>
                  </a:cubicBezTo>
                  <a:cubicBezTo>
                    <a:pt x="429" y="234"/>
                    <a:pt x="431" y="231"/>
                    <a:pt x="431" y="228"/>
                  </a:cubicBezTo>
                  <a:cubicBezTo>
                    <a:pt x="431" y="225"/>
                    <a:pt x="431" y="223"/>
                    <a:pt x="430" y="221"/>
                  </a:cubicBezTo>
                  <a:cubicBezTo>
                    <a:pt x="429" y="219"/>
                    <a:pt x="429" y="217"/>
                    <a:pt x="430" y="213"/>
                  </a:cubicBezTo>
                  <a:cubicBezTo>
                    <a:pt x="430" y="213"/>
                    <a:pt x="431" y="212"/>
                    <a:pt x="431" y="212"/>
                  </a:cubicBezTo>
                  <a:cubicBezTo>
                    <a:pt x="431" y="211"/>
                    <a:pt x="432" y="211"/>
                    <a:pt x="432" y="210"/>
                  </a:cubicBezTo>
                  <a:cubicBezTo>
                    <a:pt x="432" y="209"/>
                    <a:pt x="432" y="208"/>
                    <a:pt x="432" y="207"/>
                  </a:cubicBezTo>
                  <a:cubicBezTo>
                    <a:pt x="432" y="207"/>
                    <a:pt x="432" y="206"/>
                    <a:pt x="432" y="205"/>
                  </a:cubicBezTo>
                  <a:cubicBezTo>
                    <a:pt x="433" y="202"/>
                    <a:pt x="434" y="202"/>
                    <a:pt x="436" y="202"/>
                  </a:cubicBezTo>
                  <a:cubicBezTo>
                    <a:pt x="437" y="202"/>
                    <a:pt x="437" y="202"/>
                    <a:pt x="438" y="202"/>
                  </a:cubicBezTo>
                  <a:cubicBezTo>
                    <a:pt x="443" y="202"/>
                    <a:pt x="445" y="201"/>
                    <a:pt x="445" y="197"/>
                  </a:cubicBezTo>
                  <a:cubicBezTo>
                    <a:pt x="445" y="195"/>
                    <a:pt x="446" y="193"/>
                    <a:pt x="446" y="191"/>
                  </a:cubicBezTo>
                  <a:cubicBezTo>
                    <a:pt x="447" y="191"/>
                    <a:pt x="447" y="192"/>
                    <a:pt x="447" y="192"/>
                  </a:cubicBezTo>
                  <a:cubicBezTo>
                    <a:pt x="449" y="192"/>
                    <a:pt x="451" y="190"/>
                    <a:pt x="453" y="189"/>
                  </a:cubicBezTo>
                  <a:cubicBezTo>
                    <a:pt x="454" y="188"/>
                    <a:pt x="455" y="187"/>
                    <a:pt x="456" y="186"/>
                  </a:cubicBezTo>
                  <a:cubicBezTo>
                    <a:pt x="458" y="186"/>
                    <a:pt x="459" y="186"/>
                    <a:pt x="461" y="186"/>
                  </a:cubicBezTo>
                  <a:cubicBezTo>
                    <a:pt x="463" y="185"/>
                    <a:pt x="466" y="185"/>
                    <a:pt x="468" y="184"/>
                  </a:cubicBezTo>
                  <a:cubicBezTo>
                    <a:pt x="470" y="182"/>
                    <a:pt x="470" y="180"/>
                    <a:pt x="470" y="178"/>
                  </a:cubicBezTo>
                  <a:cubicBezTo>
                    <a:pt x="471" y="176"/>
                    <a:pt x="471" y="175"/>
                    <a:pt x="472" y="173"/>
                  </a:cubicBezTo>
                  <a:cubicBezTo>
                    <a:pt x="472" y="173"/>
                    <a:pt x="474" y="171"/>
                    <a:pt x="476" y="169"/>
                  </a:cubicBezTo>
                  <a:cubicBezTo>
                    <a:pt x="477" y="168"/>
                    <a:pt x="477" y="168"/>
                    <a:pt x="477" y="168"/>
                  </a:cubicBezTo>
                  <a:lnTo>
                    <a:pt x="476" y="166"/>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46" name="Freeform 43">
              <a:extLst>
                <a:ext uri="{FF2B5EF4-FFF2-40B4-BE49-F238E27FC236}">
                  <a16:creationId xmlns:a16="http://schemas.microsoft.com/office/drawing/2014/main" id="{16C234C1-1A03-4F07-AE96-272134C531DE}"/>
                </a:ext>
              </a:extLst>
            </p:cNvPr>
            <p:cNvSpPr>
              <a:spLocks/>
            </p:cNvSpPr>
            <p:nvPr/>
          </p:nvSpPr>
          <p:spPr bwMode="auto">
            <a:xfrm>
              <a:off x="3713108" y="2260739"/>
              <a:ext cx="320298" cy="352381"/>
            </a:xfrm>
            <a:custGeom>
              <a:avLst/>
              <a:gdLst>
                <a:gd name="T0" fmla="*/ 154 w 158"/>
                <a:gd name="T1" fmla="*/ 72 h 189"/>
                <a:gd name="T2" fmla="*/ 153 w 158"/>
                <a:gd name="T3" fmla="*/ 55 h 189"/>
                <a:gd name="T4" fmla="*/ 147 w 158"/>
                <a:gd name="T5" fmla="*/ 47 h 189"/>
                <a:gd name="T6" fmla="*/ 144 w 158"/>
                <a:gd name="T7" fmla="*/ 38 h 189"/>
                <a:gd name="T8" fmla="*/ 141 w 158"/>
                <a:gd name="T9" fmla="*/ 37 h 189"/>
                <a:gd name="T10" fmla="*/ 140 w 158"/>
                <a:gd name="T11" fmla="*/ 29 h 189"/>
                <a:gd name="T12" fmla="*/ 141 w 158"/>
                <a:gd name="T13" fmla="*/ 23 h 189"/>
                <a:gd name="T14" fmla="*/ 134 w 158"/>
                <a:gd name="T15" fmla="*/ 18 h 189"/>
                <a:gd name="T16" fmla="*/ 130 w 158"/>
                <a:gd name="T17" fmla="*/ 8 h 189"/>
                <a:gd name="T18" fmla="*/ 113 w 158"/>
                <a:gd name="T19" fmla="*/ 16 h 189"/>
                <a:gd name="T20" fmla="*/ 102 w 158"/>
                <a:gd name="T21" fmla="*/ 15 h 189"/>
                <a:gd name="T22" fmla="*/ 85 w 158"/>
                <a:gd name="T23" fmla="*/ 17 h 189"/>
                <a:gd name="T24" fmla="*/ 74 w 158"/>
                <a:gd name="T25" fmla="*/ 23 h 189"/>
                <a:gd name="T26" fmla="*/ 70 w 158"/>
                <a:gd name="T27" fmla="*/ 23 h 189"/>
                <a:gd name="T28" fmla="*/ 67 w 158"/>
                <a:gd name="T29" fmla="*/ 20 h 189"/>
                <a:gd name="T30" fmla="*/ 59 w 158"/>
                <a:gd name="T31" fmla="*/ 18 h 189"/>
                <a:gd name="T32" fmla="*/ 46 w 158"/>
                <a:gd name="T33" fmla="*/ 16 h 189"/>
                <a:gd name="T34" fmla="*/ 38 w 158"/>
                <a:gd name="T35" fmla="*/ 21 h 189"/>
                <a:gd name="T36" fmla="*/ 35 w 158"/>
                <a:gd name="T37" fmla="*/ 34 h 189"/>
                <a:gd name="T38" fmla="*/ 36 w 158"/>
                <a:gd name="T39" fmla="*/ 45 h 189"/>
                <a:gd name="T40" fmla="*/ 34 w 158"/>
                <a:gd name="T41" fmla="*/ 52 h 189"/>
                <a:gd name="T42" fmla="*/ 33 w 158"/>
                <a:gd name="T43" fmla="*/ 61 h 189"/>
                <a:gd name="T44" fmla="*/ 48 w 158"/>
                <a:gd name="T45" fmla="*/ 70 h 189"/>
                <a:gd name="T46" fmla="*/ 27 w 158"/>
                <a:gd name="T47" fmla="*/ 99 h 189"/>
                <a:gd name="T48" fmla="*/ 18 w 158"/>
                <a:gd name="T49" fmla="*/ 106 h 189"/>
                <a:gd name="T50" fmla="*/ 9 w 158"/>
                <a:gd name="T51" fmla="*/ 117 h 189"/>
                <a:gd name="T52" fmla="*/ 3 w 158"/>
                <a:gd name="T53" fmla="*/ 149 h 189"/>
                <a:gd name="T54" fmla="*/ 0 w 158"/>
                <a:gd name="T55" fmla="*/ 182 h 189"/>
                <a:gd name="T56" fmla="*/ 5 w 158"/>
                <a:gd name="T57" fmla="*/ 184 h 189"/>
                <a:gd name="T58" fmla="*/ 10 w 158"/>
                <a:gd name="T59" fmla="*/ 189 h 189"/>
                <a:gd name="T60" fmla="*/ 19 w 158"/>
                <a:gd name="T61" fmla="*/ 182 h 189"/>
                <a:gd name="T62" fmla="*/ 26 w 158"/>
                <a:gd name="T63" fmla="*/ 178 h 189"/>
                <a:gd name="T64" fmla="*/ 32 w 158"/>
                <a:gd name="T65" fmla="*/ 176 h 189"/>
                <a:gd name="T66" fmla="*/ 46 w 158"/>
                <a:gd name="T67" fmla="*/ 174 h 189"/>
                <a:gd name="T68" fmla="*/ 51 w 158"/>
                <a:gd name="T69" fmla="*/ 174 h 189"/>
                <a:gd name="T70" fmla="*/ 62 w 158"/>
                <a:gd name="T71" fmla="*/ 174 h 189"/>
                <a:gd name="T72" fmla="*/ 65 w 158"/>
                <a:gd name="T73" fmla="*/ 171 h 189"/>
                <a:gd name="T74" fmla="*/ 64 w 158"/>
                <a:gd name="T75" fmla="*/ 164 h 189"/>
                <a:gd name="T76" fmla="*/ 67 w 158"/>
                <a:gd name="T77" fmla="*/ 156 h 189"/>
                <a:gd name="T78" fmla="*/ 72 w 158"/>
                <a:gd name="T79" fmla="*/ 147 h 189"/>
                <a:gd name="T80" fmla="*/ 84 w 158"/>
                <a:gd name="T81" fmla="*/ 141 h 189"/>
                <a:gd name="T82" fmla="*/ 91 w 158"/>
                <a:gd name="T83" fmla="*/ 138 h 189"/>
                <a:gd name="T84" fmla="*/ 102 w 158"/>
                <a:gd name="T85" fmla="*/ 135 h 189"/>
                <a:gd name="T86" fmla="*/ 111 w 158"/>
                <a:gd name="T87" fmla="*/ 135 h 189"/>
                <a:gd name="T88" fmla="*/ 117 w 158"/>
                <a:gd name="T89" fmla="*/ 134 h 189"/>
                <a:gd name="T90" fmla="*/ 123 w 158"/>
                <a:gd name="T91" fmla="*/ 139 h 189"/>
                <a:gd name="T92" fmla="*/ 128 w 158"/>
                <a:gd name="T93" fmla="*/ 133 h 189"/>
                <a:gd name="T94" fmla="*/ 134 w 158"/>
                <a:gd name="T95" fmla="*/ 121 h 189"/>
                <a:gd name="T96" fmla="*/ 137 w 158"/>
                <a:gd name="T97" fmla="*/ 117 h 189"/>
                <a:gd name="T98" fmla="*/ 141 w 158"/>
                <a:gd name="T99" fmla="*/ 110 h 189"/>
                <a:gd name="T100" fmla="*/ 150 w 158"/>
                <a:gd name="T101" fmla="*/ 101 h 189"/>
                <a:gd name="T102" fmla="*/ 154 w 158"/>
                <a:gd name="T103" fmla="*/ 9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8" h="189">
                  <a:moveTo>
                    <a:pt x="157" y="81"/>
                  </a:moveTo>
                  <a:cubicBezTo>
                    <a:pt x="157" y="80"/>
                    <a:pt x="156" y="78"/>
                    <a:pt x="155" y="77"/>
                  </a:cubicBezTo>
                  <a:cubicBezTo>
                    <a:pt x="155" y="75"/>
                    <a:pt x="154" y="73"/>
                    <a:pt x="154" y="72"/>
                  </a:cubicBezTo>
                  <a:cubicBezTo>
                    <a:pt x="153" y="70"/>
                    <a:pt x="154" y="67"/>
                    <a:pt x="154" y="65"/>
                  </a:cubicBezTo>
                  <a:cubicBezTo>
                    <a:pt x="155" y="62"/>
                    <a:pt x="155" y="59"/>
                    <a:pt x="154" y="57"/>
                  </a:cubicBezTo>
                  <a:cubicBezTo>
                    <a:pt x="154" y="56"/>
                    <a:pt x="153" y="55"/>
                    <a:pt x="153" y="55"/>
                  </a:cubicBezTo>
                  <a:cubicBezTo>
                    <a:pt x="152" y="54"/>
                    <a:pt x="152" y="54"/>
                    <a:pt x="151" y="53"/>
                  </a:cubicBezTo>
                  <a:cubicBezTo>
                    <a:pt x="150" y="52"/>
                    <a:pt x="150" y="52"/>
                    <a:pt x="150" y="52"/>
                  </a:cubicBezTo>
                  <a:cubicBezTo>
                    <a:pt x="150" y="50"/>
                    <a:pt x="149" y="49"/>
                    <a:pt x="147" y="47"/>
                  </a:cubicBezTo>
                  <a:cubicBezTo>
                    <a:pt x="145" y="45"/>
                    <a:pt x="145" y="45"/>
                    <a:pt x="145" y="42"/>
                  </a:cubicBezTo>
                  <a:cubicBezTo>
                    <a:pt x="145" y="41"/>
                    <a:pt x="145" y="41"/>
                    <a:pt x="145" y="41"/>
                  </a:cubicBezTo>
                  <a:cubicBezTo>
                    <a:pt x="145" y="40"/>
                    <a:pt x="145" y="39"/>
                    <a:pt x="144" y="38"/>
                  </a:cubicBezTo>
                  <a:cubicBezTo>
                    <a:pt x="144" y="37"/>
                    <a:pt x="144" y="37"/>
                    <a:pt x="144" y="37"/>
                  </a:cubicBezTo>
                  <a:cubicBezTo>
                    <a:pt x="143" y="37"/>
                    <a:pt x="143" y="37"/>
                    <a:pt x="143" y="37"/>
                  </a:cubicBezTo>
                  <a:cubicBezTo>
                    <a:pt x="142" y="37"/>
                    <a:pt x="142" y="37"/>
                    <a:pt x="141" y="37"/>
                  </a:cubicBezTo>
                  <a:cubicBezTo>
                    <a:pt x="140" y="36"/>
                    <a:pt x="140" y="34"/>
                    <a:pt x="140" y="32"/>
                  </a:cubicBezTo>
                  <a:cubicBezTo>
                    <a:pt x="140" y="30"/>
                    <a:pt x="140" y="30"/>
                    <a:pt x="140" y="30"/>
                  </a:cubicBezTo>
                  <a:cubicBezTo>
                    <a:pt x="140" y="30"/>
                    <a:pt x="140" y="30"/>
                    <a:pt x="140" y="29"/>
                  </a:cubicBezTo>
                  <a:cubicBezTo>
                    <a:pt x="140" y="28"/>
                    <a:pt x="140" y="28"/>
                    <a:pt x="140" y="27"/>
                  </a:cubicBezTo>
                  <a:cubicBezTo>
                    <a:pt x="140" y="26"/>
                    <a:pt x="140" y="26"/>
                    <a:pt x="140" y="25"/>
                  </a:cubicBezTo>
                  <a:cubicBezTo>
                    <a:pt x="141" y="25"/>
                    <a:pt x="141" y="24"/>
                    <a:pt x="141" y="23"/>
                  </a:cubicBezTo>
                  <a:cubicBezTo>
                    <a:pt x="141" y="20"/>
                    <a:pt x="140" y="19"/>
                    <a:pt x="137" y="19"/>
                  </a:cubicBezTo>
                  <a:cubicBezTo>
                    <a:pt x="137" y="18"/>
                    <a:pt x="136" y="18"/>
                    <a:pt x="136" y="18"/>
                  </a:cubicBezTo>
                  <a:cubicBezTo>
                    <a:pt x="135" y="18"/>
                    <a:pt x="135" y="18"/>
                    <a:pt x="134" y="18"/>
                  </a:cubicBezTo>
                  <a:cubicBezTo>
                    <a:pt x="134" y="17"/>
                    <a:pt x="133" y="17"/>
                    <a:pt x="132" y="16"/>
                  </a:cubicBezTo>
                  <a:cubicBezTo>
                    <a:pt x="132" y="15"/>
                    <a:pt x="132" y="15"/>
                    <a:pt x="132" y="15"/>
                  </a:cubicBezTo>
                  <a:cubicBezTo>
                    <a:pt x="130" y="13"/>
                    <a:pt x="130" y="10"/>
                    <a:pt x="130" y="8"/>
                  </a:cubicBezTo>
                  <a:cubicBezTo>
                    <a:pt x="130" y="6"/>
                    <a:pt x="129" y="5"/>
                    <a:pt x="129" y="3"/>
                  </a:cubicBezTo>
                  <a:cubicBezTo>
                    <a:pt x="128" y="0"/>
                    <a:pt x="128" y="0"/>
                    <a:pt x="128" y="0"/>
                  </a:cubicBezTo>
                  <a:cubicBezTo>
                    <a:pt x="113" y="16"/>
                    <a:pt x="113" y="16"/>
                    <a:pt x="113" y="16"/>
                  </a:cubicBezTo>
                  <a:cubicBezTo>
                    <a:pt x="112" y="16"/>
                    <a:pt x="110" y="17"/>
                    <a:pt x="108" y="17"/>
                  </a:cubicBezTo>
                  <a:cubicBezTo>
                    <a:pt x="106" y="17"/>
                    <a:pt x="104" y="16"/>
                    <a:pt x="103" y="16"/>
                  </a:cubicBezTo>
                  <a:cubicBezTo>
                    <a:pt x="102" y="15"/>
                    <a:pt x="102" y="15"/>
                    <a:pt x="102" y="15"/>
                  </a:cubicBezTo>
                  <a:cubicBezTo>
                    <a:pt x="100" y="14"/>
                    <a:pt x="99" y="14"/>
                    <a:pt x="98" y="14"/>
                  </a:cubicBezTo>
                  <a:cubicBezTo>
                    <a:pt x="96" y="14"/>
                    <a:pt x="95" y="14"/>
                    <a:pt x="94" y="15"/>
                  </a:cubicBezTo>
                  <a:cubicBezTo>
                    <a:pt x="91" y="16"/>
                    <a:pt x="89" y="17"/>
                    <a:pt x="85" y="17"/>
                  </a:cubicBezTo>
                  <a:cubicBezTo>
                    <a:pt x="82" y="18"/>
                    <a:pt x="79" y="18"/>
                    <a:pt x="77" y="20"/>
                  </a:cubicBezTo>
                  <a:cubicBezTo>
                    <a:pt x="76" y="20"/>
                    <a:pt x="76" y="21"/>
                    <a:pt x="76" y="21"/>
                  </a:cubicBezTo>
                  <a:cubicBezTo>
                    <a:pt x="75" y="22"/>
                    <a:pt x="75" y="22"/>
                    <a:pt x="74" y="23"/>
                  </a:cubicBezTo>
                  <a:cubicBezTo>
                    <a:pt x="73" y="23"/>
                    <a:pt x="73" y="23"/>
                    <a:pt x="73" y="23"/>
                  </a:cubicBezTo>
                  <a:cubicBezTo>
                    <a:pt x="72" y="23"/>
                    <a:pt x="72" y="23"/>
                    <a:pt x="71" y="23"/>
                  </a:cubicBezTo>
                  <a:cubicBezTo>
                    <a:pt x="70" y="23"/>
                    <a:pt x="70" y="23"/>
                    <a:pt x="70" y="23"/>
                  </a:cubicBezTo>
                  <a:cubicBezTo>
                    <a:pt x="69" y="23"/>
                    <a:pt x="69" y="23"/>
                    <a:pt x="68" y="22"/>
                  </a:cubicBezTo>
                  <a:cubicBezTo>
                    <a:pt x="68" y="21"/>
                    <a:pt x="68" y="21"/>
                    <a:pt x="68" y="21"/>
                  </a:cubicBezTo>
                  <a:cubicBezTo>
                    <a:pt x="67" y="21"/>
                    <a:pt x="67" y="20"/>
                    <a:pt x="67" y="20"/>
                  </a:cubicBezTo>
                  <a:cubicBezTo>
                    <a:pt x="67" y="19"/>
                    <a:pt x="66" y="18"/>
                    <a:pt x="66" y="17"/>
                  </a:cubicBezTo>
                  <a:cubicBezTo>
                    <a:pt x="66" y="17"/>
                    <a:pt x="65" y="16"/>
                    <a:pt x="63" y="16"/>
                  </a:cubicBezTo>
                  <a:cubicBezTo>
                    <a:pt x="62" y="16"/>
                    <a:pt x="61" y="17"/>
                    <a:pt x="59" y="18"/>
                  </a:cubicBezTo>
                  <a:cubicBezTo>
                    <a:pt x="57" y="19"/>
                    <a:pt x="56" y="20"/>
                    <a:pt x="55" y="20"/>
                  </a:cubicBezTo>
                  <a:cubicBezTo>
                    <a:pt x="54" y="20"/>
                    <a:pt x="53" y="19"/>
                    <a:pt x="51" y="18"/>
                  </a:cubicBezTo>
                  <a:cubicBezTo>
                    <a:pt x="50" y="17"/>
                    <a:pt x="48" y="16"/>
                    <a:pt x="46" y="16"/>
                  </a:cubicBezTo>
                  <a:cubicBezTo>
                    <a:pt x="45" y="16"/>
                    <a:pt x="44" y="16"/>
                    <a:pt x="43" y="17"/>
                  </a:cubicBezTo>
                  <a:cubicBezTo>
                    <a:pt x="41" y="18"/>
                    <a:pt x="40" y="19"/>
                    <a:pt x="39" y="20"/>
                  </a:cubicBezTo>
                  <a:cubicBezTo>
                    <a:pt x="39" y="20"/>
                    <a:pt x="39" y="20"/>
                    <a:pt x="38" y="21"/>
                  </a:cubicBezTo>
                  <a:cubicBezTo>
                    <a:pt x="37" y="22"/>
                    <a:pt x="37" y="22"/>
                    <a:pt x="37" y="22"/>
                  </a:cubicBezTo>
                  <a:cubicBezTo>
                    <a:pt x="38" y="23"/>
                    <a:pt x="38" y="23"/>
                    <a:pt x="38" y="23"/>
                  </a:cubicBezTo>
                  <a:cubicBezTo>
                    <a:pt x="39" y="26"/>
                    <a:pt x="37" y="30"/>
                    <a:pt x="35" y="34"/>
                  </a:cubicBezTo>
                  <a:cubicBezTo>
                    <a:pt x="33" y="38"/>
                    <a:pt x="32" y="40"/>
                    <a:pt x="33" y="42"/>
                  </a:cubicBezTo>
                  <a:cubicBezTo>
                    <a:pt x="33" y="42"/>
                    <a:pt x="34" y="43"/>
                    <a:pt x="34" y="43"/>
                  </a:cubicBezTo>
                  <a:cubicBezTo>
                    <a:pt x="35" y="44"/>
                    <a:pt x="35" y="44"/>
                    <a:pt x="36" y="45"/>
                  </a:cubicBezTo>
                  <a:cubicBezTo>
                    <a:pt x="36" y="47"/>
                    <a:pt x="36" y="48"/>
                    <a:pt x="35" y="49"/>
                  </a:cubicBezTo>
                  <a:cubicBezTo>
                    <a:pt x="35" y="50"/>
                    <a:pt x="35" y="50"/>
                    <a:pt x="35" y="50"/>
                  </a:cubicBezTo>
                  <a:cubicBezTo>
                    <a:pt x="35" y="50"/>
                    <a:pt x="34" y="51"/>
                    <a:pt x="34" y="52"/>
                  </a:cubicBezTo>
                  <a:cubicBezTo>
                    <a:pt x="33" y="54"/>
                    <a:pt x="32" y="57"/>
                    <a:pt x="32" y="59"/>
                  </a:cubicBezTo>
                  <a:cubicBezTo>
                    <a:pt x="32" y="60"/>
                    <a:pt x="32" y="60"/>
                    <a:pt x="32" y="60"/>
                  </a:cubicBezTo>
                  <a:cubicBezTo>
                    <a:pt x="33" y="61"/>
                    <a:pt x="33" y="61"/>
                    <a:pt x="33" y="61"/>
                  </a:cubicBezTo>
                  <a:cubicBezTo>
                    <a:pt x="34" y="61"/>
                    <a:pt x="35" y="62"/>
                    <a:pt x="37" y="62"/>
                  </a:cubicBezTo>
                  <a:cubicBezTo>
                    <a:pt x="37" y="62"/>
                    <a:pt x="37" y="62"/>
                    <a:pt x="37" y="62"/>
                  </a:cubicBezTo>
                  <a:cubicBezTo>
                    <a:pt x="42" y="64"/>
                    <a:pt x="47" y="66"/>
                    <a:pt x="48" y="70"/>
                  </a:cubicBezTo>
                  <a:cubicBezTo>
                    <a:pt x="48" y="72"/>
                    <a:pt x="47" y="74"/>
                    <a:pt x="45" y="76"/>
                  </a:cubicBezTo>
                  <a:cubicBezTo>
                    <a:pt x="41" y="80"/>
                    <a:pt x="38" y="84"/>
                    <a:pt x="35" y="89"/>
                  </a:cubicBezTo>
                  <a:cubicBezTo>
                    <a:pt x="32" y="92"/>
                    <a:pt x="30" y="96"/>
                    <a:pt x="27" y="99"/>
                  </a:cubicBezTo>
                  <a:cubicBezTo>
                    <a:pt x="25" y="101"/>
                    <a:pt x="24" y="101"/>
                    <a:pt x="23" y="101"/>
                  </a:cubicBezTo>
                  <a:cubicBezTo>
                    <a:pt x="22" y="102"/>
                    <a:pt x="21" y="102"/>
                    <a:pt x="20" y="102"/>
                  </a:cubicBezTo>
                  <a:cubicBezTo>
                    <a:pt x="18" y="103"/>
                    <a:pt x="18" y="104"/>
                    <a:pt x="18" y="106"/>
                  </a:cubicBezTo>
                  <a:cubicBezTo>
                    <a:pt x="18" y="107"/>
                    <a:pt x="18" y="107"/>
                    <a:pt x="18" y="108"/>
                  </a:cubicBezTo>
                  <a:cubicBezTo>
                    <a:pt x="17" y="111"/>
                    <a:pt x="15" y="111"/>
                    <a:pt x="13" y="112"/>
                  </a:cubicBezTo>
                  <a:cubicBezTo>
                    <a:pt x="11" y="113"/>
                    <a:pt x="9" y="114"/>
                    <a:pt x="9" y="117"/>
                  </a:cubicBezTo>
                  <a:cubicBezTo>
                    <a:pt x="9" y="119"/>
                    <a:pt x="9" y="121"/>
                    <a:pt x="9" y="123"/>
                  </a:cubicBezTo>
                  <a:cubicBezTo>
                    <a:pt x="9" y="126"/>
                    <a:pt x="9" y="129"/>
                    <a:pt x="7" y="132"/>
                  </a:cubicBezTo>
                  <a:cubicBezTo>
                    <a:pt x="5" y="138"/>
                    <a:pt x="4" y="143"/>
                    <a:pt x="3" y="149"/>
                  </a:cubicBezTo>
                  <a:cubicBezTo>
                    <a:pt x="1" y="155"/>
                    <a:pt x="1" y="162"/>
                    <a:pt x="0" y="171"/>
                  </a:cubicBezTo>
                  <a:cubicBezTo>
                    <a:pt x="0" y="174"/>
                    <a:pt x="0" y="174"/>
                    <a:pt x="0" y="174"/>
                  </a:cubicBezTo>
                  <a:cubicBezTo>
                    <a:pt x="0" y="176"/>
                    <a:pt x="0" y="179"/>
                    <a:pt x="0" y="182"/>
                  </a:cubicBezTo>
                  <a:cubicBezTo>
                    <a:pt x="0" y="186"/>
                    <a:pt x="0" y="186"/>
                    <a:pt x="0" y="186"/>
                  </a:cubicBezTo>
                  <a:cubicBezTo>
                    <a:pt x="3" y="185"/>
                    <a:pt x="3" y="185"/>
                    <a:pt x="3" y="185"/>
                  </a:cubicBezTo>
                  <a:cubicBezTo>
                    <a:pt x="4" y="185"/>
                    <a:pt x="5" y="185"/>
                    <a:pt x="5" y="184"/>
                  </a:cubicBezTo>
                  <a:cubicBezTo>
                    <a:pt x="7" y="184"/>
                    <a:pt x="7" y="185"/>
                    <a:pt x="7" y="186"/>
                  </a:cubicBezTo>
                  <a:cubicBezTo>
                    <a:pt x="7" y="187"/>
                    <a:pt x="8" y="187"/>
                    <a:pt x="8" y="188"/>
                  </a:cubicBezTo>
                  <a:cubicBezTo>
                    <a:pt x="9" y="189"/>
                    <a:pt x="10" y="189"/>
                    <a:pt x="10" y="189"/>
                  </a:cubicBezTo>
                  <a:cubicBezTo>
                    <a:pt x="11" y="189"/>
                    <a:pt x="11" y="189"/>
                    <a:pt x="11" y="189"/>
                  </a:cubicBezTo>
                  <a:cubicBezTo>
                    <a:pt x="13" y="189"/>
                    <a:pt x="15" y="188"/>
                    <a:pt x="17" y="185"/>
                  </a:cubicBezTo>
                  <a:cubicBezTo>
                    <a:pt x="18" y="184"/>
                    <a:pt x="18" y="183"/>
                    <a:pt x="19" y="182"/>
                  </a:cubicBezTo>
                  <a:cubicBezTo>
                    <a:pt x="20" y="180"/>
                    <a:pt x="21" y="179"/>
                    <a:pt x="23" y="178"/>
                  </a:cubicBezTo>
                  <a:cubicBezTo>
                    <a:pt x="24" y="178"/>
                    <a:pt x="24" y="178"/>
                    <a:pt x="25" y="178"/>
                  </a:cubicBezTo>
                  <a:cubicBezTo>
                    <a:pt x="25" y="178"/>
                    <a:pt x="26" y="178"/>
                    <a:pt x="26" y="178"/>
                  </a:cubicBezTo>
                  <a:cubicBezTo>
                    <a:pt x="26" y="178"/>
                    <a:pt x="27" y="178"/>
                    <a:pt x="27" y="178"/>
                  </a:cubicBezTo>
                  <a:cubicBezTo>
                    <a:pt x="27" y="178"/>
                    <a:pt x="28" y="178"/>
                    <a:pt x="29" y="177"/>
                  </a:cubicBezTo>
                  <a:cubicBezTo>
                    <a:pt x="30" y="177"/>
                    <a:pt x="31" y="176"/>
                    <a:pt x="32" y="176"/>
                  </a:cubicBezTo>
                  <a:cubicBezTo>
                    <a:pt x="33" y="175"/>
                    <a:pt x="34" y="175"/>
                    <a:pt x="36" y="175"/>
                  </a:cubicBezTo>
                  <a:cubicBezTo>
                    <a:pt x="36" y="175"/>
                    <a:pt x="37" y="175"/>
                    <a:pt x="37" y="175"/>
                  </a:cubicBezTo>
                  <a:cubicBezTo>
                    <a:pt x="40" y="175"/>
                    <a:pt x="43" y="175"/>
                    <a:pt x="46" y="174"/>
                  </a:cubicBezTo>
                  <a:cubicBezTo>
                    <a:pt x="46" y="174"/>
                    <a:pt x="46" y="174"/>
                    <a:pt x="46" y="174"/>
                  </a:cubicBezTo>
                  <a:cubicBezTo>
                    <a:pt x="47" y="174"/>
                    <a:pt x="49" y="174"/>
                    <a:pt x="50" y="174"/>
                  </a:cubicBezTo>
                  <a:cubicBezTo>
                    <a:pt x="51" y="174"/>
                    <a:pt x="51" y="174"/>
                    <a:pt x="51" y="174"/>
                  </a:cubicBezTo>
                  <a:cubicBezTo>
                    <a:pt x="53" y="174"/>
                    <a:pt x="55" y="174"/>
                    <a:pt x="57" y="174"/>
                  </a:cubicBezTo>
                  <a:cubicBezTo>
                    <a:pt x="58" y="174"/>
                    <a:pt x="59" y="174"/>
                    <a:pt x="60" y="174"/>
                  </a:cubicBezTo>
                  <a:cubicBezTo>
                    <a:pt x="61" y="174"/>
                    <a:pt x="61" y="174"/>
                    <a:pt x="62" y="174"/>
                  </a:cubicBezTo>
                  <a:cubicBezTo>
                    <a:pt x="62" y="174"/>
                    <a:pt x="63" y="174"/>
                    <a:pt x="63" y="174"/>
                  </a:cubicBezTo>
                  <a:cubicBezTo>
                    <a:pt x="67" y="175"/>
                    <a:pt x="67" y="175"/>
                    <a:pt x="67" y="175"/>
                  </a:cubicBezTo>
                  <a:cubicBezTo>
                    <a:pt x="65" y="171"/>
                    <a:pt x="65" y="171"/>
                    <a:pt x="65" y="171"/>
                  </a:cubicBezTo>
                  <a:cubicBezTo>
                    <a:pt x="64" y="170"/>
                    <a:pt x="64" y="170"/>
                    <a:pt x="64" y="170"/>
                  </a:cubicBezTo>
                  <a:cubicBezTo>
                    <a:pt x="64" y="169"/>
                    <a:pt x="64" y="168"/>
                    <a:pt x="64" y="166"/>
                  </a:cubicBezTo>
                  <a:cubicBezTo>
                    <a:pt x="64" y="164"/>
                    <a:pt x="64" y="164"/>
                    <a:pt x="64" y="164"/>
                  </a:cubicBezTo>
                  <a:cubicBezTo>
                    <a:pt x="64" y="162"/>
                    <a:pt x="64" y="162"/>
                    <a:pt x="65" y="160"/>
                  </a:cubicBezTo>
                  <a:cubicBezTo>
                    <a:pt x="65" y="160"/>
                    <a:pt x="65" y="159"/>
                    <a:pt x="66" y="159"/>
                  </a:cubicBezTo>
                  <a:cubicBezTo>
                    <a:pt x="66" y="158"/>
                    <a:pt x="67" y="157"/>
                    <a:pt x="67" y="156"/>
                  </a:cubicBezTo>
                  <a:cubicBezTo>
                    <a:pt x="67" y="156"/>
                    <a:pt x="68" y="156"/>
                    <a:pt x="68" y="156"/>
                  </a:cubicBezTo>
                  <a:cubicBezTo>
                    <a:pt x="69" y="155"/>
                    <a:pt x="70" y="155"/>
                    <a:pt x="71" y="153"/>
                  </a:cubicBezTo>
                  <a:cubicBezTo>
                    <a:pt x="73" y="151"/>
                    <a:pt x="72" y="149"/>
                    <a:pt x="72" y="147"/>
                  </a:cubicBezTo>
                  <a:cubicBezTo>
                    <a:pt x="72" y="145"/>
                    <a:pt x="72" y="144"/>
                    <a:pt x="73" y="144"/>
                  </a:cubicBezTo>
                  <a:cubicBezTo>
                    <a:pt x="74" y="143"/>
                    <a:pt x="75" y="143"/>
                    <a:pt x="77" y="143"/>
                  </a:cubicBezTo>
                  <a:cubicBezTo>
                    <a:pt x="79" y="142"/>
                    <a:pt x="82" y="142"/>
                    <a:pt x="84" y="141"/>
                  </a:cubicBezTo>
                  <a:cubicBezTo>
                    <a:pt x="85" y="140"/>
                    <a:pt x="85" y="140"/>
                    <a:pt x="86" y="139"/>
                  </a:cubicBezTo>
                  <a:cubicBezTo>
                    <a:pt x="87" y="138"/>
                    <a:pt x="88" y="138"/>
                    <a:pt x="89" y="138"/>
                  </a:cubicBezTo>
                  <a:cubicBezTo>
                    <a:pt x="89" y="138"/>
                    <a:pt x="90" y="138"/>
                    <a:pt x="91" y="138"/>
                  </a:cubicBezTo>
                  <a:cubicBezTo>
                    <a:pt x="91" y="138"/>
                    <a:pt x="92" y="138"/>
                    <a:pt x="92" y="138"/>
                  </a:cubicBezTo>
                  <a:cubicBezTo>
                    <a:pt x="94" y="139"/>
                    <a:pt x="95" y="139"/>
                    <a:pt x="96" y="139"/>
                  </a:cubicBezTo>
                  <a:cubicBezTo>
                    <a:pt x="98" y="139"/>
                    <a:pt x="100" y="138"/>
                    <a:pt x="102" y="135"/>
                  </a:cubicBezTo>
                  <a:cubicBezTo>
                    <a:pt x="102" y="135"/>
                    <a:pt x="102" y="135"/>
                    <a:pt x="102" y="135"/>
                  </a:cubicBezTo>
                  <a:cubicBezTo>
                    <a:pt x="103" y="133"/>
                    <a:pt x="105" y="131"/>
                    <a:pt x="106" y="130"/>
                  </a:cubicBezTo>
                  <a:cubicBezTo>
                    <a:pt x="108" y="132"/>
                    <a:pt x="110" y="134"/>
                    <a:pt x="111" y="135"/>
                  </a:cubicBezTo>
                  <a:cubicBezTo>
                    <a:pt x="112" y="135"/>
                    <a:pt x="113" y="136"/>
                    <a:pt x="114" y="136"/>
                  </a:cubicBezTo>
                  <a:cubicBezTo>
                    <a:pt x="115" y="136"/>
                    <a:pt x="116" y="135"/>
                    <a:pt x="117" y="134"/>
                  </a:cubicBezTo>
                  <a:cubicBezTo>
                    <a:pt x="117" y="134"/>
                    <a:pt x="117" y="134"/>
                    <a:pt x="117" y="134"/>
                  </a:cubicBezTo>
                  <a:cubicBezTo>
                    <a:pt x="118" y="135"/>
                    <a:pt x="119" y="136"/>
                    <a:pt x="120" y="136"/>
                  </a:cubicBezTo>
                  <a:cubicBezTo>
                    <a:pt x="120" y="136"/>
                    <a:pt x="120" y="137"/>
                    <a:pt x="121" y="137"/>
                  </a:cubicBezTo>
                  <a:cubicBezTo>
                    <a:pt x="121" y="138"/>
                    <a:pt x="122" y="138"/>
                    <a:pt x="123" y="139"/>
                  </a:cubicBezTo>
                  <a:cubicBezTo>
                    <a:pt x="125" y="142"/>
                    <a:pt x="125" y="142"/>
                    <a:pt x="125" y="142"/>
                  </a:cubicBezTo>
                  <a:cubicBezTo>
                    <a:pt x="126" y="139"/>
                    <a:pt x="126" y="139"/>
                    <a:pt x="126" y="139"/>
                  </a:cubicBezTo>
                  <a:cubicBezTo>
                    <a:pt x="127" y="138"/>
                    <a:pt x="128" y="135"/>
                    <a:pt x="128" y="133"/>
                  </a:cubicBezTo>
                  <a:cubicBezTo>
                    <a:pt x="132" y="131"/>
                    <a:pt x="132" y="127"/>
                    <a:pt x="132" y="123"/>
                  </a:cubicBezTo>
                  <a:cubicBezTo>
                    <a:pt x="132" y="122"/>
                    <a:pt x="132" y="122"/>
                    <a:pt x="132" y="121"/>
                  </a:cubicBezTo>
                  <a:cubicBezTo>
                    <a:pt x="133" y="121"/>
                    <a:pt x="134" y="121"/>
                    <a:pt x="134" y="121"/>
                  </a:cubicBezTo>
                  <a:cubicBezTo>
                    <a:pt x="135" y="121"/>
                    <a:pt x="136" y="121"/>
                    <a:pt x="136" y="120"/>
                  </a:cubicBezTo>
                  <a:cubicBezTo>
                    <a:pt x="142" y="118"/>
                    <a:pt x="142" y="118"/>
                    <a:pt x="142" y="118"/>
                  </a:cubicBezTo>
                  <a:cubicBezTo>
                    <a:pt x="137" y="117"/>
                    <a:pt x="137" y="117"/>
                    <a:pt x="137" y="117"/>
                  </a:cubicBezTo>
                  <a:cubicBezTo>
                    <a:pt x="137" y="117"/>
                    <a:pt x="137" y="116"/>
                    <a:pt x="138" y="116"/>
                  </a:cubicBezTo>
                  <a:cubicBezTo>
                    <a:pt x="138" y="115"/>
                    <a:pt x="139" y="114"/>
                    <a:pt x="139" y="114"/>
                  </a:cubicBezTo>
                  <a:cubicBezTo>
                    <a:pt x="140" y="113"/>
                    <a:pt x="141" y="112"/>
                    <a:pt x="141" y="110"/>
                  </a:cubicBezTo>
                  <a:cubicBezTo>
                    <a:pt x="142" y="107"/>
                    <a:pt x="142" y="107"/>
                    <a:pt x="145" y="105"/>
                  </a:cubicBezTo>
                  <a:cubicBezTo>
                    <a:pt x="145" y="104"/>
                    <a:pt x="146" y="104"/>
                    <a:pt x="146" y="104"/>
                  </a:cubicBezTo>
                  <a:cubicBezTo>
                    <a:pt x="147" y="102"/>
                    <a:pt x="148" y="101"/>
                    <a:pt x="150" y="101"/>
                  </a:cubicBezTo>
                  <a:cubicBezTo>
                    <a:pt x="151" y="100"/>
                    <a:pt x="151" y="100"/>
                    <a:pt x="151" y="100"/>
                  </a:cubicBezTo>
                  <a:cubicBezTo>
                    <a:pt x="151" y="98"/>
                    <a:pt x="151" y="98"/>
                    <a:pt x="151" y="98"/>
                  </a:cubicBezTo>
                  <a:cubicBezTo>
                    <a:pt x="152" y="96"/>
                    <a:pt x="152" y="94"/>
                    <a:pt x="154" y="91"/>
                  </a:cubicBezTo>
                  <a:cubicBezTo>
                    <a:pt x="155" y="89"/>
                    <a:pt x="158" y="85"/>
                    <a:pt x="157" y="81"/>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47" name="Freeform 44">
              <a:extLst>
                <a:ext uri="{FF2B5EF4-FFF2-40B4-BE49-F238E27FC236}">
                  <a16:creationId xmlns:a16="http://schemas.microsoft.com/office/drawing/2014/main" id="{BF97C454-4455-4E77-9F3E-97A9BF477E3B}"/>
                </a:ext>
              </a:extLst>
            </p:cNvPr>
            <p:cNvSpPr>
              <a:spLocks/>
            </p:cNvSpPr>
            <p:nvPr/>
          </p:nvSpPr>
          <p:spPr bwMode="auto">
            <a:xfrm>
              <a:off x="4095903" y="1415230"/>
              <a:ext cx="396188" cy="352381"/>
            </a:xfrm>
            <a:custGeom>
              <a:avLst/>
              <a:gdLst>
                <a:gd name="T0" fmla="*/ 191 w 196"/>
                <a:gd name="T1" fmla="*/ 171 h 189"/>
                <a:gd name="T2" fmla="*/ 188 w 196"/>
                <a:gd name="T3" fmla="*/ 171 h 189"/>
                <a:gd name="T4" fmla="*/ 175 w 196"/>
                <a:gd name="T5" fmla="*/ 157 h 189"/>
                <a:gd name="T6" fmla="*/ 168 w 196"/>
                <a:gd name="T7" fmla="*/ 145 h 189"/>
                <a:gd name="T8" fmla="*/ 158 w 196"/>
                <a:gd name="T9" fmla="*/ 136 h 189"/>
                <a:gd name="T10" fmla="*/ 152 w 196"/>
                <a:gd name="T11" fmla="*/ 131 h 189"/>
                <a:gd name="T12" fmla="*/ 144 w 196"/>
                <a:gd name="T13" fmla="*/ 121 h 189"/>
                <a:gd name="T14" fmla="*/ 142 w 196"/>
                <a:gd name="T15" fmla="*/ 116 h 189"/>
                <a:gd name="T16" fmla="*/ 135 w 196"/>
                <a:gd name="T17" fmla="*/ 111 h 189"/>
                <a:gd name="T18" fmla="*/ 124 w 196"/>
                <a:gd name="T19" fmla="*/ 105 h 189"/>
                <a:gd name="T20" fmla="*/ 114 w 196"/>
                <a:gd name="T21" fmla="*/ 100 h 189"/>
                <a:gd name="T22" fmla="*/ 109 w 196"/>
                <a:gd name="T23" fmla="*/ 100 h 189"/>
                <a:gd name="T24" fmla="*/ 106 w 196"/>
                <a:gd name="T25" fmla="*/ 92 h 189"/>
                <a:gd name="T26" fmla="*/ 96 w 196"/>
                <a:gd name="T27" fmla="*/ 83 h 189"/>
                <a:gd name="T28" fmla="*/ 91 w 196"/>
                <a:gd name="T29" fmla="*/ 81 h 189"/>
                <a:gd name="T30" fmla="*/ 87 w 196"/>
                <a:gd name="T31" fmla="*/ 72 h 189"/>
                <a:gd name="T32" fmla="*/ 83 w 196"/>
                <a:gd name="T33" fmla="*/ 71 h 189"/>
                <a:gd name="T34" fmla="*/ 80 w 196"/>
                <a:gd name="T35" fmla="*/ 61 h 189"/>
                <a:gd name="T36" fmla="*/ 78 w 196"/>
                <a:gd name="T37" fmla="*/ 50 h 189"/>
                <a:gd name="T38" fmla="*/ 75 w 196"/>
                <a:gd name="T39" fmla="*/ 37 h 189"/>
                <a:gd name="T40" fmla="*/ 71 w 196"/>
                <a:gd name="T41" fmla="*/ 26 h 189"/>
                <a:gd name="T42" fmla="*/ 62 w 196"/>
                <a:gd name="T43" fmla="*/ 6 h 189"/>
                <a:gd name="T44" fmla="*/ 58 w 196"/>
                <a:gd name="T45" fmla="*/ 2 h 189"/>
                <a:gd name="T46" fmla="*/ 49 w 196"/>
                <a:gd name="T47" fmla="*/ 16 h 189"/>
                <a:gd name="T48" fmla="*/ 34 w 196"/>
                <a:gd name="T49" fmla="*/ 21 h 189"/>
                <a:gd name="T50" fmla="*/ 28 w 196"/>
                <a:gd name="T51" fmla="*/ 25 h 189"/>
                <a:gd name="T52" fmla="*/ 18 w 196"/>
                <a:gd name="T53" fmla="*/ 35 h 189"/>
                <a:gd name="T54" fmla="*/ 14 w 196"/>
                <a:gd name="T55" fmla="*/ 40 h 189"/>
                <a:gd name="T56" fmla="*/ 12 w 196"/>
                <a:gd name="T57" fmla="*/ 46 h 189"/>
                <a:gd name="T58" fmla="*/ 10 w 196"/>
                <a:gd name="T59" fmla="*/ 70 h 189"/>
                <a:gd name="T60" fmla="*/ 3 w 196"/>
                <a:gd name="T61" fmla="*/ 90 h 189"/>
                <a:gd name="T62" fmla="*/ 2 w 196"/>
                <a:gd name="T63" fmla="*/ 123 h 189"/>
                <a:gd name="T64" fmla="*/ 8 w 196"/>
                <a:gd name="T65" fmla="*/ 125 h 189"/>
                <a:gd name="T66" fmla="*/ 19 w 196"/>
                <a:gd name="T67" fmla="*/ 125 h 189"/>
                <a:gd name="T68" fmla="*/ 25 w 196"/>
                <a:gd name="T69" fmla="*/ 119 h 189"/>
                <a:gd name="T70" fmla="*/ 32 w 196"/>
                <a:gd name="T71" fmla="*/ 129 h 189"/>
                <a:gd name="T72" fmla="*/ 38 w 196"/>
                <a:gd name="T73" fmla="*/ 118 h 189"/>
                <a:gd name="T74" fmla="*/ 41 w 196"/>
                <a:gd name="T75" fmla="*/ 108 h 189"/>
                <a:gd name="T76" fmla="*/ 44 w 196"/>
                <a:gd name="T77" fmla="*/ 108 h 189"/>
                <a:gd name="T78" fmla="*/ 51 w 196"/>
                <a:gd name="T79" fmla="*/ 113 h 189"/>
                <a:gd name="T80" fmla="*/ 61 w 196"/>
                <a:gd name="T81" fmla="*/ 120 h 189"/>
                <a:gd name="T82" fmla="*/ 77 w 196"/>
                <a:gd name="T83" fmla="*/ 114 h 189"/>
                <a:gd name="T84" fmla="*/ 81 w 196"/>
                <a:gd name="T85" fmla="*/ 118 h 189"/>
                <a:gd name="T86" fmla="*/ 90 w 196"/>
                <a:gd name="T87" fmla="*/ 117 h 189"/>
                <a:gd name="T88" fmla="*/ 98 w 196"/>
                <a:gd name="T89" fmla="*/ 120 h 189"/>
                <a:gd name="T90" fmla="*/ 114 w 196"/>
                <a:gd name="T91" fmla="*/ 124 h 189"/>
                <a:gd name="T92" fmla="*/ 136 w 196"/>
                <a:gd name="T93" fmla="*/ 139 h 189"/>
                <a:gd name="T94" fmla="*/ 162 w 196"/>
                <a:gd name="T95" fmla="*/ 170 h 189"/>
                <a:gd name="T96" fmla="*/ 168 w 196"/>
                <a:gd name="T97" fmla="*/ 176 h 189"/>
                <a:gd name="T98" fmla="*/ 175 w 196"/>
                <a:gd name="T99" fmla="*/ 186 h 189"/>
                <a:gd name="T100" fmla="*/ 180 w 196"/>
                <a:gd name="T101" fmla="*/ 186 h 189"/>
                <a:gd name="T102" fmla="*/ 188 w 196"/>
                <a:gd name="T103" fmla="*/ 186 h 189"/>
                <a:gd name="T104" fmla="*/ 192 w 196"/>
                <a:gd name="T105" fmla="*/ 178 h 189"/>
                <a:gd name="T106" fmla="*/ 195 w 196"/>
                <a:gd name="T107" fmla="*/ 17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6" h="189">
                  <a:moveTo>
                    <a:pt x="195" y="173"/>
                  </a:moveTo>
                  <a:cubicBezTo>
                    <a:pt x="195" y="173"/>
                    <a:pt x="194" y="171"/>
                    <a:pt x="191" y="171"/>
                  </a:cubicBezTo>
                  <a:cubicBezTo>
                    <a:pt x="191" y="171"/>
                    <a:pt x="191" y="171"/>
                    <a:pt x="191" y="171"/>
                  </a:cubicBezTo>
                  <a:cubicBezTo>
                    <a:pt x="190" y="171"/>
                    <a:pt x="189" y="171"/>
                    <a:pt x="189" y="171"/>
                  </a:cubicBezTo>
                  <a:cubicBezTo>
                    <a:pt x="189" y="171"/>
                    <a:pt x="189" y="171"/>
                    <a:pt x="189" y="171"/>
                  </a:cubicBezTo>
                  <a:cubicBezTo>
                    <a:pt x="189" y="171"/>
                    <a:pt x="189" y="171"/>
                    <a:pt x="188" y="171"/>
                  </a:cubicBezTo>
                  <a:cubicBezTo>
                    <a:pt x="188" y="170"/>
                    <a:pt x="187" y="169"/>
                    <a:pt x="187" y="168"/>
                  </a:cubicBezTo>
                  <a:cubicBezTo>
                    <a:pt x="185" y="165"/>
                    <a:pt x="183" y="162"/>
                    <a:pt x="179" y="161"/>
                  </a:cubicBezTo>
                  <a:cubicBezTo>
                    <a:pt x="177" y="160"/>
                    <a:pt x="176" y="159"/>
                    <a:pt x="175" y="157"/>
                  </a:cubicBezTo>
                  <a:cubicBezTo>
                    <a:pt x="175" y="156"/>
                    <a:pt x="175" y="156"/>
                    <a:pt x="175" y="155"/>
                  </a:cubicBezTo>
                  <a:cubicBezTo>
                    <a:pt x="174" y="152"/>
                    <a:pt x="173" y="148"/>
                    <a:pt x="169" y="146"/>
                  </a:cubicBezTo>
                  <a:cubicBezTo>
                    <a:pt x="168" y="145"/>
                    <a:pt x="168" y="145"/>
                    <a:pt x="168" y="145"/>
                  </a:cubicBezTo>
                  <a:cubicBezTo>
                    <a:pt x="166" y="144"/>
                    <a:pt x="166" y="144"/>
                    <a:pt x="165" y="142"/>
                  </a:cubicBezTo>
                  <a:cubicBezTo>
                    <a:pt x="164" y="141"/>
                    <a:pt x="163" y="139"/>
                    <a:pt x="160" y="137"/>
                  </a:cubicBezTo>
                  <a:cubicBezTo>
                    <a:pt x="159" y="137"/>
                    <a:pt x="159" y="136"/>
                    <a:pt x="158" y="136"/>
                  </a:cubicBezTo>
                  <a:cubicBezTo>
                    <a:pt x="157" y="136"/>
                    <a:pt x="156" y="135"/>
                    <a:pt x="155" y="135"/>
                  </a:cubicBezTo>
                  <a:cubicBezTo>
                    <a:pt x="154" y="134"/>
                    <a:pt x="153" y="133"/>
                    <a:pt x="153" y="132"/>
                  </a:cubicBezTo>
                  <a:cubicBezTo>
                    <a:pt x="152" y="132"/>
                    <a:pt x="152" y="131"/>
                    <a:pt x="152" y="131"/>
                  </a:cubicBezTo>
                  <a:cubicBezTo>
                    <a:pt x="151" y="129"/>
                    <a:pt x="150" y="128"/>
                    <a:pt x="149" y="127"/>
                  </a:cubicBezTo>
                  <a:cubicBezTo>
                    <a:pt x="146" y="124"/>
                    <a:pt x="146" y="124"/>
                    <a:pt x="146" y="124"/>
                  </a:cubicBezTo>
                  <a:cubicBezTo>
                    <a:pt x="145" y="123"/>
                    <a:pt x="144" y="122"/>
                    <a:pt x="144" y="121"/>
                  </a:cubicBezTo>
                  <a:cubicBezTo>
                    <a:pt x="144" y="120"/>
                    <a:pt x="144" y="120"/>
                    <a:pt x="144" y="120"/>
                  </a:cubicBezTo>
                  <a:cubicBezTo>
                    <a:pt x="143" y="119"/>
                    <a:pt x="143" y="119"/>
                    <a:pt x="143" y="118"/>
                  </a:cubicBezTo>
                  <a:cubicBezTo>
                    <a:pt x="143" y="118"/>
                    <a:pt x="142" y="117"/>
                    <a:pt x="142" y="116"/>
                  </a:cubicBezTo>
                  <a:cubicBezTo>
                    <a:pt x="141" y="116"/>
                    <a:pt x="141" y="116"/>
                    <a:pt x="141" y="115"/>
                  </a:cubicBezTo>
                  <a:cubicBezTo>
                    <a:pt x="140" y="115"/>
                    <a:pt x="140" y="115"/>
                    <a:pt x="140" y="115"/>
                  </a:cubicBezTo>
                  <a:cubicBezTo>
                    <a:pt x="139" y="113"/>
                    <a:pt x="138" y="111"/>
                    <a:pt x="135" y="111"/>
                  </a:cubicBezTo>
                  <a:cubicBezTo>
                    <a:pt x="135" y="111"/>
                    <a:pt x="134" y="110"/>
                    <a:pt x="133" y="110"/>
                  </a:cubicBezTo>
                  <a:cubicBezTo>
                    <a:pt x="131" y="110"/>
                    <a:pt x="130" y="110"/>
                    <a:pt x="129" y="110"/>
                  </a:cubicBezTo>
                  <a:cubicBezTo>
                    <a:pt x="127" y="109"/>
                    <a:pt x="126" y="107"/>
                    <a:pt x="124" y="105"/>
                  </a:cubicBezTo>
                  <a:cubicBezTo>
                    <a:pt x="123" y="104"/>
                    <a:pt x="122" y="103"/>
                    <a:pt x="122" y="102"/>
                  </a:cubicBezTo>
                  <a:cubicBezTo>
                    <a:pt x="121" y="101"/>
                    <a:pt x="118" y="99"/>
                    <a:pt x="115" y="99"/>
                  </a:cubicBezTo>
                  <a:cubicBezTo>
                    <a:pt x="115" y="99"/>
                    <a:pt x="114" y="99"/>
                    <a:pt x="114" y="100"/>
                  </a:cubicBezTo>
                  <a:cubicBezTo>
                    <a:pt x="113" y="100"/>
                    <a:pt x="113" y="100"/>
                    <a:pt x="112" y="100"/>
                  </a:cubicBezTo>
                  <a:cubicBezTo>
                    <a:pt x="111" y="100"/>
                    <a:pt x="111" y="101"/>
                    <a:pt x="110" y="101"/>
                  </a:cubicBezTo>
                  <a:cubicBezTo>
                    <a:pt x="110" y="101"/>
                    <a:pt x="110" y="101"/>
                    <a:pt x="109" y="100"/>
                  </a:cubicBezTo>
                  <a:cubicBezTo>
                    <a:pt x="109" y="100"/>
                    <a:pt x="109" y="100"/>
                    <a:pt x="108" y="99"/>
                  </a:cubicBezTo>
                  <a:cubicBezTo>
                    <a:pt x="108" y="98"/>
                    <a:pt x="108" y="97"/>
                    <a:pt x="107" y="97"/>
                  </a:cubicBezTo>
                  <a:cubicBezTo>
                    <a:pt x="106" y="95"/>
                    <a:pt x="106" y="94"/>
                    <a:pt x="106" y="92"/>
                  </a:cubicBezTo>
                  <a:cubicBezTo>
                    <a:pt x="106" y="90"/>
                    <a:pt x="105" y="88"/>
                    <a:pt x="103" y="85"/>
                  </a:cubicBezTo>
                  <a:cubicBezTo>
                    <a:pt x="102" y="84"/>
                    <a:pt x="100" y="83"/>
                    <a:pt x="98" y="83"/>
                  </a:cubicBezTo>
                  <a:cubicBezTo>
                    <a:pt x="97" y="83"/>
                    <a:pt x="96" y="83"/>
                    <a:pt x="96" y="83"/>
                  </a:cubicBezTo>
                  <a:cubicBezTo>
                    <a:pt x="95" y="84"/>
                    <a:pt x="94" y="85"/>
                    <a:pt x="94" y="86"/>
                  </a:cubicBezTo>
                  <a:cubicBezTo>
                    <a:pt x="94" y="85"/>
                    <a:pt x="94" y="85"/>
                    <a:pt x="94" y="85"/>
                  </a:cubicBezTo>
                  <a:cubicBezTo>
                    <a:pt x="93" y="83"/>
                    <a:pt x="92" y="82"/>
                    <a:pt x="91" y="81"/>
                  </a:cubicBezTo>
                  <a:cubicBezTo>
                    <a:pt x="91" y="80"/>
                    <a:pt x="91" y="80"/>
                    <a:pt x="90" y="79"/>
                  </a:cubicBezTo>
                  <a:cubicBezTo>
                    <a:pt x="90" y="79"/>
                    <a:pt x="90" y="78"/>
                    <a:pt x="90" y="77"/>
                  </a:cubicBezTo>
                  <a:cubicBezTo>
                    <a:pt x="89" y="75"/>
                    <a:pt x="89" y="74"/>
                    <a:pt x="87" y="72"/>
                  </a:cubicBezTo>
                  <a:cubicBezTo>
                    <a:pt x="86" y="71"/>
                    <a:pt x="85" y="71"/>
                    <a:pt x="84" y="71"/>
                  </a:cubicBezTo>
                  <a:cubicBezTo>
                    <a:pt x="84" y="71"/>
                    <a:pt x="84" y="71"/>
                    <a:pt x="84" y="71"/>
                  </a:cubicBezTo>
                  <a:cubicBezTo>
                    <a:pt x="83" y="71"/>
                    <a:pt x="83" y="71"/>
                    <a:pt x="83" y="71"/>
                  </a:cubicBezTo>
                  <a:cubicBezTo>
                    <a:pt x="83" y="71"/>
                    <a:pt x="82" y="69"/>
                    <a:pt x="82" y="68"/>
                  </a:cubicBezTo>
                  <a:cubicBezTo>
                    <a:pt x="82" y="67"/>
                    <a:pt x="82" y="66"/>
                    <a:pt x="81" y="65"/>
                  </a:cubicBezTo>
                  <a:cubicBezTo>
                    <a:pt x="81" y="64"/>
                    <a:pt x="81" y="62"/>
                    <a:pt x="80" y="61"/>
                  </a:cubicBezTo>
                  <a:cubicBezTo>
                    <a:pt x="80" y="60"/>
                    <a:pt x="80" y="59"/>
                    <a:pt x="80" y="59"/>
                  </a:cubicBezTo>
                  <a:cubicBezTo>
                    <a:pt x="80" y="57"/>
                    <a:pt x="80" y="56"/>
                    <a:pt x="79" y="55"/>
                  </a:cubicBezTo>
                  <a:cubicBezTo>
                    <a:pt x="79" y="53"/>
                    <a:pt x="79" y="52"/>
                    <a:pt x="78" y="50"/>
                  </a:cubicBezTo>
                  <a:cubicBezTo>
                    <a:pt x="78" y="49"/>
                    <a:pt x="78" y="49"/>
                    <a:pt x="78" y="49"/>
                  </a:cubicBezTo>
                  <a:cubicBezTo>
                    <a:pt x="78" y="45"/>
                    <a:pt x="77" y="42"/>
                    <a:pt x="76" y="38"/>
                  </a:cubicBezTo>
                  <a:cubicBezTo>
                    <a:pt x="76" y="38"/>
                    <a:pt x="76" y="37"/>
                    <a:pt x="75" y="37"/>
                  </a:cubicBezTo>
                  <a:cubicBezTo>
                    <a:pt x="75" y="36"/>
                    <a:pt x="75" y="35"/>
                    <a:pt x="74" y="34"/>
                  </a:cubicBezTo>
                  <a:cubicBezTo>
                    <a:pt x="74" y="32"/>
                    <a:pt x="73" y="30"/>
                    <a:pt x="73" y="29"/>
                  </a:cubicBezTo>
                  <a:cubicBezTo>
                    <a:pt x="72" y="28"/>
                    <a:pt x="72" y="27"/>
                    <a:pt x="71" y="26"/>
                  </a:cubicBezTo>
                  <a:cubicBezTo>
                    <a:pt x="71" y="25"/>
                    <a:pt x="70" y="24"/>
                    <a:pt x="70" y="22"/>
                  </a:cubicBezTo>
                  <a:cubicBezTo>
                    <a:pt x="68" y="18"/>
                    <a:pt x="67" y="13"/>
                    <a:pt x="64" y="9"/>
                  </a:cubicBezTo>
                  <a:cubicBezTo>
                    <a:pt x="64" y="8"/>
                    <a:pt x="63" y="7"/>
                    <a:pt x="62" y="6"/>
                  </a:cubicBezTo>
                  <a:cubicBezTo>
                    <a:pt x="62" y="5"/>
                    <a:pt x="61" y="4"/>
                    <a:pt x="61" y="2"/>
                  </a:cubicBezTo>
                  <a:cubicBezTo>
                    <a:pt x="59" y="0"/>
                    <a:pt x="59" y="0"/>
                    <a:pt x="59" y="0"/>
                  </a:cubicBezTo>
                  <a:cubicBezTo>
                    <a:pt x="58" y="2"/>
                    <a:pt x="58" y="2"/>
                    <a:pt x="58" y="2"/>
                  </a:cubicBezTo>
                  <a:cubicBezTo>
                    <a:pt x="56" y="3"/>
                    <a:pt x="55" y="5"/>
                    <a:pt x="54" y="6"/>
                  </a:cubicBezTo>
                  <a:cubicBezTo>
                    <a:pt x="53" y="8"/>
                    <a:pt x="52" y="9"/>
                    <a:pt x="52" y="11"/>
                  </a:cubicBezTo>
                  <a:cubicBezTo>
                    <a:pt x="52" y="13"/>
                    <a:pt x="51" y="15"/>
                    <a:pt x="49" y="16"/>
                  </a:cubicBezTo>
                  <a:cubicBezTo>
                    <a:pt x="47" y="18"/>
                    <a:pt x="45" y="18"/>
                    <a:pt x="43" y="18"/>
                  </a:cubicBezTo>
                  <a:cubicBezTo>
                    <a:pt x="41" y="18"/>
                    <a:pt x="40" y="18"/>
                    <a:pt x="38" y="19"/>
                  </a:cubicBezTo>
                  <a:cubicBezTo>
                    <a:pt x="37" y="19"/>
                    <a:pt x="36" y="20"/>
                    <a:pt x="34" y="21"/>
                  </a:cubicBezTo>
                  <a:cubicBezTo>
                    <a:pt x="33" y="23"/>
                    <a:pt x="31" y="24"/>
                    <a:pt x="29" y="24"/>
                  </a:cubicBezTo>
                  <a:cubicBezTo>
                    <a:pt x="28" y="24"/>
                    <a:pt x="28" y="24"/>
                    <a:pt x="28" y="24"/>
                  </a:cubicBezTo>
                  <a:cubicBezTo>
                    <a:pt x="28" y="25"/>
                    <a:pt x="28" y="25"/>
                    <a:pt x="28" y="25"/>
                  </a:cubicBezTo>
                  <a:cubicBezTo>
                    <a:pt x="27" y="27"/>
                    <a:pt x="27" y="28"/>
                    <a:pt x="27" y="30"/>
                  </a:cubicBezTo>
                  <a:cubicBezTo>
                    <a:pt x="26" y="33"/>
                    <a:pt x="26" y="34"/>
                    <a:pt x="20" y="35"/>
                  </a:cubicBezTo>
                  <a:cubicBezTo>
                    <a:pt x="19" y="35"/>
                    <a:pt x="19" y="35"/>
                    <a:pt x="18" y="35"/>
                  </a:cubicBezTo>
                  <a:cubicBezTo>
                    <a:pt x="18" y="35"/>
                    <a:pt x="18" y="35"/>
                    <a:pt x="18" y="35"/>
                  </a:cubicBezTo>
                  <a:cubicBezTo>
                    <a:pt x="15" y="35"/>
                    <a:pt x="14" y="35"/>
                    <a:pt x="14" y="38"/>
                  </a:cubicBezTo>
                  <a:cubicBezTo>
                    <a:pt x="13" y="39"/>
                    <a:pt x="13" y="39"/>
                    <a:pt x="14" y="40"/>
                  </a:cubicBezTo>
                  <a:cubicBezTo>
                    <a:pt x="14" y="41"/>
                    <a:pt x="14" y="42"/>
                    <a:pt x="14" y="42"/>
                  </a:cubicBezTo>
                  <a:cubicBezTo>
                    <a:pt x="13" y="43"/>
                    <a:pt x="13" y="44"/>
                    <a:pt x="13" y="45"/>
                  </a:cubicBezTo>
                  <a:cubicBezTo>
                    <a:pt x="12" y="45"/>
                    <a:pt x="12" y="45"/>
                    <a:pt x="12" y="46"/>
                  </a:cubicBezTo>
                  <a:cubicBezTo>
                    <a:pt x="10" y="50"/>
                    <a:pt x="11" y="52"/>
                    <a:pt x="12" y="55"/>
                  </a:cubicBezTo>
                  <a:cubicBezTo>
                    <a:pt x="12" y="56"/>
                    <a:pt x="13" y="58"/>
                    <a:pt x="13" y="61"/>
                  </a:cubicBezTo>
                  <a:cubicBezTo>
                    <a:pt x="12" y="64"/>
                    <a:pt x="11" y="67"/>
                    <a:pt x="10" y="70"/>
                  </a:cubicBezTo>
                  <a:cubicBezTo>
                    <a:pt x="9" y="72"/>
                    <a:pt x="8" y="74"/>
                    <a:pt x="7" y="76"/>
                  </a:cubicBezTo>
                  <a:cubicBezTo>
                    <a:pt x="7" y="78"/>
                    <a:pt x="6" y="79"/>
                    <a:pt x="6" y="81"/>
                  </a:cubicBezTo>
                  <a:cubicBezTo>
                    <a:pt x="6" y="84"/>
                    <a:pt x="5" y="87"/>
                    <a:pt x="3" y="90"/>
                  </a:cubicBezTo>
                  <a:cubicBezTo>
                    <a:pt x="0" y="96"/>
                    <a:pt x="0" y="98"/>
                    <a:pt x="1" y="105"/>
                  </a:cubicBezTo>
                  <a:cubicBezTo>
                    <a:pt x="2" y="108"/>
                    <a:pt x="2" y="111"/>
                    <a:pt x="2" y="114"/>
                  </a:cubicBezTo>
                  <a:cubicBezTo>
                    <a:pt x="1" y="117"/>
                    <a:pt x="1" y="120"/>
                    <a:pt x="2" y="123"/>
                  </a:cubicBezTo>
                  <a:cubicBezTo>
                    <a:pt x="2" y="124"/>
                    <a:pt x="2" y="124"/>
                    <a:pt x="2" y="124"/>
                  </a:cubicBezTo>
                  <a:cubicBezTo>
                    <a:pt x="4" y="124"/>
                    <a:pt x="4" y="124"/>
                    <a:pt x="4" y="124"/>
                  </a:cubicBezTo>
                  <a:cubicBezTo>
                    <a:pt x="5" y="125"/>
                    <a:pt x="7" y="125"/>
                    <a:pt x="8" y="125"/>
                  </a:cubicBezTo>
                  <a:cubicBezTo>
                    <a:pt x="10" y="126"/>
                    <a:pt x="12" y="126"/>
                    <a:pt x="14" y="126"/>
                  </a:cubicBezTo>
                  <a:cubicBezTo>
                    <a:pt x="15" y="126"/>
                    <a:pt x="16" y="126"/>
                    <a:pt x="17" y="126"/>
                  </a:cubicBezTo>
                  <a:cubicBezTo>
                    <a:pt x="19" y="125"/>
                    <a:pt x="19" y="125"/>
                    <a:pt x="19" y="125"/>
                  </a:cubicBezTo>
                  <a:cubicBezTo>
                    <a:pt x="19" y="124"/>
                    <a:pt x="19" y="124"/>
                    <a:pt x="19" y="124"/>
                  </a:cubicBezTo>
                  <a:cubicBezTo>
                    <a:pt x="19" y="123"/>
                    <a:pt x="19" y="122"/>
                    <a:pt x="20" y="121"/>
                  </a:cubicBezTo>
                  <a:cubicBezTo>
                    <a:pt x="21" y="120"/>
                    <a:pt x="23" y="119"/>
                    <a:pt x="25" y="119"/>
                  </a:cubicBezTo>
                  <a:cubicBezTo>
                    <a:pt x="26" y="119"/>
                    <a:pt x="26" y="119"/>
                    <a:pt x="26" y="119"/>
                  </a:cubicBezTo>
                  <a:cubicBezTo>
                    <a:pt x="27" y="119"/>
                    <a:pt x="27" y="119"/>
                    <a:pt x="27" y="119"/>
                  </a:cubicBezTo>
                  <a:cubicBezTo>
                    <a:pt x="29" y="123"/>
                    <a:pt x="31" y="127"/>
                    <a:pt x="32" y="129"/>
                  </a:cubicBezTo>
                  <a:cubicBezTo>
                    <a:pt x="35" y="133"/>
                    <a:pt x="35" y="133"/>
                    <a:pt x="35" y="133"/>
                  </a:cubicBezTo>
                  <a:cubicBezTo>
                    <a:pt x="36" y="128"/>
                    <a:pt x="36" y="128"/>
                    <a:pt x="36" y="128"/>
                  </a:cubicBezTo>
                  <a:cubicBezTo>
                    <a:pt x="36" y="125"/>
                    <a:pt x="37" y="121"/>
                    <a:pt x="38" y="118"/>
                  </a:cubicBezTo>
                  <a:cubicBezTo>
                    <a:pt x="39" y="115"/>
                    <a:pt x="39" y="115"/>
                    <a:pt x="39" y="115"/>
                  </a:cubicBezTo>
                  <a:cubicBezTo>
                    <a:pt x="39" y="114"/>
                    <a:pt x="39" y="114"/>
                    <a:pt x="39" y="113"/>
                  </a:cubicBezTo>
                  <a:cubicBezTo>
                    <a:pt x="40" y="111"/>
                    <a:pt x="40" y="108"/>
                    <a:pt x="41" y="108"/>
                  </a:cubicBezTo>
                  <a:cubicBezTo>
                    <a:pt x="41" y="107"/>
                    <a:pt x="42" y="107"/>
                    <a:pt x="42" y="107"/>
                  </a:cubicBezTo>
                  <a:cubicBezTo>
                    <a:pt x="42" y="107"/>
                    <a:pt x="42" y="107"/>
                    <a:pt x="42" y="107"/>
                  </a:cubicBezTo>
                  <a:cubicBezTo>
                    <a:pt x="43" y="107"/>
                    <a:pt x="43" y="107"/>
                    <a:pt x="44" y="108"/>
                  </a:cubicBezTo>
                  <a:cubicBezTo>
                    <a:pt x="44" y="109"/>
                    <a:pt x="44" y="109"/>
                    <a:pt x="45" y="110"/>
                  </a:cubicBezTo>
                  <a:cubicBezTo>
                    <a:pt x="47" y="112"/>
                    <a:pt x="48" y="112"/>
                    <a:pt x="49" y="113"/>
                  </a:cubicBezTo>
                  <a:cubicBezTo>
                    <a:pt x="50" y="113"/>
                    <a:pt x="51" y="113"/>
                    <a:pt x="51" y="113"/>
                  </a:cubicBezTo>
                  <a:cubicBezTo>
                    <a:pt x="54" y="114"/>
                    <a:pt x="54" y="115"/>
                    <a:pt x="56" y="116"/>
                  </a:cubicBezTo>
                  <a:cubicBezTo>
                    <a:pt x="56" y="117"/>
                    <a:pt x="56" y="117"/>
                    <a:pt x="56" y="117"/>
                  </a:cubicBezTo>
                  <a:cubicBezTo>
                    <a:pt x="58" y="119"/>
                    <a:pt x="59" y="120"/>
                    <a:pt x="61" y="120"/>
                  </a:cubicBezTo>
                  <a:cubicBezTo>
                    <a:pt x="62" y="120"/>
                    <a:pt x="64" y="119"/>
                    <a:pt x="66" y="118"/>
                  </a:cubicBezTo>
                  <a:cubicBezTo>
                    <a:pt x="66" y="118"/>
                    <a:pt x="67" y="117"/>
                    <a:pt x="68" y="117"/>
                  </a:cubicBezTo>
                  <a:cubicBezTo>
                    <a:pt x="71" y="115"/>
                    <a:pt x="74" y="114"/>
                    <a:pt x="77" y="114"/>
                  </a:cubicBezTo>
                  <a:cubicBezTo>
                    <a:pt x="78" y="114"/>
                    <a:pt x="78" y="114"/>
                    <a:pt x="79" y="114"/>
                  </a:cubicBezTo>
                  <a:cubicBezTo>
                    <a:pt x="80" y="115"/>
                    <a:pt x="80" y="115"/>
                    <a:pt x="81" y="117"/>
                  </a:cubicBezTo>
                  <a:cubicBezTo>
                    <a:pt x="81" y="118"/>
                    <a:pt x="81" y="118"/>
                    <a:pt x="81" y="118"/>
                  </a:cubicBezTo>
                  <a:cubicBezTo>
                    <a:pt x="83" y="118"/>
                    <a:pt x="83" y="118"/>
                    <a:pt x="83" y="118"/>
                  </a:cubicBezTo>
                  <a:cubicBezTo>
                    <a:pt x="84" y="118"/>
                    <a:pt x="85" y="118"/>
                    <a:pt x="86" y="118"/>
                  </a:cubicBezTo>
                  <a:cubicBezTo>
                    <a:pt x="88" y="117"/>
                    <a:pt x="89" y="117"/>
                    <a:pt x="90" y="117"/>
                  </a:cubicBezTo>
                  <a:cubicBezTo>
                    <a:pt x="91" y="117"/>
                    <a:pt x="92" y="117"/>
                    <a:pt x="93" y="118"/>
                  </a:cubicBezTo>
                  <a:cubicBezTo>
                    <a:pt x="93" y="118"/>
                    <a:pt x="94" y="118"/>
                    <a:pt x="95" y="119"/>
                  </a:cubicBezTo>
                  <a:cubicBezTo>
                    <a:pt x="96" y="119"/>
                    <a:pt x="97" y="120"/>
                    <a:pt x="98" y="120"/>
                  </a:cubicBezTo>
                  <a:cubicBezTo>
                    <a:pt x="100" y="120"/>
                    <a:pt x="102" y="120"/>
                    <a:pt x="104" y="121"/>
                  </a:cubicBezTo>
                  <a:cubicBezTo>
                    <a:pt x="107" y="121"/>
                    <a:pt x="110" y="121"/>
                    <a:pt x="113" y="123"/>
                  </a:cubicBezTo>
                  <a:cubicBezTo>
                    <a:pt x="114" y="124"/>
                    <a:pt x="114" y="124"/>
                    <a:pt x="114" y="124"/>
                  </a:cubicBezTo>
                  <a:cubicBezTo>
                    <a:pt x="116" y="126"/>
                    <a:pt x="118" y="128"/>
                    <a:pt x="121" y="129"/>
                  </a:cubicBezTo>
                  <a:cubicBezTo>
                    <a:pt x="123" y="130"/>
                    <a:pt x="124" y="131"/>
                    <a:pt x="126" y="131"/>
                  </a:cubicBezTo>
                  <a:cubicBezTo>
                    <a:pt x="130" y="133"/>
                    <a:pt x="133" y="135"/>
                    <a:pt x="136" y="139"/>
                  </a:cubicBezTo>
                  <a:cubicBezTo>
                    <a:pt x="139" y="145"/>
                    <a:pt x="144" y="150"/>
                    <a:pt x="149" y="155"/>
                  </a:cubicBezTo>
                  <a:cubicBezTo>
                    <a:pt x="153" y="159"/>
                    <a:pt x="157" y="163"/>
                    <a:pt x="161" y="168"/>
                  </a:cubicBezTo>
                  <a:cubicBezTo>
                    <a:pt x="161" y="169"/>
                    <a:pt x="162" y="169"/>
                    <a:pt x="162" y="170"/>
                  </a:cubicBezTo>
                  <a:cubicBezTo>
                    <a:pt x="162" y="171"/>
                    <a:pt x="163" y="172"/>
                    <a:pt x="164" y="173"/>
                  </a:cubicBezTo>
                  <a:cubicBezTo>
                    <a:pt x="164" y="174"/>
                    <a:pt x="165" y="174"/>
                    <a:pt x="166" y="174"/>
                  </a:cubicBezTo>
                  <a:cubicBezTo>
                    <a:pt x="167" y="175"/>
                    <a:pt x="168" y="175"/>
                    <a:pt x="168" y="176"/>
                  </a:cubicBezTo>
                  <a:cubicBezTo>
                    <a:pt x="169" y="177"/>
                    <a:pt x="170" y="179"/>
                    <a:pt x="171" y="180"/>
                  </a:cubicBezTo>
                  <a:cubicBezTo>
                    <a:pt x="171" y="182"/>
                    <a:pt x="172" y="184"/>
                    <a:pt x="173" y="185"/>
                  </a:cubicBezTo>
                  <a:cubicBezTo>
                    <a:pt x="175" y="186"/>
                    <a:pt x="175" y="186"/>
                    <a:pt x="175" y="186"/>
                  </a:cubicBezTo>
                  <a:cubicBezTo>
                    <a:pt x="176" y="185"/>
                    <a:pt x="176" y="185"/>
                    <a:pt x="176" y="185"/>
                  </a:cubicBezTo>
                  <a:cubicBezTo>
                    <a:pt x="176" y="184"/>
                    <a:pt x="177" y="184"/>
                    <a:pt x="177" y="183"/>
                  </a:cubicBezTo>
                  <a:cubicBezTo>
                    <a:pt x="178" y="184"/>
                    <a:pt x="179" y="185"/>
                    <a:pt x="180" y="186"/>
                  </a:cubicBezTo>
                  <a:cubicBezTo>
                    <a:pt x="182" y="188"/>
                    <a:pt x="183" y="189"/>
                    <a:pt x="184" y="189"/>
                  </a:cubicBezTo>
                  <a:cubicBezTo>
                    <a:pt x="185" y="189"/>
                    <a:pt x="185" y="189"/>
                    <a:pt x="185" y="189"/>
                  </a:cubicBezTo>
                  <a:cubicBezTo>
                    <a:pt x="186" y="189"/>
                    <a:pt x="187" y="188"/>
                    <a:pt x="188" y="186"/>
                  </a:cubicBezTo>
                  <a:cubicBezTo>
                    <a:pt x="188" y="185"/>
                    <a:pt x="188" y="184"/>
                    <a:pt x="188" y="183"/>
                  </a:cubicBezTo>
                  <a:cubicBezTo>
                    <a:pt x="188" y="182"/>
                    <a:pt x="189" y="181"/>
                    <a:pt x="190" y="180"/>
                  </a:cubicBezTo>
                  <a:cubicBezTo>
                    <a:pt x="190" y="179"/>
                    <a:pt x="191" y="178"/>
                    <a:pt x="192" y="178"/>
                  </a:cubicBezTo>
                  <a:cubicBezTo>
                    <a:pt x="193" y="177"/>
                    <a:pt x="194" y="177"/>
                    <a:pt x="195" y="176"/>
                  </a:cubicBezTo>
                  <a:cubicBezTo>
                    <a:pt x="196" y="174"/>
                    <a:pt x="196" y="174"/>
                    <a:pt x="196" y="174"/>
                  </a:cubicBezTo>
                  <a:lnTo>
                    <a:pt x="195" y="173"/>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48" name="Freeform 45">
              <a:extLst>
                <a:ext uri="{FF2B5EF4-FFF2-40B4-BE49-F238E27FC236}">
                  <a16:creationId xmlns:a16="http://schemas.microsoft.com/office/drawing/2014/main" id="{9692579F-D408-4541-B124-2832A37D8DFD}"/>
                </a:ext>
              </a:extLst>
            </p:cNvPr>
            <p:cNvSpPr>
              <a:spLocks/>
            </p:cNvSpPr>
            <p:nvPr/>
          </p:nvSpPr>
          <p:spPr bwMode="auto">
            <a:xfrm>
              <a:off x="3905064" y="1612481"/>
              <a:ext cx="887238" cy="702708"/>
            </a:xfrm>
            <a:custGeom>
              <a:avLst/>
              <a:gdLst>
                <a:gd name="T0" fmla="*/ 316 w 438"/>
                <a:gd name="T1" fmla="*/ 189 h 377"/>
                <a:gd name="T2" fmla="*/ 301 w 438"/>
                <a:gd name="T3" fmla="*/ 174 h 377"/>
                <a:gd name="T4" fmla="*/ 296 w 438"/>
                <a:gd name="T5" fmla="*/ 165 h 377"/>
                <a:gd name="T6" fmla="*/ 292 w 438"/>
                <a:gd name="T7" fmla="*/ 163 h 377"/>
                <a:gd name="T8" fmla="*/ 288 w 438"/>
                <a:gd name="T9" fmla="*/ 157 h 377"/>
                <a:gd name="T10" fmla="*/ 283 w 438"/>
                <a:gd name="T11" fmla="*/ 146 h 377"/>
                <a:gd name="T12" fmla="*/ 285 w 438"/>
                <a:gd name="T13" fmla="*/ 128 h 377"/>
                <a:gd name="T14" fmla="*/ 279 w 438"/>
                <a:gd name="T15" fmla="*/ 124 h 377"/>
                <a:gd name="T16" fmla="*/ 269 w 438"/>
                <a:gd name="T17" fmla="*/ 127 h 377"/>
                <a:gd name="T18" fmla="*/ 253 w 438"/>
                <a:gd name="T19" fmla="*/ 129 h 377"/>
                <a:gd name="T20" fmla="*/ 252 w 438"/>
                <a:gd name="T21" fmla="*/ 116 h 377"/>
                <a:gd name="T22" fmla="*/ 263 w 438"/>
                <a:gd name="T23" fmla="*/ 92 h 377"/>
                <a:gd name="T24" fmla="*/ 269 w 438"/>
                <a:gd name="T25" fmla="*/ 80 h 377"/>
                <a:gd name="T26" fmla="*/ 263 w 438"/>
                <a:gd name="T27" fmla="*/ 69 h 377"/>
                <a:gd name="T28" fmla="*/ 256 w 438"/>
                <a:gd name="T29" fmla="*/ 64 h 377"/>
                <a:gd name="T30" fmla="*/ 230 w 438"/>
                <a:gd name="T31" fmla="*/ 33 h 377"/>
                <a:gd name="T32" fmla="*/ 208 w 438"/>
                <a:gd name="T33" fmla="*/ 18 h 377"/>
                <a:gd name="T34" fmla="*/ 192 w 438"/>
                <a:gd name="T35" fmla="*/ 14 h 377"/>
                <a:gd name="T36" fmla="*/ 184 w 438"/>
                <a:gd name="T37" fmla="*/ 11 h 377"/>
                <a:gd name="T38" fmla="*/ 176 w 438"/>
                <a:gd name="T39" fmla="*/ 12 h 377"/>
                <a:gd name="T40" fmla="*/ 171 w 438"/>
                <a:gd name="T41" fmla="*/ 7 h 377"/>
                <a:gd name="T42" fmla="*/ 155 w 438"/>
                <a:gd name="T43" fmla="*/ 14 h 377"/>
                <a:gd name="T44" fmla="*/ 145 w 438"/>
                <a:gd name="T45" fmla="*/ 7 h 377"/>
                <a:gd name="T46" fmla="*/ 138 w 438"/>
                <a:gd name="T47" fmla="*/ 2 h 377"/>
                <a:gd name="T48" fmla="*/ 134 w 438"/>
                <a:gd name="T49" fmla="*/ 2 h 377"/>
                <a:gd name="T50" fmla="*/ 133 w 438"/>
                <a:gd name="T51" fmla="*/ 9 h 377"/>
                <a:gd name="T52" fmla="*/ 122 w 438"/>
                <a:gd name="T53" fmla="*/ 14 h 377"/>
                <a:gd name="T54" fmla="*/ 114 w 438"/>
                <a:gd name="T55" fmla="*/ 15 h 377"/>
                <a:gd name="T56" fmla="*/ 102 w 438"/>
                <a:gd name="T57" fmla="*/ 19 h 377"/>
                <a:gd name="T58" fmla="*/ 96 w 438"/>
                <a:gd name="T59" fmla="*/ 21 h 377"/>
                <a:gd name="T60" fmla="*/ 88 w 438"/>
                <a:gd name="T61" fmla="*/ 61 h 377"/>
                <a:gd name="T62" fmla="*/ 77 w 438"/>
                <a:gd name="T63" fmla="*/ 72 h 377"/>
                <a:gd name="T64" fmla="*/ 63 w 438"/>
                <a:gd name="T65" fmla="*/ 97 h 377"/>
                <a:gd name="T66" fmla="*/ 57 w 438"/>
                <a:gd name="T67" fmla="*/ 108 h 377"/>
                <a:gd name="T68" fmla="*/ 55 w 438"/>
                <a:gd name="T69" fmla="*/ 127 h 377"/>
                <a:gd name="T70" fmla="*/ 49 w 438"/>
                <a:gd name="T71" fmla="*/ 133 h 377"/>
                <a:gd name="T72" fmla="*/ 36 w 438"/>
                <a:gd name="T73" fmla="*/ 146 h 377"/>
                <a:gd name="T74" fmla="*/ 31 w 438"/>
                <a:gd name="T75" fmla="*/ 166 h 377"/>
                <a:gd name="T76" fmla="*/ 31 w 438"/>
                <a:gd name="T77" fmla="*/ 193 h 377"/>
                <a:gd name="T78" fmla="*/ 20 w 438"/>
                <a:gd name="T79" fmla="*/ 214 h 377"/>
                <a:gd name="T80" fmla="*/ 6 w 438"/>
                <a:gd name="T81" fmla="*/ 214 h 377"/>
                <a:gd name="T82" fmla="*/ 3 w 438"/>
                <a:gd name="T83" fmla="*/ 224 h 377"/>
                <a:gd name="T84" fmla="*/ 12 w 438"/>
                <a:gd name="T85" fmla="*/ 237 h 377"/>
                <a:gd name="T86" fmla="*/ 19 w 438"/>
                <a:gd name="T87" fmla="*/ 236 h 377"/>
                <a:gd name="T88" fmla="*/ 32 w 438"/>
                <a:gd name="T89" fmla="*/ 251 h 377"/>
                <a:gd name="T90" fmla="*/ 44 w 438"/>
                <a:gd name="T91" fmla="*/ 265 h 377"/>
                <a:gd name="T92" fmla="*/ 56 w 438"/>
                <a:gd name="T93" fmla="*/ 280 h 377"/>
                <a:gd name="T94" fmla="*/ 63 w 438"/>
                <a:gd name="T95" fmla="*/ 302 h 377"/>
                <a:gd name="T96" fmla="*/ 69 w 438"/>
                <a:gd name="T97" fmla="*/ 312 h 377"/>
                <a:gd name="T98" fmla="*/ 72 w 438"/>
                <a:gd name="T99" fmla="*/ 313 h 377"/>
                <a:gd name="T100" fmla="*/ 79 w 438"/>
                <a:gd name="T101" fmla="*/ 313 h 377"/>
                <a:gd name="T102" fmla="*/ 83 w 438"/>
                <a:gd name="T103" fmla="*/ 335 h 377"/>
                <a:gd name="T104" fmla="*/ 89 w 438"/>
                <a:gd name="T105" fmla="*/ 344 h 377"/>
                <a:gd name="T106" fmla="*/ 193 w 438"/>
                <a:gd name="T107" fmla="*/ 377 h 377"/>
                <a:gd name="T108" fmla="*/ 241 w 438"/>
                <a:gd name="T109" fmla="*/ 359 h 377"/>
                <a:gd name="T110" fmla="*/ 252 w 438"/>
                <a:gd name="T111" fmla="*/ 359 h 377"/>
                <a:gd name="T112" fmla="*/ 270 w 438"/>
                <a:gd name="T113" fmla="*/ 353 h 377"/>
                <a:gd name="T114" fmla="*/ 292 w 438"/>
                <a:gd name="T115" fmla="*/ 344 h 377"/>
                <a:gd name="T116" fmla="*/ 308 w 438"/>
                <a:gd name="T117" fmla="*/ 332 h 377"/>
                <a:gd name="T118" fmla="*/ 320 w 438"/>
                <a:gd name="T119" fmla="*/ 328 h 377"/>
                <a:gd name="T120" fmla="*/ 410 w 438"/>
                <a:gd name="T121" fmla="*/ 226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 h="377">
                  <a:moveTo>
                    <a:pt x="410" y="226"/>
                  </a:moveTo>
                  <a:cubicBezTo>
                    <a:pt x="320" y="192"/>
                    <a:pt x="320" y="192"/>
                    <a:pt x="320" y="192"/>
                  </a:cubicBezTo>
                  <a:cubicBezTo>
                    <a:pt x="319" y="191"/>
                    <a:pt x="316" y="189"/>
                    <a:pt x="316" y="189"/>
                  </a:cubicBezTo>
                  <a:cubicBezTo>
                    <a:pt x="315" y="187"/>
                    <a:pt x="313" y="185"/>
                    <a:pt x="311" y="184"/>
                  </a:cubicBezTo>
                  <a:cubicBezTo>
                    <a:pt x="310" y="183"/>
                    <a:pt x="308" y="182"/>
                    <a:pt x="307" y="181"/>
                  </a:cubicBezTo>
                  <a:cubicBezTo>
                    <a:pt x="305" y="179"/>
                    <a:pt x="302" y="178"/>
                    <a:pt x="301" y="174"/>
                  </a:cubicBezTo>
                  <a:cubicBezTo>
                    <a:pt x="301" y="174"/>
                    <a:pt x="301" y="174"/>
                    <a:pt x="301" y="174"/>
                  </a:cubicBezTo>
                  <a:cubicBezTo>
                    <a:pt x="300" y="173"/>
                    <a:pt x="300" y="173"/>
                    <a:pt x="300" y="173"/>
                  </a:cubicBezTo>
                  <a:cubicBezTo>
                    <a:pt x="298" y="172"/>
                    <a:pt x="297" y="168"/>
                    <a:pt x="296" y="165"/>
                  </a:cubicBezTo>
                  <a:cubicBezTo>
                    <a:pt x="296" y="163"/>
                    <a:pt x="296" y="163"/>
                    <a:pt x="296" y="163"/>
                  </a:cubicBezTo>
                  <a:cubicBezTo>
                    <a:pt x="294" y="163"/>
                    <a:pt x="294" y="163"/>
                    <a:pt x="294" y="163"/>
                  </a:cubicBezTo>
                  <a:cubicBezTo>
                    <a:pt x="293" y="163"/>
                    <a:pt x="292" y="163"/>
                    <a:pt x="292" y="163"/>
                  </a:cubicBezTo>
                  <a:cubicBezTo>
                    <a:pt x="291" y="162"/>
                    <a:pt x="291" y="161"/>
                    <a:pt x="291" y="161"/>
                  </a:cubicBezTo>
                  <a:cubicBezTo>
                    <a:pt x="291" y="160"/>
                    <a:pt x="291" y="160"/>
                    <a:pt x="290" y="159"/>
                  </a:cubicBezTo>
                  <a:cubicBezTo>
                    <a:pt x="290" y="158"/>
                    <a:pt x="289" y="157"/>
                    <a:pt x="288" y="157"/>
                  </a:cubicBezTo>
                  <a:cubicBezTo>
                    <a:pt x="287" y="156"/>
                    <a:pt x="287" y="155"/>
                    <a:pt x="286" y="154"/>
                  </a:cubicBezTo>
                  <a:cubicBezTo>
                    <a:pt x="285" y="153"/>
                    <a:pt x="285" y="151"/>
                    <a:pt x="284" y="149"/>
                  </a:cubicBezTo>
                  <a:cubicBezTo>
                    <a:pt x="284" y="148"/>
                    <a:pt x="283" y="147"/>
                    <a:pt x="283" y="146"/>
                  </a:cubicBezTo>
                  <a:cubicBezTo>
                    <a:pt x="279" y="139"/>
                    <a:pt x="281" y="136"/>
                    <a:pt x="285" y="131"/>
                  </a:cubicBezTo>
                  <a:cubicBezTo>
                    <a:pt x="286" y="129"/>
                    <a:pt x="286" y="129"/>
                    <a:pt x="286" y="129"/>
                  </a:cubicBezTo>
                  <a:cubicBezTo>
                    <a:pt x="285" y="128"/>
                    <a:pt x="285" y="128"/>
                    <a:pt x="285" y="128"/>
                  </a:cubicBezTo>
                  <a:cubicBezTo>
                    <a:pt x="284" y="128"/>
                    <a:pt x="284" y="127"/>
                    <a:pt x="284" y="127"/>
                  </a:cubicBezTo>
                  <a:cubicBezTo>
                    <a:pt x="282" y="125"/>
                    <a:pt x="282" y="125"/>
                    <a:pt x="281" y="124"/>
                  </a:cubicBezTo>
                  <a:cubicBezTo>
                    <a:pt x="280" y="124"/>
                    <a:pt x="280" y="124"/>
                    <a:pt x="279" y="124"/>
                  </a:cubicBezTo>
                  <a:cubicBezTo>
                    <a:pt x="278" y="124"/>
                    <a:pt x="277" y="124"/>
                    <a:pt x="276" y="125"/>
                  </a:cubicBezTo>
                  <a:cubicBezTo>
                    <a:pt x="275" y="125"/>
                    <a:pt x="274" y="126"/>
                    <a:pt x="274" y="126"/>
                  </a:cubicBezTo>
                  <a:cubicBezTo>
                    <a:pt x="272" y="126"/>
                    <a:pt x="270" y="127"/>
                    <a:pt x="269" y="127"/>
                  </a:cubicBezTo>
                  <a:cubicBezTo>
                    <a:pt x="266" y="127"/>
                    <a:pt x="263" y="127"/>
                    <a:pt x="260" y="131"/>
                  </a:cubicBezTo>
                  <a:cubicBezTo>
                    <a:pt x="259" y="130"/>
                    <a:pt x="258" y="130"/>
                    <a:pt x="257" y="130"/>
                  </a:cubicBezTo>
                  <a:cubicBezTo>
                    <a:pt x="255" y="130"/>
                    <a:pt x="253" y="130"/>
                    <a:pt x="253" y="129"/>
                  </a:cubicBezTo>
                  <a:cubicBezTo>
                    <a:pt x="251" y="127"/>
                    <a:pt x="252" y="124"/>
                    <a:pt x="252" y="122"/>
                  </a:cubicBezTo>
                  <a:cubicBezTo>
                    <a:pt x="252" y="121"/>
                    <a:pt x="252" y="120"/>
                    <a:pt x="252" y="120"/>
                  </a:cubicBezTo>
                  <a:cubicBezTo>
                    <a:pt x="252" y="119"/>
                    <a:pt x="252" y="118"/>
                    <a:pt x="252" y="116"/>
                  </a:cubicBezTo>
                  <a:cubicBezTo>
                    <a:pt x="252" y="112"/>
                    <a:pt x="252" y="108"/>
                    <a:pt x="255" y="104"/>
                  </a:cubicBezTo>
                  <a:cubicBezTo>
                    <a:pt x="256" y="102"/>
                    <a:pt x="256" y="102"/>
                    <a:pt x="256" y="102"/>
                  </a:cubicBezTo>
                  <a:cubicBezTo>
                    <a:pt x="259" y="98"/>
                    <a:pt x="261" y="95"/>
                    <a:pt x="263" y="92"/>
                  </a:cubicBezTo>
                  <a:cubicBezTo>
                    <a:pt x="263" y="91"/>
                    <a:pt x="264" y="89"/>
                    <a:pt x="264" y="88"/>
                  </a:cubicBezTo>
                  <a:cubicBezTo>
                    <a:pt x="265" y="86"/>
                    <a:pt x="267" y="84"/>
                    <a:pt x="268" y="81"/>
                  </a:cubicBezTo>
                  <a:cubicBezTo>
                    <a:pt x="269" y="80"/>
                    <a:pt x="269" y="80"/>
                    <a:pt x="269" y="80"/>
                  </a:cubicBezTo>
                  <a:cubicBezTo>
                    <a:pt x="267" y="79"/>
                    <a:pt x="267" y="79"/>
                    <a:pt x="267" y="79"/>
                  </a:cubicBezTo>
                  <a:cubicBezTo>
                    <a:pt x="266" y="78"/>
                    <a:pt x="265" y="76"/>
                    <a:pt x="265" y="74"/>
                  </a:cubicBezTo>
                  <a:cubicBezTo>
                    <a:pt x="264" y="72"/>
                    <a:pt x="264" y="71"/>
                    <a:pt x="263" y="69"/>
                  </a:cubicBezTo>
                  <a:cubicBezTo>
                    <a:pt x="262" y="69"/>
                    <a:pt x="261" y="68"/>
                    <a:pt x="260" y="68"/>
                  </a:cubicBezTo>
                  <a:cubicBezTo>
                    <a:pt x="259" y="68"/>
                    <a:pt x="259" y="67"/>
                    <a:pt x="258" y="66"/>
                  </a:cubicBezTo>
                  <a:cubicBezTo>
                    <a:pt x="257" y="66"/>
                    <a:pt x="257" y="65"/>
                    <a:pt x="256" y="64"/>
                  </a:cubicBezTo>
                  <a:cubicBezTo>
                    <a:pt x="256" y="63"/>
                    <a:pt x="256" y="62"/>
                    <a:pt x="255" y="62"/>
                  </a:cubicBezTo>
                  <a:cubicBezTo>
                    <a:pt x="252" y="57"/>
                    <a:pt x="247" y="52"/>
                    <a:pt x="243" y="48"/>
                  </a:cubicBezTo>
                  <a:cubicBezTo>
                    <a:pt x="238" y="44"/>
                    <a:pt x="234" y="39"/>
                    <a:pt x="230" y="33"/>
                  </a:cubicBezTo>
                  <a:cubicBezTo>
                    <a:pt x="227" y="28"/>
                    <a:pt x="224" y="27"/>
                    <a:pt x="220" y="25"/>
                  </a:cubicBezTo>
                  <a:cubicBezTo>
                    <a:pt x="218" y="24"/>
                    <a:pt x="217" y="24"/>
                    <a:pt x="215" y="23"/>
                  </a:cubicBezTo>
                  <a:cubicBezTo>
                    <a:pt x="213" y="21"/>
                    <a:pt x="210" y="19"/>
                    <a:pt x="208" y="18"/>
                  </a:cubicBezTo>
                  <a:cubicBezTo>
                    <a:pt x="208" y="17"/>
                    <a:pt x="208" y="17"/>
                    <a:pt x="208" y="17"/>
                  </a:cubicBezTo>
                  <a:cubicBezTo>
                    <a:pt x="204" y="14"/>
                    <a:pt x="201" y="14"/>
                    <a:pt x="198" y="14"/>
                  </a:cubicBezTo>
                  <a:cubicBezTo>
                    <a:pt x="196" y="14"/>
                    <a:pt x="194" y="14"/>
                    <a:pt x="192" y="14"/>
                  </a:cubicBezTo>
                  <a:cubicBezTo>
                    <a:pt x="191" y="13"/>
                    <a:pt x="190" y="13"/>
                    <a:pt x="189" y="12"/>
                  </a:cubicBezTo>
                  <a:cubicBezTo>
                    <a:pt x="188" y="12"/>
                    <a:pt x="188" y="11"/>
                    <a:pt x="187" y="11"/>
                  </a:cubicBezTo>
                  <a:cubicBezTo>
                    <a:pt x="186" y="11"/>
                    <a:pt x="185" y="11"/>
                    <a:pt x="184" y="11"/>
                  </a:cubicBezTo>
                  <a:cubicBezTo>
                    <a:pt x="183" y="11"/>
                    <a:pt x="182" y="11"/>
                    <a:pt x="180" y="11"/>
                  </a:cubicBezTo>
                  <a:cubicBezTo>
                    <a:pt x="179" y="12"/>
                    <a:pt x="178" y="12"/>
                    <a:pt x="176" y="12"/>
                  </a:cubicBezTo>
                  <a:cubicBezTo>
                    <a:pt x="176" y="12"/>
                    <a:pt x="176" y="12"/>
                    <a:pt x="176" y="12"/>
                  </a:cubicBezTo>
                  <a:cubicBezTo>
                    <a:pt x="176" y="12"/>
                    <a:pt x="175" y="12"/>
                    <a:pt x="175" y="12"/>
                  </a:cubicBezTo>
                  <a:cubicBezTo>
                    <a:pt x="175" y="11"/>
                    <a:pt x="175" y="9"/>
                    <a:pt x="173" y="8"/>
                  </a:cubicBezTo>
                  <a:cubicBezTo>
                    <a:pt x="173" y="7"/>
                    <a:pt x="172" y="7"/>
                    <a:pt x="171" y="7"/>
                  </a:cubicBezTo>
                  <a:cubicBezTo>
                    <a:pt x="169" y="7"/>
                    <a:pt x="166" y="8"/>
                    <a:pt x="162" y="11"/>
                  </a:cubicBezTo>
                  <a:cubicBezTo>
                    <a:pt x="161" y="11"/>
                    <a:pt x="160" y="12"/>
                    <a:pt x="159" y="12"/>
                  </a:cubicBezTo>
                  <a:cubicBezTo>
                    <a:pt x="158" y="13"/>
                    <a:pt x="156" y="14"/>
                    <a:pt x="155" y="14"/>
                  </a:cubicBezTo>
                  <a:cubicBezTo>
                    <a:pt x="154" y="14"/>
                    <a:pt x="152" y="13"/>
                    <a:pt x="151" y="11"/>
                  </a:cubicBezTo>
                  <a:cubicBezTo>
                    <a:pt x="150" y="11"/>
                    <a:pt x="150" y="10"/>
                    <a:pt x="150" y="10"/>
                  </a:cubicBezTo>
                  <a:cubicBezTo>
                    <a:pt x="148" y="8"/>
                    <a:pt x="148" y="8"/>
                    <a:pt x="145" y="7"/>
                  </a:cubicBezTo>
                  <a:cubicBezTo>
                    <a:pt x="145" y="7"/>
                    <a:pt x="144" y="6"/>
                    <a:pt x="144" y="6"/>
                  </a:cubicBezTo>
                  <a:cubicBezTo>
                    <a:pt x="142" y="6"/>
                    <a:pt x="141" y="5"/>
                    <a:pt x="139" y="4"/>
                  </a:cubicBezTo>
                  <a:cubicBezTo>
                    <a:pt x="139" y="3"/>
                    <a:pt x="138" y="3"/>
                    <a:pt x="138" y="2"/>
                  </a:cubicBezTo>
                  <a:cubicBezTo>
                    <a:pt x="137" y="0"/>
                    <a:pt x="137" y="0"/>
                    <a:pt x="137" y="0"/>
                  </a:cubicBezTo>
                  <a:cubicBezTo>
                    <a:pt x="135" y="1"/>
                    <a:pt x="135" y="1"/>
                    <a:pt x="135" y="1"/>
                  </a:cubicBezTo>
                  <a:cubicBezTo>
                    <a:pt x="134" y="2"/>
                    <a:pt x="134" y="2"/>
                    <a:pt x="134" y="2"/>
                  </a:cubicBezTo>
                  <a:cubicBezTo>
                    <a:pt x="134" y="2"/>
                    <a:pt x="134" y="2"/>
                    <a:pt x="134" y="2"/>
                  </a:cubicBezTo>
                  <a:cubicBezTo>
                    <a:pt x="134" y="2"/>
                    <a:pt x="133" y="3"/>
                    <a:pt x="133" y="7"/>
                  </a:cubicBezTo>
                  <a:cubicBezTo>
                    <a:pt x="133" y="8"/>
                    <a:pt x="133" y="8"/>
                    <a:pt x="133" y="9"/>
                  </a:cubicBezTo>
                  <a:cubicBezTo>
                    <a:pt x="132" y="12"/>
                    <a:pt x="132" y="12"/>
                    <a:pt x="132" y="12"/>
                  </a:cubicBezTo>
                  <a:cubicBezTo>
                    <a:pt x="131" y="16"/>
                    <a:pt x="130" y="21"/>
                    <a:pt x="129" y="25"/>
                  </a:cubicBezTo>
                  <a:cubicBezTo>
                    <a:pt x="127" y="24"/>
                    <a:pt x="124" y="20"/>
                    <a:pt x="122" y="14"/>
                  </a:cubicBezTo>
                  <a:cubicBezTo>
                    <a:pt x="122" y="13"/>
                    <a:pt x="122" y="13"/>
                    <a:pt x="122" y="13"/>
                  </a:cubicBezTo>
                  <a:cubicBezTo>
                    <a:pt x="120" y="13"/>
                    <a:pt x="120" y="13"/>
                    <a:pt x="120" y="13"/>
                  </a:cubicBezTo>
                  <a:cubicBezTo>
                    <a:pt x="118" y="13"/>
                    <a:pt x="115" y="13"/>
                    <a:pt x="114" y="15"/>
                  </a:cubicBezTo>
                  <a:cubicBezTo>
                    <a:pt x="113" y="16"/>
                    <a:pt x="112" y="17"/>
                    <a:pt x="112" y="19"/>
                  </a:cubicBezTo>
                  <a:cubicBezTo>
                    <a:pt x="111" y="20"/>
                    <a:pt x="110" y="20"/>
                    <a:pt x="108" y="20"/>
                  </a:cubicBezTo>
                  <a:cubicBezTo>
                    <a:pt x="106" y="20"/>
                    <a:pt x="104" y="19"/>
                    <a:pt x="102" y="19"/>
                  </a:cubicBezTo>
                  <a:cubicBezTo>
                    <a:pt x="101" y="19"/>
                    <a:pt x="100" y="18"/>
                    <a:pt x="99" y="18"/>
                  </a:cubicBezTo>
                  <a:cubicBezTo>
                    <a:pt x="96" y="18"/>
                    <a:pt x="96" y="18"/>
                    <a:pt x="96" y="18"/>
                  </a:cubicBezTo>
                  <a:cubicBezTo>
                    <a:pt x="96" y="21"/>
                    <a:pt x="96" y="21"/>
                    <a:pt x="96" y="21"/>
                  </a:cubicBezTo>
                  <a:cubicBezTo>
                    <a:pt x="97" y="25"/>
                    <a:pt x="98" y="29"/>
                    <a:pt x="96" y="33"/>
                  </a:cubicBezTo>
                  <a:cubicBezTo>
                    <a:pt x="94" y="40"/>
                    <a:pt x="92" y="45"/>
                    <a:pt x="90" y="51"/>
                  </a:cubicBezTo>
                  <a:cubicBezTo>
                    <a:pt x="88" y="55"/>
                    <a:pt x="88" y="58"/>
                    <a:pt x="88" y="61"/>
                  </a:cubicBezTo>
                  <a:cubicBezTo>
                    <a:pt x="88" y="63"/>
                    <a:pt x="89" y="65"/>
                    <a:pt x="88" y="67"/>
                  </a:cubicBezTo>
                  <a:cubicBezTo>
                    <a:pt x="87" y="71"/>
                    <a:pt x="85" y="71"/>
                    <a:pt x="82" y="71"/>
                  </a:cubicBezTo>
                  <a:cubicBezTo>
                    <a:pt x="81" y="71"/>
                    <a:pt x="79" y="71"/>
                    <a:pt x="77" y="72"/>
                  </a:cubicBezTo>
                  <a:cubicBezTo>
                    <a:pt x="74" y="74"/>
                    <a:pt x="73" y="76"/>
                    <a:pt x="72" y="78"/>
                  </a:cubicBezTo>
                  <a:cubicBezTo>
                    <a:pt x="72" y="79"/>
                    <a:pt x="70" y="83"/>
                    <a:pt x="70" y="83"/>
                  </a:cubicBezTo>
                  <a:cubicBezTo>
                    <a:pt x="68" y="88"/>
                    <a:pt x="66" y="94"/>
                    <a:pt x="63" y="97"/>
                  </a:cubicBezTo>
                  <a:cubicBezTo>
                    <a:pt x="62" y="99"/>
                    <a:pt x="61" y="99"/>
                    <a:pt x="60" y="99"/>
                  </a:cubicBezTo>
                  <a:cubicBezTo>
                    <a:pt x="59" y="100"/>
                    <a:pt x="58" y="101"/>
                    <a:pt x="57" y="103"/>
                  </a:cubicBezTo>
                  <a:cubicBezTo>
                    <a:pt x="57" y="105"/>
                    <a:pt x="57" y="107"/>
                    <a:pt x="57" y="108"/>
                  </a:cubicBezTo>
                  <a:cubicBezTo>
                    <a:pt x="57" y="110"/>
                    <a:pt x="56" y="111"/>
                    <a:pt x="56" y="113"/>
                  </a:cubicBezTo>
                  <a:cubicBezTo>
                    <a:pt x="55" y="117"/>
                    <a:pt x="55" y="120"/>
                    <a:pt x="55" y="124"/>
                  </a:cubicBezTo>
                  <a:cubicBezTo>
                    <a:pt x="55" y="125"/>
                    <a:pt x="55" y="126"/>
                    <a:pt x="55" y="127"/>
                  </a:cubicBezTo>
                  <a:cubicBezTo>
                    <a:pt x="55" y="130"/>
                    <a:pt x="55" y="133"/>
                    <a:pt x="55" y="134"/>
                  </a:cubicBezTo>
                  <a:cubicBezTo>
                    <a:pt x="54" y="135"/>
                    <a:pt x="53" y="135"/>
                    <a:pt x="53" y="135"/>
                  </a:cubicBezTo>
                  <a:cubicBezTo>
                    <a:pt x="51" y="135"/>
                    <a:pt x="50" y="134"/>
                    <a:pt x="49" y="133"/>
                  </a:cubicBezTo>
                  <a:cubicBezTo>
                    <a:pt x="47" y="132"/>
                    <a:pt x="46" y="131"/>
                    <a:pt x="44" y="131"/>
                  </a:cubicBezTo>
                  <a:cubicBezTo>
                    <a:pt x="44" y="131"/>
                    <a:pt x="43" y="131"/>
                    <a:pt x="43" y="131"/>
                  </a:cubicBezTo>
                  <a:cubicBezTo>
                    <a:pt x="38" y="133"/>
                    <a:pt x="37" y="141"/>
                    <a:pt x="36" y="146"/>
                  </a:cubicBezTo>
                  <a:cubicBezTo>
                    <a:pt x="36" y="147"/>
                    <a:pt x="36" y="147"/>
                    <a:pt x="36" y="147"/>
                  </a:cubicBezTo>
                  <a:cubicBezTo>
                    <a:pt x="35" y="153"/>
                    <a:pt x="34" y="158"/>
                    <a:pt x="32" y="163"/>
                  </a:cubicBezTo>
                  <a:cubicBezTo>
                    <a:pt x="31" y="166"/>
                    <a:pt x="31" y="166"/>
                    <a:pt x="31" y="166"/>
                  </a:cubicBezTo>
                  <a:cubicBezTo>
                    <a:pt x="30" y="171"/>
                    <a:pt x="30" y="176"/>
                    <a:pt x="30" y="181"/>
                  </a:cubicBezTo>
                  <a:cubicBezTo>
                    <a:pt x="30" y="183"/>
                    <a:pt x="31" y="185"/>
                    <a:pt x="31" y="186"/>
                  </a:cubicBezTo>
                  <a:cubicBezTo>
                    <a:pt x="31" y="188"/>
                    <a:pt x="31" y="191"/>
                    <a:pt x="31" y="193"/>
                  </a:cubicBezTo>
                  <a:cubicBezTo>
                    <a:pt x="32" y="198"/>
                    <a:pt x="33" y="204"/>
                    <a:pt x="30" y="208"/>
                  </a:cubicBezTo>
                  <a:cubicBezTo>
                    <a:pt x="29" y="210"/>
                    <a:pt x="26" y="214"/>
                    <a:pt x="22" y="214"/>
                  </a:cubicBezTo>
                  <a:cubicBezTo>
                    <a:pt x="21" y="214"/>
                    <a:pt x="21" y="214"/>
                    <a:pt x="20" y="214"/>
                  </a:cubicBezTo>
                  <a:cubicBezTo>
                    <a:pt x="19" y="213"/>
                    <a:pt x="18" y="213"/>
                    <a:pt x="17" y="212"/>
                  </a:cubicBezTo>
                  <a:cubicBezTo>
                    <a:pt x="15" y="211"/>
                    <a:pt x="13" y="210"/>
                    <a:pt x="11" y="210"/>
                  </a:cubicBezTo>
                  <a:cubicBezTo>
                    <a:pt x="9" y="210"/>
                    <a:pt x="7" y="212"/>
                    <a:pt x="6" y="214"/>
                  </a:cubicBezTo>
                  <a:cubicBezTo>
                    <a:pt x="5" y="215"/>
                    <a:pt x="5" y="217"/>
                    <a:pt x="5" y="218"/>
                  </a:cubicBezTo>
                  <a:cubicBezTo>
                    <a:pt x="5" y="219"/>
                    <a:pt x="5" y="221"/>
                    <a:pt x="5" y="222"/>
                  </a:cubicBezTo>
                  <a:cubicBezTo>
                    <a:pt x="5" y="223"/>
                    <a:pt x="4" y="224"/>
                    <a:pt x="3" y="224"/>
                  </a:cubicBezTo>
                  <a:cubicBezTo>
                    <a:pt x="3" y="225"/>
                    <a:pt x="2" y="226"/>
                    <a:pt x="1" y="227"/>
                  </a:cubicBezTo>
                  <a:cubicBezTo>
                    <a:pt x="0" y="232"/>
                    <a:pt x="6" y="235"/>
                    <a:pt x="10" y="236"/>
                  </a:cubicBezTo>
                  <a:cubicBezTo>
                    <a:pt x="11" y="237"/>
                    <a:pt x="12" y="237"/>
                    <a:pt x="12" y="237"/>
                  </a:cubicBezTo>
                  <a:cubicBezTo>
                    <a:pt x="13" y="237"/>
                    <a:pt x="14" y="237"/>
                    <a:pt x="15" y="236"/>
                  </a:cubicBezTo>
                  <a:cubicBezTo>
                    <a:pt x="15" y="236"/>
                    <a:pt x="16" y="236"/>
                    <a:pt x="17" y="236"/>
                  </a:cubicBezTo>
                  <a:cubicBezTo>
                    <a:pt x="18" y="236"/>
                    <a:pt x="18" y="236"/>
                    <a:pt x="19" y="236"/>
                  </a:cubicBezTo>
                  <a:cubicBezTo>
                    <a:pt x="20" y="237"/>
                    <a:pt x="22" y="238"/>
                    <a:pt x="23" y="240"/>
                  </a:cubicBezTo>
                  <a:cubicBezTo>
                    <a:pt x="24" y="241"/>
                    <a:pt x="24" y="241"/>
                    <a:pt x="24" y="241"/>
                  </a:cubicBezTo>
                  <a:cubicBezTo>
                    <a:pt x="27" y="243"/>
                    <a:pt x="30" y="247"/>
                    <a:pt x="32" y="251"/>
                  </a:cubicBezTo>
                  <a:cubicBezTo>
                    <a:pt x="34" y="255"/>
                    <a:pt x="37" y="258"/>
                    <a:pt x="40" y="261"/>
                  </a:cubicBezTo>
                  <a:cubicBezTo>
                    <a:pt x="40" y="261"/>
                    <a:pt x="41" y="262"/>
                    <a:pt x="41" y="262"/>
                  </a:cubicBezTo>
                  <a:cubicBezTo>
                    <a:pt x="42" y="263"/>
                    <a:pt x="43" y="264"/>
                    <a:pt x="44" y="265"/>
                  </a:cubicBezTo>
                  <a:cubicBezTo>
                    <a:pt x="45" y="267"/>
                    <a:pt x="45" y="267"/>
                    <a:pt x="45" y="267"/>
                  </a:cubicBezTo>
                  <a:cubicBezTo>
                    <a:pt x="46" y="269"/>
                    <a:pt x="47" y="269"/>
                    <a:pt x="49" y="270"/>
                  </a:cubicBezTo>
                  <a:cubicBezTo>
                    <a:pt x="53" y="273"/>
                    <a:pt x="54" y="276"/>
                    <a:pt x="56" y="280"/>
                  </a:cubicBezTo>
                  <a:cubicBezTo>
                    <a:pt x="56" y="281"/>
                    <a:pt x="56" y="281"/>
                    <a:pt x="56" y="281"/>
                  </a:cubicBezTo>
                  <a:cubicBezTo>
                    <a:pt x="58" y="287"/>
                    <a:pt x="60" y="293"/>
                    <a:pt x="62" y="298"/>
                  </a:cubicBezTo>
                  <a:cubicBezTo>
                    <a:pt x="62" y="299"/>
                    <a:pt x="63" y="301"/>
                    <a:pt x="63" y="302"/>
                  </a:cubicBezTo>
                  <a:cubicBezTo>
                    <a:pt x="63" y="303"/>
                    <a:pt x="64" y="305"/>
                    <a:pt x="65" y="306"/>
                  </a:cubicBezTo>
                  <a:cubicBezTo>
                    <a:pt x="65" y="308"/>
                    <a:pt x="66" y="308"/>
                    <a:pt x="67" y="309"/>
                  </a:cubicBezTo>
                  <a:cubicBezTo>
                    <a:pt x="68" y="310"/>
                    <a:pt x="69" y="311"/>
                    <a:pt x="69" y="312"/>
                  </a:cubicBezTo>
                  <a:cubicBezTo>
                    <a:pt x="70" y="313"/>
                    <a:pt x="70" y="313"/>
                    <a:pt x="70" y="313"/>
                  </a:cubicBezTo>
                  <a:cubicBezTo>
                    <a:pt x="70" y="313"/>
                    <a:pt x="70" y="313"/>
                    <a:pt x="70" y="313"/>
                  </a:cubicBezTo>
                  <a:cubicBezTo>
                    <a:pt x="71" y="313"/>
                    <a:pt x="71" y="313"/>
                    <a:pt x="72" y="313"/>
                  </a:cubicBezTo>
                  <a:cubicBezTo>
                    <a:pt x="73" y="313"/>
                    <a:pt x="73" y="313"/>
                    <a:pt x="74" y="313"/>
                  </a:cubicBezTo>
                  <a:cubicBezTo>
                    <a:pt x="75" y="313"/>
                    <a:pt x="76" y="313"/>
                    <a:pt x="76" y="313"/>
                  </a:cubicBezTo>
                  <a:cubicBezTo>
                    <a:pt x="77" y="313"/>
                    <a:pt x="78" y="313"/>
                    <a:pt x="79" y="313"/>
                  </a:cubicBezTo>
                  <a:cubicBezTo>
                    <a:pt x="83" y="315"/>
                    <a:pt x="83" y="318"/>
                    <a:pt x="83" y="323"/>
                  </a:cubicBezTo>
                  <a:cubicBezTo>
                    <a:pt x="83" y="324"/>
                    <a:pt x="83" y="325"/>
                    <a:pt x="83" y="326"/>
                  </a:cubicBezTo>
                  <a:cubicBezTo>
                    <a:pt x="82" y="329"/>
                    <a:pt x="82" y="332"/>
                    <a:pt x="83" y="335"/>
                  </a:cubicBezTo>
                  <a:cubicBezTo>
                    <a:pt x="84" y="337"/>
                    <a:pt x="85" y="339"/>
                    <a:pt x="87" y="340"/>
                  </a:cubicBezTo>
                  <a:cubicBezTo>
                    <a:pt x="87" y="341"/>
                    <a:pt x="88" y="342"/>
                    <a:pt x="89" y="343"/>
                  </a:cubicBezTo>
                  <a:cubicBezTo>
                    <a:pt x="89" y="344"/>
                    <a:pt x="89" y="344"/>
                    <a:pt x="89" y="344"/>
                  </a:cubicBezTo>
                  <a:cubicBezTo>
                    <a:pt x="118" y="344"/>
                    <a:pt x="118" y="344"/>
                    <a:pt x="118" y="344"/>
                  </a:cubicBezTo>
                  <a:cubicBezTo>
                    <a:pt x="153" y="371"/>
                    <a:pt x="153" y="371"/>
                    <a:pt x="153" y="371"/>
                  </a:cubicBezTo>
                  <a:cubicBezTo>
                    <a:pt x="193" y="377"/>
                    <a:pt x="193" y="377"/>
                    <a:pt x="193" y="377"/>
                  </a:cubicBezTo>
                  <a:cubicBezTo>
                    <a:pt x="205" y="359"/>
                    <a:pt x="205" y="359"/>
                    <a:pt x="205" y="359"/>
                  </a:cubicBezTo>
                  <a:cubicBezTo>
                    <a:pt x="229" y="349"/>
                    <a:pt x="229" y="349"/>
                    <a:pt x="229" y="349"/>
                  </a:cubicBezTo>
                  <a:cubicBezTo>
                    <a:pt x="241" y="359"/>
                    <a:pt x="241" y="359"/>
                    <a:pt x="241" y="359"/>
                  </a:cubicBezTo>
                  <a:cubicBezTo>
                    <a:pt x="242" y="359"/>
                    <a:pt x="242" y="359"/>
                    <a:pt x="242" y="359"/>
                  </a:cubicBezTo>
                  <a:cubicBezTo>
                    <a:pt x="243" y="359"/>
                    <a:pt x="245" y="359"/>
                    <a:pt x="246" y="359"/>
                  </a:cubicBezTo>
                  <a:cubicBezTo>
                    <a:pt x="248" y="359"/>
                    <a:pt x="250" y="359"/>
                    <a:pt x="252" y="359"/>
                  </a:cubicBezTo>
                  <a:cubicBezTo>
                    <a:pt x="253" y="359"/>
                    <a:pt x="255" y="359"/>
                    <a:pt x="257" y="359"/>
                  </a:cubicBezTo>
                  <a:cubicBezTo>
                    <a:pt x="260" y="359"/>
                    <a:pt x="262" y="357"/>
                    <a:pt x="264" y="356"/>
                  </a:cubicBezTo>
                  <a:cubicBezTo>
                    <a:pt x="266" y="354"/>
                    <a:pt x="268" y="353"/>
                    <a:pt x="270" y="353"/>
                  </a:cubicBezTo>
                  <a:cubicBezTo>
                    <a:pt x="272" y="352"/>
                    <a:pt x="274" y="352"/>
                    <a:pt x="277" y="352"/>
                  </a:cubicBezTo>
                  <a:cubicBezTo>
                    <a:pt x="280" y="351"/>
                    <a:pt x="284" y="351"/>
                    <a:pt x="287" y="349"/>
                  </a:cubicBezTo>
                  <a:cubicBezTo>
                    <a:pt x="289" y="348"/>
                    <a:pt x="291" y="346"/>
                    <a:pt x="292" y="344"/>
                  </a:cubicBezTo>
                  <a:cubicBezTo>
                    <a:pt x="293" y="342"/>
                    <a:pt x="293" y="341"/>
                    <a:pt x="295" y="340"/>
                  </a:cubicBezTo>
                  <a:cubicBezTo>
                    <a:pt x="297" y="337"/>
                    <a:pt x="302" y="335"/>
                    <a:pt x="306" y="333"/>
                  </a:cubicBezTo>
                  <a:cubicBezTo>
                    <a:pt x="306" y="333"/>
                    <a:pt x="307" y="332"/>
                    <a:pt x="308" y="332"/>
                  </a:cubicBezTo>
                  <a:cubicBezTo>
                    <a:pt x="312" y="330"/>
                    <a:pt x="316" y="328"/>
                    <a:pt x="319" y="328"/>
                  </a:cubicBezTo>
                  <a:cubicBezTo>
                    <a:pt x="319" y="328"/>
                    <a:pt x="320" y="328"/>
                    <a:pt x="320" y="328"/>
                  </a:cubicBezTo>
                  <a:cubicBezTo>
                    <a:pt x="320" y="328"/>
                    <a:pt x="320" y="328"/>
                    <a:pt x="320" y="328"/>
                  </a:cubicBezTo>
                  <a:cubicBezTo>
                    <a:pt x="352" y="328"/>
                    <a:pt x="352" y="328"/>
                    <a:pt x="352" y="328"/>
                  </a:cubicBezTo>
                  <a:cubicBezTo>
                    <a:pt x="438" y="225"/>
                    <a:pt x="438" y="225"/>
                    <a:pt x="438" y="225"/>
                  </a:cubicBezTo>
                  <a:lnTo>
                    <a:pt x="410" y="226"/>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49" name="Freeform 49">
              <a:extLst>
                <a:ext uri="{FF2B5EF4-FFF2-40B4-BE49-F238E27FC236}">
                  <a16:creationId xmlns:a16="http://schemas.microsoft.com/office/drawing/2014/main" id="{27A5B6EA-E76F-4D80-978E-BC997ABF0B7E}"/>
                </a:ext>
              </a:extLst>
            </p:cNvPr>
            <p:cNvSpPr>
              <a:spLocks/>
            </p:cNvSpPr>
            <p:nvPr/>
          </p:nvSpPr>
          <p:spPr bwMode="auto">
            <a:xfrm>
              <a:off x="3710876" y="2583327"/>
              <a:ext cx="641713" cy="661614"/>
            </a:xfrm>
            <a:custGeom>
              <a:avLst/>
              <a:gdLst>
                <a:gd name="T0" fmla="*/ 291 w 317"/>
                <a:gd name="T1" fmla="*/ 275 h 355"/>
                <a:gd name="T2" fmla="*/ 285 w 317"/>
                <a:gd name="T3" fmla="*/ 252 h 355"/>
                <a:gd name="T4" fmla="*/ 287 w 317"/>
                <a:gd name="T5" fmla="*/ 232 h 355"/>
                <a:gd name="T6" fmla="*/ 282 w 317"/>
                <a:gd name="T7" fmla="*/ 219 h 355"/>
                <a:gd name="T8" fmla="*/ 282 w 317"/>
                <a:gd name="T9" fmla="*/ 189 h 355"/>
                <a:gd name="T10" fmla="*/ 270 w 317"/>
                <a:gd name="T11" fmla="*/ 176 h 355"/>
                <a:gd name="T12" fmla="*/ 275 w 317"/>
                <a:gd name="T13" fmla="*/ 147 h 355"/>
                <a:gd name="T14" fmla="*/ 280 w 317"/>
                <a:gd name="T15" fmla="*/ 130 h 355"/>
                <a:gd name="T16" fmla="*/ 240 w 317"/>
                <a:gd name="T17" fmla="*/ 92 h 355"/>
                <a:gd name="T18" fmla="*/ 235 w 317"/>
                <a:gd name="T19" fmla="*/ 79 h 355"/>
                <a:gd name="T20" fmla="*/ 181 w 317"/>
                <a:gd name="T21" fmla="*/ 34 h 355"/>
                <a:gd name="T22" fmla="*/ 127 w 317"/>
                <a:gd name="T23" fmla="*/ 1 h 355"/>
                <a:gd name="T24" fmla="*/ 122 w 317"/>
                <a:gd name="T25" fmla="*/ 12 h 355"/>
                <a:gd name="T26" fmla="*/ 116 w 317"/>
                <a:gd name="T27" fmla="*/ 21 h 355"/>
                <a:gd name="T28" fmla="*/ 113 w 317"/>
                <a:gd name="T29" fmla="*/ 25 h 355"/>
                <a:gd name="T30" fmla="*/ 109 w 317"/>
                <a:gd name="T31" fmla="*/ 32 h 355"/>
                <a:gd name="T32" fmla="*/ 114 w 317"/>
                <a:gd name="T33" fmla="*/ 42 h 355"/>
                <a:gd name="T34" fmla="*/ 114 w 317"/>
                <a:gd name="T35" fmla="*/ 46 h 355"/>
                <a:gd name="T36" fmla="*/ 107 w 317"/>
                <a:gd name="T37" fmla="*/ 49 h 355"/>
                <a:gd name="T38" fmla="*/ 93 w 317"/>
                <a:gd name="T39" fmla="*/ 49 h 355"/>
                <a:gd name="T40" fmla="*/ 85 w 317"/>
                <a:gd name="T41" fmla="*/ 47 h 355"/>
                <a:gd name="T42" fmla="*/ 73 w 317"/>
                <a:gd name="T43" fmla="*/ 46 h 355"/>
                <a:gd name="T44" fmla="*/ 67 w 317"/>
                <a:gd name="T45" fmla="*/ 51 h 355"/>
                <a:gd name="T46" fmla="*/ 62 w 317"/>
                <a:gd name="T47" fmla="*/ 43 h 355"/>
                <a:gd name="T48" fmla="*/ 62 w 317"/>
                <a:gd name="T49" fmla="*/ 33 h 355"/>
                <a:gd name="T50" fmla="*/ 66 w 317"/>
                <a:gd name="T51" fmla="*/ 18 h 355"/>
                <a:gd name="T52" fmla="*/ 66 w 317"/>
                <a:gd name="T53" fmla="*/ 1 h 355"/>
                <a:gd name="T54" fmla="*/ 52 w 317"/>
                <a:gd name="T55" fmla="*/ 0 h 355"/>
                <a:gd name="T56" fmla="*/ 32 w 317"/>
                <a:gd name="T57" fmla="*/ 3 h 355"/>
                <a:gd name="T58" fmla="*/ 27 w 317"/>
                <a:gd name="T59" fmla="*/ 7 h 355"/>
                <a:gd name="T60" fmla="*/ 37 w 317"/>
                <a:gd name="T61" fmla="*/ 27 h 355"/>
                <a:gd name="T62" fmla="*/ 29 w 317"/>
                <a:gd name="T63" fmla="*/ 46 h 355"/>
                <a:gd name="T64" fmla="*/ 28 w 317"/>
                <a:gd name="T65" fmla="*/ 47 h 355"/>
                <a:gd name="T66" fmla="*/ 30 w 317"/>
                <a:gd name="T67" fmla="*/ 65 h 355"/>
                <a:gd name="T68" fmla="*/ 26 w 317"/>
                <a:gd name="T69" fmla="*/ 85 h 355"/>
                <a:gd name="T70" fmla="*/ 13 w 317"/>
                <a:gd name="T71" fmla="*/ 109 h 355"/>
                <a:gd name="T72" fmla="*/ 7 w 317"/>
                <a:gd name="T73" fmla="*/ 114 h 355"/>
                <a:gd name="T74" fmla="*/ 2 w 317"/>
                <a:gd name="T75" fmla="*/ 132 h 355"/>
                <a:gd name="T76" fmla="*/ 3 w 317"/>
                <a:gd name="T77" fmla="*/ 165 h 355"/>
                <a:gd name="T78" fmla="*/ 27 w 317"/>
                <a:gd name="T79" fmla="*/ 208 h 355"/>
                <a:gd name="T80" fmla="*/ 33 w 317"/>
                <a:gd name="T81" fmla="*/ 228 h 355"/>
                <a:gd name="T82" fmla="*/ 53 w 317"/>
                <a:gd name="T83" fmla="*/ 254 h 355"/>
                <a:gd name="T84" fmla="*/ 69 w 317"/>
                <a:gd name="T85" fmla="*/ 265 h 355"/>
                <a:gd name="T86" fmla="*/ 73 w 317"/>
                <a:gd name="T87" fmla="*/ 268 h 355"/>
                <a:gd name="T88" fmla="*/ 86 w 317"/>
                <a:gd name="T89" fmla="*/ 273 h 355"/>
                <a:gd name="T90" fmla="*/ 100 w 317"/>
                <a:gd name="T91" fmla="*/ 282 h 355"/>
                <a:gd name="T92" fmla="*/ 116 w 317"/>
                <a:gd name="T93" fmla="*/ 284 h 355"/>
                <a:gd name="T94" fmla="*/ 129 w 317"/>
                <a:gd name="T95" fmla="*/ 283 h 355"/>
                <a:gd name="T96" fmla="*/ 143 w 317"/>
                <a:gd name="T97" fmla="*/ 327 h 355"/>
                <a:gd name="T98" fmla="*/ 151 w 317"/>
                <a:gd name="T99" fmla="*/ 351 h 355"/>
                <a:gd name="T100" fmla="*/ 165 w 317"/>
                <a:gd name="T101" fmla="*/ 351 h 355"/>
                <a:gd name="T102" fmla="*/ 187 w 317"/>
                <a:gd name="T103" fmla="*/ 351 h 355"/>
                <a:gd name="T104" fmla="*/ 199 w 317"/>
                <a:gd name="T105" fmla="*/ 354 h 355"/>
                <a:gd name="T106" fmla="*/ 211 w 317"/>
                <a:gd name="T107" fmla="*/ 351 h 355"/>
                <a:gd name="T108" fmla="*/ 236 w 317"/>
                <a:gd name="T109" fmla="*/ 347 h 355"/>
                <a:gd name="T110" fmla="*/ 255 w 317"/>
                <a:gd name="T111" fmla="*/ 345 h 355"/>
                <a:gd name="T112" fmla="*/ 275 w 317"/>
                <a:gd name="T113" fmla="*/ 337 h 355"/>
                <a:gd name="T114" fmla="*/ 297 w 317"/>
                <a:gd name="T115" fmla="*/ 326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7" h="355">
                  <a:moveTo>
                    <a:pt x="315" y="311"/>
                  </a:moveTo>
                  <a:cubicBezTo>
                    <a:pt x="314" y="308"/>
                    <a:pt x="312" y="306"/>
                    <a:pt x="308" y="305"/>
                  </a:cubicBezTo>
                  <a:cubicBezTo>
                    <a:pt x="305" y="304"/>
                    <a:pt x="303" y="303"/>
                    <a:pt x="300" y="301"/>
                  </a:cubicBezTo>
                  <a:cubicBezTo>
                    <a:pt x="297" y="298"/>
                    <a:pt x="296" y="294"/>
                    <a:pt x="294" y="289"/>
                  </a:cubicBezTo>
                  <a:cubicBezTo>
                    <a:pt x="293" y="285"/>
                    <a:pt x="292" y="280"/>
                    <a:pt x="291" y="275"/>
                  </a:cubicBezTo>
                  <a:cubicBezTo>
                    <a:pt x="291" y="272"/>
                    <a:pt x="290" y="269"/>
                    <a:pt x="289" y="267"/>
                  </a:cubicBezTo>
                  <a:cubicBezTo>
                    <a:pt x="289" y="265"/>
                    <a:pt x="288" y="264"/>
                    <a:pt x="288" y="262"/>
                  </a:cubicBezTo>
                  <a:cubicBezTo>
                    <a:pt x="287" y="260"/>
                    <a:pt x="286" y="258"/>
                    <a:pt x="286" y="256"/>
                  </a:cubicBezTo>
                  <a:cubicBezTo>
                    <a:pt x="286" y="255"/>
                    <a:pt x="286" y="255"/>
                    <a:pt x="286" y="255"/>
                  </a:cubicBezTo>
                  <a:cubicBezTo>
                    <a:pt x="285" y="254"/>
                    <a:pt x="285" y="253"/>
                    <a:pt x="285" y="252"/>
                  </a:cubicBezTo>
                  <a:cubicBezTo>
                    <a:pt x="284" y="251"/>
                    <a:pt x="284" y="250"/>
                    <a:pt x="283" y="250"/>
                  </a:cubicBezTo>
                  <a:cubicBezTo>
                    <a:pt x="283" y="250"/>
                    <a:pt x="283" y="249"/>
                    <a:pt x="283" y="249"/>
                  </a:cubicBezTo>
                  <a:cubicBezTo>
                    <a:pt x="282" y="248"/>
                    <a:pt x="282" y="245"/>
                    <a:pt x="283" y="244"/>
                  </a:cubicBezTo>
                  <a:cubicBezTo>
                    <a:pt x="283" y="242"/>
                    <a:pt x="284" y="241"/>
                    <a:pt x="285" y="239"/>
                  </a:cubicBezTo>
                  <a:cubicBezTo>
                    <a:pt x="286" y="237"/>
                    <a:pt x="287" y="235"/>
                    <a:pt x="287" y="232"/>
                  </a:cubicBezTo>
                  <a:cubicBezTo>
                    <a:pt x="287" y="229"/>
                    <a:pt x="287" y="226"/>
                    <a:pt x="286" y="225"/>
                  </a:cubicBezTo>
                  <a:cubicBezTo>
                    <a:pt x="285" y="224"/>
                    <a:pt x="284" y="223"/>
                    <a:pt x="284" y="222"/>
                  </a:cubicBezTo>
                  <a:cubicBezTo>
                    <a:pt x="283" y="222"/>
                    <a:pt x="283" y="222"/>
                    <a:pt x="283" y="222"/>
                  </a:cubicBezTo>
                  <a:cubicBezTo>
                    <a:pt x="282" y="221"/>
                    <a:pt x="282" y="221"/>
                    <a:pt x="282" y="220"/>
                  </a:cubicBezTo>
                  <a:cubicBezTo>
                    <a:pt x="282" y="220"/>
                    <a:pt x="282" y="220"/>
                    <a:pt x="282" y="219"/>
                  </a:cubicBezTo>
                  <a:cubicBezTo>
                    <a:pt x="282" y="216"/>
                    <a:pt x="283" y="213"/>
                    <a:pt x="285" y="210"/>
                  </a:cubicBezTo>
                  <a:cubicBezTo>
                    <a:pt x="285" y="210"/>
                    <a:pt x="286" y="209"/>
                    <a:pt x="286" y="209"/>
                  </a:cubicBezTo>
                  <a:cubicBezTo>
                    <a:pt x="288" y="206"/>
                    <a:pt x="290" y="203"/>
                    <a:pt x="290" y="200"/>
                  </a:cubicBezTo>
                  <a:cubicBezTo>
                    <a:pt x="290" y="196"/>
                    <a:pt x="287" y="193"/>
                    <a:pt x="285" y="191"/>
                  </a:cubicBezTo>
                  <a:cubicBezTo>
                    <a:pt x="284" y="190"/>
                    <a:pt x="283" y="189"/>
                    <a:pt x="282" y="189"/>
                  </a:cubicBezTo>
                  <a:cubicBezTo>
                    <a:pt x="282" y="188"/>
                    <a:pt x="281" y="187"/>
                    <a:pt x="281" y="186"/>
                  </a:cubicBezTo>
                  <a:cubicBezTo>
                    <a:pt x="280" y="185"/>
                    <a:pt x="279" y="184"/>
                    <a:pt x="278" y="183"/>
                  </a:cubicBezTo>
                  <a:cubicBezTo>
                    <a:pt x="277" y="181"/>
                    <a:pt x="275" y="181"/>
                    <a:pt x="274" y="181"/>
                  </a:cubicBezTo>
                  <a:cubicBezTo>
                    <a:pt x="273" y="180"/>
                    <a:pt x="273" y="180"/>
                    <a:pt x="272" y="180"/>
                  </a:cubicBezTo>
                  <a:cubicBezTo>
                    <a:pt x="271" y="180"/>
                    <a:pt x="271" y="178"/>
                    <a:pt x="270" y="176"/>
                  </a:cubicBezTo>
                  <a:cubicBezTo>
                    <a:pt x="270" y="176"/>
                    <a:pt x="270" y="175"/>
                    <a:pt x="270" y="174"/>
                  </a:cubicBezTo>
                  <a:cubicBezTo>
                    <a:pt x="270" y="172"/>
                    <a:pt x="270" y="171"/>
                    <a:pt x="270" y="169"/>
                  </a:cubicBezTo>
                  <a:cubicBezTo>
                    <a:pt x="269" y="167"/>
                    <a:pt x="269" y="166"/>
                    <a:pt x="269" y="164"/>
                  </a:cubicBezTo>
                  <a:cubicBezTo>
                    <a:pt x="269" y="161"/>
                    <a:pt x="270" y="158"/>
                    <a:pt x="272" y="155"/>
                  </a:cubicBezTo>
                  <a:cubicBezTo>
                    <a:pt x="274" y="153"/>
                    <a:pt x="274" y="150"/>
                    <a:pt x="275" y="147"/>
                  </a:cubicBezTo>
                  <a:cubicBezTo>
                    <a:pt x="276" y="145"/>
                    <a:pt x="276" y="145"/>
                    <a:pt x="276" y="145"/>
                  </a:cubicBezTo>
                  <a:cubicBezTo>
                    <a:pt x="276" y="143"/>
                    <a:pt x="277" y="141"/>
                    <a:pt x="277" y="140"/>
                  </a:cubicBezTo>
                  <a:cubicBezTo>
                    <a:pt x="278" y="138"/>
                    <a:pt x="278" y="137"/>
                    <a:pt x="279" y="135"/>
                  </a:cubicBezTo>
                  <a:cubicBezTo>
                    <a:pt x="279" y="134"/>
                    <a:pt x="279" y="134"/>
                    <a:pt x="279" y="134"/>
                  </a:cubicBezTo>
                  <a:cubicBezTo>
                    <a:pt x="280" y="133"/>
                    <a:pt x="280" y="132"/>
                    <a:pt x="280" y="130"/>
                  </a:cubicBezTo>
                  <a:cubicBezTo>
                    <a:pt x="281" y="129"/>
                    <a:pt x="281" y="128"/>
                    <a:pt x="281" y="127"/>
                  </a:cubicBezTo>
                  <a:cubicBezTo>
                    <a:pt x="282" y="125"/>
                    <a:pt x="282" y="125"/>
                    <a:pt x="282" y="125"/>
                  </a:cubicBezTo>
                  <a:cubicBezTo>
                    <a:pt x="244" y="94"/>
                    <a:pt x="244" y="94"/>
                    <a:pt x="244" y="94"/>
                  </a:cubicBezTo>
                  <a:cubicBezTo>
                    <a:pt x="244" y="94"/>
                    <a:pt x="243" y="94"/>
                    <a:pt x="243" y="94"/>
                  </a:cubicBezTo>
                  <a:cubicBezTo>
                    <a:pt x="242" y="93"/>
                    <a:pt x="241" y="93"/>
                    <a:pt x="240" y="92"/>
                  </a:cubicBezTo>
                  <a:cubicBezTo>
                    <a:pt x="240" y="91"/>
                    <a:pt x="240" y="90"/>
                    <a:pt x="240" y="89"/>
                  </a:cubicBezTo>
                  <a:cubicBezTo>
                    <a:pt x="240" y="89"/>
                    <a:pt x="240" y="88"/>
                    <a:pt x="239" y="87"/>
                  </a:cubicBezTo>
                  <a:cubicBezTo>
                    <a:pt x="239" y="86"/>
                    <a:pt x="238" y="86"/>
                    <a:pt x="236" y="85"/>
                  </a:cubicBezTo>
                  <a:cubicBezTo>
                    <a:pt x="235" y="85"/>
                    <a:pt x="234" y="84"/>
                    <a:pt x="234" y="83"/>
                  </a:cubicBezTo>
                  <a:cubicBezTo>
                    <a:pt x="233" y="82"/>
                    <a:pt x="234" y="80"/>
                    <a:pt x="235" y="79"/>
                  </a:cubicBezTo>
                  <a:cubicBezTo>
                    <a:pt x="235" y="77"/>
                    <a:pt x="236" y="76"/>
                    <a:pt x="236" y="75"/>
                  </a:cubicBezTo>
                  <a:cubicBezTo>
                    <a:pt x="236" y="72"/>
                    <a:pt x="234" y="69"/>
                    <a:pt x="232" y="66"/>
                  </a:cubicBezTo>
                  <a:cubicBezTo>
                    <a:pt x="230" y="63"/>
                    <a:pt x="226" y="61"/>
                    <a:pt x="223" y="59"/>
                  </a:cubicBezTo>
                  <a:cubicBezTo>
                    <a:pt x="221" y="59"/>
                    <a:pt x="220" y="58"/>
                    <a:pt x="218" y="57"/>
                  </a:cubicBezTo>
                  <a:cubicBezTo>
                    <a:pt x="206" y="49"/>
                    <a:pt x="193" y="41"/>
                    <a:pt x="181" y="34"/>
                  </a:cubicBezTo>
                  <a:cubicBezTo>
                    <a:pt x="181" y="34"/>
                    <a:pt x="181" y="34"/>
                    <a:pt x="181" y="34"/>
                  </a:cubicBezTo>
                  <a:cubicBezTo>
                    <a:pt x="174" y="29"/>
                    <a:pt x="167" y="25"/>
                    <a:pt x="160" y="21"/>
                  </a:cubicBezTo>
                  <a:cubicBezTo>
                    <a:pt x="156" y="18"/>
                    <a:pt x="151" y="16"/>
                    <a:pt x="147" y="13"/>
                  </a:cubicBezTo>
                  <a:cubicBezTo>
                    <a:pt x="141" y="9"/>
                    <a:pt x="135" y="6"/>
                    <a:pt x="129" y="2"/>
                  </a:cubicBezTo>
                  <a:cubicBezTo>
                    <a:pt x="127" y="1"/>
                    <a:pt x="127" y="1"/>
                    <a:pt x="127" y="1"/>
                  </a:cubicBezTo>
                  <a:cubicBezTo>
                    <a:pt x="126" y="3"/>
                    <a:pt x="126" y="3"/>
                    <a:pt x="126" y="3"/>
                  </a:cubicBezTo>
                  <a:cubicBezTo>
                    <a:pt x="126" y="3"/>
                    <a:pt x="126" y="3"/>
                    <a:pt x="126" y="3"/>
                  </a:cubicBezTo>
                  <a:cubicBezTo>
                    <a:pt x="125" y="5"/>
                    <a:pt x="125" y="6"/>
                    <a:pt x="124" y="7"/>
                  </a:cubicBezTo>
                  <a:cubicBezTo>
                    <a:pt x="124" y="7"/>
                    <a:pt x="124" y="8"/>
                    <a:pt x="124" y="8"/>
                  </a:cubicBezTo>
                  <a:cubicBezTo>
                    <a:pt x="122" y="9"/>
                    <a:pt x="122" y="11"/>
                    <a:pt x="122" y="12"/>
                  </a:cubicBezTo>
                  <a:cubicBezTo>
                    <a:pt x="122" y="13"/>
                    <a:pt x="121" y="14"/>
                    <a:pt x="121" y="14"/>
                  </a:cubicBezTo>
                  <a:cubicBezTo>
                    <a:pt x="121" y="15"/>
                    <a:pt x="120" y="15"/>
                    <a:pt x="120" y="15"/>
                  </a:cubicBezTo>
                  <a:cubicBezTo>
                    <a:pt x="119" y="15"/>
                    <a:pt x="117" y="16"/>
                    <a:pt x="116" y="18"/>
                  </a:cubicBezTo>
                  <a:cubicBezTo>
                    <a:pt x="115" y="19"/>
                    <a:pt x="116" y="20"/>
                    <a:pt x="116" y="21"/>
                  </a:cubicBezTo>
                  <a:cubicBezTo>
                    <a:pt x="116" y="21"/>
                    <a:pt x="116" y="21"/>
                    <a:pt x="116" y="21"/>
                  </a:cubicBezTo>
                  <a:cubicBezTo>
                    <a:pt x="116" y="21"/>
                    <a:pt x="116" y="21"/>
                    <a:pt x="116" y="21"/>
                  </a:cubicBezTo>
                  <a:cubicBezTo>
                    <a:pt x="116" y="21"/>
                    <a:pt x="116" y="21"/>
                    <a:pt x="116" y="21"/>
                  </a:cubicBezTo>
                  <a:cubicBezTo>
                    <a:pt x="115" y="22"/>
                    <a:pt x="115" y="22"/>
                    <a:pt x="115" y="23"/>
                  </a:cubicBezTo>
                  <a:cubicBezTo>
                    <a:pt x="115" y="23"/>
                    <a:pt x="114" y="23"/>
                    <a:pt x="114" y="23"/>
                  </a:cubicBezTo>
                  <a:cubicBezTo>
                    <a:pt x="114" y="24"/>
                    <a:pt x="113" y="24"/>
                    <a:pt x="113" y="25"/>
                  </a:cubicBezTo>
                  <a:cubicBezTo>
                    <a:pt x="113" y="25"/>
                    <a:pt x="113" y="26"/>
                    <a:pt x="113" y="27"/>
                  </a:cubicBezTo>
                  <a:cubicBezTo>
                    <a:pt x="112" y="27"/>
                    <a:pt x="111" y="27"/>
                    <a:pt x="110" y="28"/>
                  </a:cubicBezTo>
                  <a:cubicBezTo>
                    <a:pt x="110" y="29"/>
                    <a:pt x="110" y="30"/>
                    <a:pt x="110" y="31"/>
                  </a:cubicBezTo>
                  <a:cubicBezTo>
                    <a:pt x="109" y="31"/>
                    <a:pt x="109" y="32"/>
                    <a:pt x="109" y="32"/>
                  </a:cubicBezTo>
                  <a:cubicBezTo>
                    <a:pt x="109" y="32"/>
                    <a:pt x="109" y="32"/>
                    <a:pt x="109" y="32"/>
                  </a:cubicBezTo>
                  <a:cubicBezTo>
                    <a:pt x="109" y="32"/>
                    <a:pt x="109" y="32"/>
                    <a:pt x="108" y="32"/>
                  </a:cubicBezTo>
                  <a:cubicBezTo>
                    <a:pt x="107" y="32"/>
                    <a:pt x="107" y="32"/>
                    <a:pt x="106" y="32"/>
                  </a:cubicBezTo>
                  <a:cubicBezTo>
                    <a:pt x="104" y="34"/>
                    <a:pt x="104" y="36"/>
                    <a:pt x="104" y="37"/>
                  </a:cubicBezTo>
                  <a:cubicBezTo>
                    <a:pt x="105" y="40"/>
                    <a:pt x="110" y="41"/>
                    <a:pt x="113" y="42"/>
                  </a:cubicBezTo>
                  <a:cubicBezTo>
                    <a:pt x="113" y="42"/>
                    <a:pt x="114" y="42"/>
                    <a:pt x="114" y="42"/>
                  </a:cubicBezTo>
                  <a:cubicBezTo>
                    <a:pt x="116" y="42"/>
                    <a:pt x="117" y="42"/>
                    <a:pt x="119" y="41"/>
                  </a:cubicBezTo>
                  <a:cubicBezTo>
                    <a:pt x="120" y="41"/>
                    <a:pt x="120" y="41"/>
                    <a:pt x="121" y="40"/>
                  </a:cubicBezTo>
                  <a:cubicBezTo>
                    <a:pt x="121" y="42"/>
                    <a:pt x="120" y="43"/>
                    <a:pt x="117" y="45"/>
                  </a:cubicBezTo>
                  <a:cubicBezTo>
                    <a:pt x="117" y="45"/>
                    <a:pt x="116" y="45"/>
                    <a:pt x="116" y="45"/>
                  </a:cubicBezTo>
                  <a:cubicBezTo>
                    <a:pt x="115" y="46"/>
                    <a:pt x="114" y="46"/>
                    <a:pt x="114" y="46"/>
                  </a:cubicBezTo>
                  <a:cubicBezTo>
                    <a:pt x="113" y="47"/>
                    <a:pt x="112" y="48"/>
                    <a:pt x="112" y="48"/>
                  </a:cubicBezTo>
                  <a:cubicBezTo>
                    <a:pt x="111" y="49"/>
                    <a:pt x="111" y="49"/>
                    <a:pt x="111" y="49"/>
                  </a:cubicBezTo>
                  <a:cubicBezTo>
                    <a:pt x="110" y="50"/>
                    <a:pt x="109" y="50"/>
                    <a:pt x="108" y="50"/>
                  </a:cubicBezTo>
                  <a:cubicBezTo>
                    <a:pt x="108" y="50"/>
                    <a:pt x="108" y="50"/>
                    <a:pt x="108" y="50"/>
                  </a:cubicBezTo>
                  <a:cubicBezTo>
                    <a:pt x="107" y="50"/>
                    <a:pt x="107" y="50"/>
                    <a:pt x="107" y="49"/>
                  </a:cubicBezTo>
                  <a:cubicBezTo>
                    <a:pt x="107" y="49"/>
                    <a:pt x="106" y="48"/>
                    <a:pt x="105" y="47"/>
                  </a:cubicBezTo>
                  <a:cubicBezTo>
                    <a:pt x="104" y="46"/>
                    <a:pt x="103" y="45"/>
                    <a:pt x="101" y="45"/>
                  </a:cubicBezTo>
                  <a:cubicBezTo>
                    <a:pt x="99" y="45"/>
                    <a:pt x="98" y="47"/>
                    <a:pt x="97" y="48"/>
                  </a:cubicBezTo>
                  <a:cubicBezTo>
                    <a:pt x="96" y="49"/>
                    <a:pt x="95" y="49"/>
                    <a:pt x="95" y="49"/>
                  </a:cubicBezTo>
                  <a:cubicBezTo>
                    <a:pt x="95" y="49"/>
                    <a:pt x="93" y="49"/>
                    <a:pt x="93" y="49"/>
                  </a:cubicBezTo>
                  <a:cubicBezTo>
                    <a:pt x="92" y="49"/>
                    <a:pt x="91" y="48"/>
                    <a:pt x="91" y="48"/>
                  </a:cubicBezTo>
                  <a:cubicBezTo>
                    <a:pt x="91" y="48"/>
                    <a:pt x="90" y="48"/>
                    <a:pt x="90" y="48"/>
                  </a:cubicBezTo>
                  <a:cubicBezTo>
                    <a:pt x="89" y="48"/>
                    <a:pt x="88" y="48"/>
                    <a:pt x="88" y="47"/>
                  </a:cubicBezTo>
                  <a:cubicBezTo>
                    <a:pt x="86" y="46"/>
                    <a:pt x="86" y="46"/>
                    <a:pt x="86" y="46"/>
                  </a:cubicBezTo>
                  <a:cubicBezTo>
                    <a:pt x="85" y="47"/>
                    <a:pt x="85" y="47"/>
                    <a:pt x="85" y="47"/>
                  </a:cubicBezTo>
                  <a:cubicBezTo>
                    <a:pt x="85" y="47"/>
                    <a:pt x="84" y="48"/>
                    <a:pt x="84" y="48"/>
                  </a:cubicBezTo>
                  <a:cubicBezTo>
                    <a:pt x="84" y="47"/>
                    <a:pt x="84" y="47"/>
                    <a:pt x="84" y="47"/>
                  </a:cubicBezTo>
                  <a:cubicBezTo>
                    <a:pt x="84" y="45"/>
                    <a:pt x="84" y="43"/>
                    <a:pt x="82" y="42"/>
                  </a:cubicBezTo>
                  <a:cubicBezTo>
                    <a:pt x="82" y="41"/>
                    <a:pt x="81" y="41"/>
                    <a:pt x="80" y="41"/>
                  </a:cubicBezTo>
                  <a:cubicBezTo>
                    <a:pt x="77" y="41"/>
                    <a:pt x="75" y="44"/>
                    <a:pt x="73" y="46"/>
                  </a:cubicBezTo>
                  <a:cubicBezTo>
                    <a:pt x="73" y="46"/>
                    <a:pt x="73" y="46"/>
                    <a:pt x="73" y="46"/>
                  </a:cubicBezTo>
                  <a:cubicBezTo>
                    <a:pt x="72" y="47"/>
                    <a:pt x="72" y="47"/>
                    <a:pt x="71" y="48"/>
                  </a:cubicBezTo>
                  <a:cubicBezTo>
                    <a:pt x="71" y="48"/>
                    <a:pt x="70" y="48"/>
                    <a:pt x="70" y="49"/>
                  </a:cubicBezTo>
                  <a:cubicBezTo>
                    <a:pt x="70" y="49"/>
                    <a:pt x="69" y="49"/>
                    <a:pt x="69" y="50"/>
                  </a:cubicBezTo>
                  <a:cubicBezTo>
                    <a:pt x="68" y="50"/>
                    <a:pt x="67" y="51"/>
                    <a:pt x="67" y="51"/>
                  </a:cubicBezTo>
                  <a:cubicBezTo>
                    <a:pt x="66" y="52"/>
                    <a:pt x="66" y="53"/>
                    <a:pt x="66" y="53"/>
                  </a:cubicBezTo>
                  <a:cubicBezTo>
                    <a:pt x="65" y="53"/>
                    <a:pt x="65" y="52"/>
                    <a:pt x="65" y="52"/>
                  </a:cubicBezTo>
                  <a:cubicBezTo>
                    <a:pt x="65" y="51"/>
                    <a:pt x="65" y="50"/>
                    <a:pt x="65" y="50"/>
                  </a:cubicBezTo>
                  <a:cubicBezTo>
                    <a:pt x="65" y="48"/>
                    <a:pt x="66" y="46"/>
                    <a:pt x="64" y="45"/>
                  </a:cubicBezTo>
                  <a:cubicBezTo>
                    <a:pt x="64" y="44"/>
                    <a:pt x="63" y="44"/>
                    <a:pt x="62" y="43"/>
                  </a:cubicBezTo>
                  <a:cubicBezTo>
                    <a:pt x="63" y="43"/>
                    <a:pt x="63" y="42"/>
                    <a:pt x="63" y="42"/>
                  </a:cubicBezTo>
                  <a:cubicBezTo>
                    <a:pt x="63" y="40"/>
                    <a:pt x="64" y="39"/>
                    <a:pt x="64" y="37"/>
                  </a:cubicBezTo>
                  <a:cubicBezTo>
                    <a:pt x="63" y="36"/>
                    <a:pt x="63" y="35"/>
                    <a:pt x="62" y="34"/>
                  </a:cubicBezTo>
                  <a:cubicBezTo>
                    <a:pt x="62" y="34"/>
                    <a:pt x="62" y="34"/>
                    <a:pt x="62" y="34"/>
                  </a:cubicBezTo>
                  <a:cubicBezTo>
                    <a:pt x="62" y="34"/>
                    <a:pt x="62" y="33"/>
                    <a:pt x="62" y="33"/>
                  </a:cubicBezTo>
                  <a:cubicBezTo>
                    <a:pt x="62" y="33"/>
                    <a:pt x="62" y="32"/>
                    <a:pt x="63" y="31"/>
                  </a:cubicBezTo>
                  <a:cubicBezTo>
                    <a:pt x="63" y="30"/>
                    <a:pt x="63" y="30"/>
                    <a:pt x="63" y="29"/>
                  </a:cubicBezTo>
                  <a:cubicBezTo>
                    <a:pt x="63" y="27"/>
                    <a:pt x="63" y="26"/>
                    <a:pt x="64" y="25"/>
                  </a:cubicBezTo>
                  <a:cubicBezTo>
                    <a:pt x="65" y="24"/>
                    <a:pt x="65" y="24"/>
                    <a:pt x="65" y="24"/>
                  </a:cubicBezTo>
                  <a:cubicBezTo>
                    <a:pt x="66" y="22"/>
                    <a:pt x="66" y="21"/>
                    <a:pt x="66" y="18"/>
                  </a:cubicBezTo>
                  <a:cubicBezTo>
                    <a:pt x="66" y="16"/>
                    <a:pt x="67" y="15"/>
                    <a:pt x="67" y="13"/>
                  </a:cubicBezTo>
                  <a:cubicBezTo>
                    <a:pt x="68" y="10"/>
                    <a:pt x="69" y="7"/>
                    <a:pt x="68" y="4"/>
                  </a:cubicBezTo>
                  <a:cubicBezTo>
                    <a:pt x="68" y="3"/>
                    <a:pt x="68" y="3"/>
                    <a:pt x="68" y="2"/>
                  </a:cubicBezTo>
                  <a:cubicBezTo>
                    <a:pt x="68" y="1"/>
                    <a:pt x="68" y="1"/>
                    <a:pt x="68" y="1"/>
                  </a:cubicBezTo>
                  <a:cubicBezTo>
                    <a:pt x="66" y="1"/>
                    <a:pt x="66" y="1"/>
                    <a:pt x="66" y="1"/>
                  </a:cubicBezTo>
                  <a:cubicBezTo>
                    <a:pt x="66" y="1"/>
                    <a:pt x="65" y="1"/>
                    <a:pt x="65" y="1"/>
                  </a:cubicBezTo>
                  <a:cubicBezTo>
                    <a:pt x="64" y="1"/>
                    <a:pt x="63" y="1"/>
                    <a:pt x="63" y="1"/>
                  </a:cubicBezTo>
                  <a:cubicBezTo>
                    <a:pt x="62" y="0"/>
                    <a:pt x="62" y="0"/>
                    <a:pt x="61" y="0"/>
                  </a:cubicBezTo>
                  <a:cubicBezTo>
                    <a:pt x="60" y="0"/>
                    <a:pt x="59" y="0"/>
                    <a:pt x="58" y="0"/>
                  </a:cubicBezTo>
                  <a:cubicBezTo>
                    <a:pt x="56" y="0"/>
                    <a:pt x="54" y="0"/>
                    <a:pt x="52" y="0"/>
                  </a:cubicBezTo>
                  <a:cubicBezTo>
                    <a:pt x="51" y="1"/>
                    <a:pt x="51" y="1"/>
                    <a:pt x="51" y="1"/>
                  </a:cubicBezTo>
                  <a:cubicBezTo>
                    <a:pt x="50" y="1"/>
                    <a:pt x="48" y="1"/>
                    <a:pt x="47" y="1"/>
                  </a:cubicBezTo>
                  <a:cubicBezTo>
                    <a:pt x="44" y="1"/>
                    <a:pt x="41" y="1"/>
                    <a:pt x="38" y="1"/>
                  </a:cubicBezTo>
                  <a:cubicBezTo>
                    <a:pt x="37" y="1"/>
                    <a:pt x="37" y="1"/>
                    <a:pt x="37" y="1"/>
                  </a:cubicBezTo>
                  <a:cubicBezTo>
                    <a:pt x="35" y="1"/>
                    <a:pt x="34" y="2"/>
                    <a:pt x="32" y="3"/>
                  </a:cubicBezTo>
                  <a:cubicBezTo>
                    <a:pt x="32" y="3"/>
                    <a:pt x="31" y="4"/>
                    <a:pt x="30" y="4"/>
                  </a:cubicBezTo>
                  <a:cubicBezTo>
                    <a:pt x="29" y="4"/>
                    <a:pt x="29" y="4"/>
                    <a:pt x="29" y="4"/>
                  </a:cubicBezTo>
                  <a:cubicBezTo>
                    <a:pt x="27" y="5"/>
                    <a:pt x="27" y="5"/>
                    <a:pt x="27" y="5"/>
                  </a:cubicBezTo>
                  <a:cubicBezTo>
                    <a:pt x="27" y="7"/>
                    <a:pt x="27" y="7"/>
                    <a:pt x="27" y="7"/>
                  </a:cubicBezTo>
                  <a:cubicBezTo>
                    <a:pt x="27" y="7"/>
                    <a:pt x="27" y="7"/>
                    <a:pt x="27" y="7"/>
                  </a:cubicBezTo>
                  <a:cubicBezTo>
                    <a:pt x="28" y="8"/>
                    <a:pt x="28" y="9"/>
                    <a:pt x="28" y="10"/>
                  </a:cubicBezTo>
                  <a:cubicBezTo>
                    <a:pt x="29" y="11"/>
                    <a:pt x="30" y="12"/>
                    <a:pt x="31" y="12"/>
                  </a:cubicBezTo>
                  <a:cubicBezTo>
                    <a:pt x="31" y="13"/>
                    <a:pt x="32" y="13"/>
                    <a:pt x="33" y="14"/>
                  </a:cubicBezTo>
                  <a:cubicBezTo>
                    <a:pt x="35" y="17"/>
                    <a:pt x="36" y="22"/>
                    <a:pt x="36" y="25"/>
                  </a:cubicBezTo>
                  <a:cubicBezTo>
                    <a:pt x="37" y="27"/>
                    <a:pt x="37" y="27"/>
                    <a:pt x="37" y="27"/>
                  </a:cubicBezTo>
                  <a:cubicBezTo>
                    <a:pt x="37" y="33"/>
                    <a:pt x="39" y="45"/>
                    <a:pt x="34" y="47"/>
                  </a:cubicBezTo>
                  <a:cubicBezTo>
                    <a:pt x="33" y="47"/>
                    <a:pt x="33" y="47"/>
                    <a:pt x="33" y="47"/>
                  </a:cubicBezTo>
                  <a:cubicBezTo>
                    <a:pt x="32" y="47"/>
                    <a:pt x="32" y="47"/>
                    <a:pt x="31" y="46"/>
                  </a:cubicBezTo>
                  <a:cubicBezTo>
                    <a:pt x="31" y="46"/>
                    <a:pt x="30" y="46"/>
                    <a:pt x="30" y="46"/>
                  </a:cubicBezTo>
                  <a:cubicBezTo>
                    <a:pt x="29" y="46"/>
                    <a:pt x="29" y="46"/>
                    <a:pt x="29" y="46"/>
                  </a:cubicBezTo>
                  <a:cubicBezTo>
                    <a:pt x="29" y="46"/>
                    <a:pt x="29" y="46"/>
                    <a:pt x="29" y="46"/>
                  </a:cubicBezTo>
                  <a:cubicBezTo>
                    <a:pt x="29" y="46"/>
                    <a:pt x="29" y="46"/>
                    <a:pt x="29" y="46"/>
                  </a:cubicBezTo>
                  <a:cubicBezTo>
                    <a:pt x="29" y="47"/>
                    <a:pt x="29" y="47"/>
                    <a:pt x="29" y="47"/>
                  </a:cubicBezTo>
                  <a:cubicBezTo>
                    <a:pt x="28" y="47"/>
                    <a:pt x="28" y="47"/>
                    <a:pt x="28" y="47"/>
                  </a:cubicBezTo>
                  <a:cubicBezTo>
                    <a:pt x="28" y="47"/>
                    <a:pt x="28" y="47"/>
                    <a:pt x="28" y="47"/>
                  </a:cubicBezTo>
                  <a:cubicBezTo>
                    <a:pt x="27" y="48"/>
                    <a:pt x="27" y="50"/>
                    <a:pt x="27" y="51"/>
                  </a:cubicBezTo>
                  <a:cubicBezTo>
                    <a:pt x="27" y="52"/>
                    <a:pt x="27" y="53"/>
                    <a:pt x="27" y="53"/>
                  </a:cubicBezTo>
                  <a:cubicBezTo>
                    <a:pt x="27" y="54"/>
                    <a:pt x="27" y="55"/>
                    <a:pt x="26" y="56"/>
                  </a:cubicBezTo>
                  <a:cubicBezTo>
                    <a:pt x="26" y="59"/>
                    <a:pt x="25" y="62"/>
                    <a:pt x="27" y="64"/>
                  </a:cubicBezTo>
                  <a:cubicBezTo>
                    <a:pt x="28" y="65"/>
                    <a:pt x="29" y="65"/>
                    <a:pt x="30" y="65"/>
                  </a:cubicBezTo>
                  <a:cubicBezTo>
                    <a:pt x="31" y="65"/>
                    <a:pt x="31" y="65"/>
                    <a:pt x="32" y="65"/>
                  </a:cubicBezTo>
                  <a:cubicBezTo>
                    <a:pt x="33" y="66"/>
                    <a:pt x="35" y="68"/>
                    <a:pt x="35" y="69"/>
                  </a:cubicBezTo>
                  <a:cubicBezTo>
                    <a:pt x="38" y="72"/>
                    <a:pt x="36" y="74"/>
                    <a:pt x="33" y="78"/>
                  </a:cubicBezTo>
                  <a:cubicBezTo>
                    <a:pt x="31" y="78"/>
                    <a:pt x="31" y="78"/>
                    <a:pt x="31" y="78"/>
                  </a:cubicBezTo>
                  <a:cubicBezTo>
                    <a:pt x="29" y="80"/>
                    <a:pt x="27" y="82"/>
                    <a:pt x="26" y="85"/>
                  </a:cubicBezTo>
                  <a:cubicBezTo>
                    <a:pt x="25" y="88"/>
                    <a:pt x="23" y="91"/>
                    <a:pt x="22" y="94"/>
                  </a:cubicBezTo>
                  <a:cubicBezTo>
                    <a:pt x="20" y="96"/>
                    <a:pt x="19" y="98"/>
                    <a:pt x="18" y="101"/>
                  </a:cubicBezTo>
                  <a:cubicBezTo>
                    <a:pt x="18" y="101"/>
                    <a:pt x="18" y="102"/>
                    <a:pt x="18" y="103"/>
                  </a:cubicBezTo>
                  <a:cubicBezTo>
                    <a:pt x="17" y="104"/>
                    <a:pt x="17" y="106"/>
                    <a:pt x="16" y="107"/>
                  </a:cubicBezTo>
                  <a:cubicBezTo>
                    <a:pt x="15" y="107"/>
                    <a:pt x="14" y="108"/>
                    <a:pt x="13" y="109"/>
                  </a:cubicBezTo>
                  <a:cubicBezTo>
                    <a:pt x="13" y="110"/>
                    <a:pt x="12" y="110"/>
                    <a:pt x="11" y="111"/>
                  </a:cubicBezTo>
                  <a:cubicBezTo>
                    <a:pt x="11" y="111"/>
                    <a:pt x="10" y="111"/>
                    <a:pt x="10" y="112"/>
                  </a:cubicBezTo>
                  <a:cubicBezTo>
                    <a:pt x="10" y="112"/>
                    <a:pt x="9" y="112"/>
                    <a:pt x="9" y="112"/>
                  </a:cubicBezTo>
                  <a:cubicBezTo>
                    <a:pt x="8" y="112"/>
                    <a:pt x="8" y="113"/>
                    <a:pt x="7" y="113"/>
                  </a:cubicBezTo>
                  <a:cubicBezTo>
                    <a:pt x="7" y="113"/>
                    <a:pt x="7" y="113"/>
                    <a:pt x="7" y="114"/>
                  </a:cubicBezTo>
                  <a:cubicBezTo>
                    <a:pt x="6" y="115"/>
                    <a:pt x="4" y="115"/>
                    <a:pt x="3" y="115"/>
                  </a:cubicBezTo>
                  <a:cubicBezTo>
                    <a:pt x="0" y="115"/>
                    <a:pt x="0" y="115"/>
                    <a:pt x="0" y="115"/>
                  </a:cubicBezTo>
                  <a:cubicBezTo>
                    <a:pt x="0" y="117"/>
                    <a:pt x="0" y="117"/>
                    <a:pt x="0" y="117"/>
                  </a:cubicBezTo>
                  <a:cubicBezTo>
                    <a:pt x="0" y="118"/>
                    <a:pt x="0" y="119"/>
                    <a:pt x="0" y="120"/>
                  </a:cubicBezTo>
                  <a:cubicBezTo>
                    <a:pt x="0" y="124"/>
                    <a:pt x="0" y="127"/>
                    <a:pt x="2" y="132"/>
                  </a:cubicBezTo>
                  <a:cubicBezTo>
                    <a:pt x="3" y="135"/>
                    <a:pt x="4" y="138"/>
                    <a:pt x="4" y="142"/>
                  </a:cubicBezTo>
                  <a:cubicBezTo>
                    <a:pt x="4" y="145"/>
                    <a:pt x="4" y="148"/>
                    <a:pt x="5" y="151"/>
                  </a:cubicBezTo>
                  <a:cubicBezTo>
                    <a:pt x="5" y="152"/>
                    <a:pt x="5" y="152"/>
                    <a:pt x="6" y="153"/>
                  </a:cubicBezTo>
                  <a:cubicBezTo>
                    <a:pt x="8" y="159"/>
                    <a:pt x="9" y="163"/>
                    <a:pt x="4" y="165"/>
                  </a:cubicBezTo>
                  <a:cubicBezTo>
                    <a:pt x="3" y="165"/>
                    <a:pt x="3" y="165"/>
                    <a:pt x="3" y="165"/>
                  </a:cubicBezTo>
                  <a:cubicBezTo>
                    <a:pt x="3" y="166"/>
                    <a:pt x="3" y="166"/>
                    <a:pt x="3" y="166"/>
                  </a:cubicBezTo>
                  <a:cubicBezTo>
                    <a:pt x="2" y="174"/>
                    <a:pt x="5" y="182"/>
                    <a:pt x="13" y="185"/>
                  </a:cubicBezTo>
                  <a:cubicBezTo>
                    <a:pt x="21" y="188"/>
                    <a:pt x="24" y="194"/>
                    <a:pt x="25" y="202"/>
                  </a:cubicBezTo>
                  <a:cubicBezTo>
                    <a:pt x="25" y="204"/>
                    <a:pt x="26" y="205"/>
                    <a:pt x="26" y="206"/>
                  </a:cubicBezTo>
                  <a:cubicBezTo>
                    <a:pt x="27" y="206"/>
                    <a:pt x="27" y="207"/>
                    <a:pt x="27" y="208"/>
                  </a:cubicBezTo>
                  <a:cubicBezTo>
                    <a:pt x="28" y="209"/>
                    <a:pt x="27" y="210"/>
                    <a:pt x="27" y="211"/>
                  </a:cubicBezTo>
                  <a:cubicBezTo>
                    <a:pt x="27" y="212"/>
                    <a:pt x="27" y="214"/>
                    <a:pt x="27" y="215"/>
                  </a:cubicBezTo>
                  <a:cubicBezTo>
                    <a:pt x="28" y="217"/>
                    <a:pt x="28" y="218"/>
                    <a:pt x="29" y="220"/>
                  </a:cubicBezTo>
                  <a:cubicBezTo>
                    <a:pt x="29" y="220"/>
                    <a:pt x="29" y="220"/>
                    <a:pt x="30" y="221"/>
                  </a:cubicBezTo>
                  <a:cubicBezTo>
                    <a:pt x="31" y="224"/>
                    <a:pt x="32" y="226"/>
                    <a:pt x="33" y="228"/>
                  </a:cubicBezTo>
                  <a:cubicBezTo>
                    <a:pt x="34" y="233"/>
                    <a:pt x="36" y="238"/>
                    <a:pt x="39" y="242"/>
                  </a:cubicBezTo>
                  <a:cubicBezTo>
                    <a:pt x="41" y="246"/>
                    <a:pt x="43" y="248"/>
                    <a:pt x="43" y="251"/>
                  </a:cubicBezTo>
                  <a:cubicBezTo>
                    <a:pt x="44" y="252"/>
                    <a:pt x="44" y="252"/>
                    <a:pt x="44" y="252"/>
                  </a:cubicBezTo>
                  <a:cubicBezTo>
                    <a:pt x="47" y="252"/>
                    <a:pt x="47" y="252"/>
                    <a:pt x="47" y="252"/>
                  </a:cubicBezTo>
                  <a:cubicBezTo>
                    <a:pt x="50" y="252"/>
                    <a:pt x="52" y="252"/>
                    <a:pt x="53" y="254"/>
                  </a:cubicBezTo>
                  <a:cubicBezTo>
                    <a:pt x="55" y="255"/>
                    <a:pt x="56" y="256"/>
                    <a:pt x="56" y="257"/>
                  </a:cubicBezTo>
                  <a:cubicBezTo>
                    <a:pt x="57" y="259"/>
                    <a:pt x="58" y="261"/>
                    <a:pt x="60" y="262"/>
                  </a:cubicBezTo>
                  <a:cubicBezTo>
                    <a:pt x="62" y="263"/>
                    <a:pt x="64" y="264"/>
                    <a:pt x="65" y="264"/>
                  </a:cubicBezTo>
                  <a:cubicBezTo>
                    <a:pt x="67" y="264"/>
                    <a:pt x="68" y="265"/>
                    <a:pt x="69" y="265"/>
                  </a:cubicBezTo>
                  <a:cubicBezTo>
                    <a:pt x="69" y="265"/>
                    <a:pt x="69" y="265"/>
                    <a:pt x="69" y="265"/>
                  </a:cubicBezTo>
                  <a:cubicBezTo>
                    <a:pt x="69" y="266"/>
                    <a:pt x="69" y="266"/>
                    <a:pt x="69" y="266"/>
                  </a:cubicBezTo>
                  <a:cubicBezTo>
                    <a:pt x="70" y="267"/>
                    <a:pt x="70" y="267"/>
                    <a:pt x="70" y="267"/>
                  </a:cubicBezTo>
                  <a:cubicBezTo>
                    <a:pt x="70" y="267"/>
                    <a:pt x="71" y="268"/>
                    <a:pt x="72" y="268"/>
                  </a:cubicBezTo>
                  <a:cubicBezTo>
                    <a:pt x="72" y="268"/>
                    <a:pt x="72" y="268"/>
                    <a:pt x="73" y="268"/>
                  </a:cubicBezTo>
                  <a:cubicBezTo>
                    <a:pt x="73" y="268"/>
                    <a:pt x="73" y="268"/>
                    <a:pt x="73" y="268"/>
                  </a:cubicBezTo>
                  <a:cubicBezTo>
                    <a:pt x="75" y="268"/>
                    <a:pt x="75" y="268"/>
                    <a:pt x="75" y="268"/>
                  </a:cubicBezTo>
                  <a:cubicBezTo>
                    <a:pt x="76" y="269"/>
                    <a:pt x="77" y="270"/>
                    <a:pt x="78" y="270"/>
                  </a:cubicBezTo>
                  <a:cubicBezTo>
                    <a:pt x="79" y="270"/>
                    <a:pt x="80" y="271"/>
                    <a:pt x="81" y="271"/>
                  </a:cubicBezTo>
                  <a:cubicBezTo>
                    <a:pt x="81" y="271"/>
                    <a:pt x="82" y="271"/>
                    <a:pt x="83" y="271"/>
                  </a:cubicBezTo>
                  <a:cubicBezTo>
                    <a:pt x="84" y="272"/>
                    <a:pt x="85" y="273"/>
                    <a:pt x="86" y="273"/>
                  </a:cubicBezTo>
                  <a:cubicBezTo>
                    <a:pt x="86" y="274"/>
                    <a:pt x="87" y="274"/>
                    <a:pt x="87" y="275"/>
                  </a:cubicBezTo>
                  <a:cubicBezTo>
                    <a:pt x="89" y="276"/>
                    <a:pt x="90" y="276"/>
                    <a:pt x="92" y="276"/>
                  </a:cubicBezTo>
                  <a:cubicBezTo>
                    <a:pt x="94" y="276"/>
                    <a:pt x="96" y="277"/>
                    <a:pt x="97" y="278"/>
                  </a:cubicBezTo>
                  <a:cubicBezTo>
                    <a:pt x="98" y="278"/>
                    <a:pt x="98" y="279"/>
                    <a:pt x="99" y="280"/>
                  </a:cubicBezTo>
                  <a:cubicBezTo>
                    <a:pt x="99" y="280"/>
                    <a:pt x="99" y="281"/>
                    <a:pt x="100" y="282"/>
                  </a:cubicBezTo>
                  <a:cubicBezTo>
                    <a:pt x="101" y="282"/>
                    <a:pt x="102" y="282"/>
                    <a:pt x="103" y="282"/>
                  </a:cubicBezTo>
                  <a:cubicBezTo>
                    <a:pt x="104" y="282"/>
                    <a:pt x="104" y="282"/>
                    <a:pt x="105" y="282"/>
                  </a:cubicBezTo>
                  <a:cubicBezTo>
                    <a:pt x="105" y="282"/>
                    <a:pt x="106" y="282"/>
                    <a:pt x="106" y="282"/>
                  </a:cubicBezTo>
                  <a:cubicBezTo>
                    <a:pt x="107" y="282"/>
                    <a:pt x="107" y="282"/>
                    <a:pt x="107" y="282"/>
                  </a:cubicBezTo>
                  <a:cubicBezTo>
                    <a:pt x="111" y="282"/>
                    <a:pt x="113" y="283"/>
                    <a:pt x="116" y="284"/>
                  </a:cubicBezTo>
                  <a:cubicBezTo>
                    <a:pt x="117" y="285"/>
                    <a:pt x="117" y="285"/>
                    <a:pt x="117" y="285"/>
                  </a:cubicBezTo>
                  <a:cubicBezTo>
                    <a:pt x="119" y="285"/>
                    <a:pt x="121" y="286"/>
                    <a:pt x="123" y="286"/>
                  </a:cubicBezTo>
                  <a:cubicBezTo>
                    <a:pt x="123" y="286"/>
                    <a:pt x="124" y="286"/>
                    <a:pt x="124" y="286"/>
                  </a:cubicBezTo>
                  <a:cubicBezTo>
                    <a:pt x="125" y="286"/>
                    <a:pt x="125" y="285"/>
                    <a:pt x="126" y="284"/>
                  </a:cubicBezTo>
                  <a:cubicBezTo>
                    <a:pt x="127" y="284"/>
                    <a:pt x="127" y="283"/>
                    <a:pt x="129" y="283"/>
                  </a:cubicBezTo>
                  <a:cubicBezTo>
                    <a:pt x="130" y="283"/>
                    <a:pt x="132" y="283"/>
                    <a:pt x="133" y="288"/>
                  </a:cubicBezTo>
                  <a:cubicBezTo>
                    <a:pt x="133" y="289"/>
                    <a:pt x="133" y="289"/>
                    <a:pt x="133" y="289"/>
                  </a:cubicBezTo>
                  <a:cubicBezTo>
                    <a:pt x="134" y="289"/>
                    <a:pt x="134" y="289"/>
                    <a:pt x="134" y="289"/>
                  </a:cubicBezTo>
                  <a:cubicBezTo>
                    <a:pt x="141" y="295"/>
                    <a:pt x="144" y="317"/>
                    <a:pt x="144" y="324"/>
                  </a:cubicBezTo>
                  <a:cubicBezTo>
                    <a:pt x="144" y="325"/>
                    <a:pt x="143" y="326"/>
                    <a:pt x="143" y="327"/>
                  </a:cubicBezTo>
                  <a:cubicBezTo>
                    <a:pt x="142" y="330"/>
                    <a:pt x="141" y="333"/>
                    <a:pt x="142" y="336"/>
                  </a:cubicBezTo>
                  <a:cubicBezTo>
                    <a:pt x="144" y="338"/>
                    <a:pt x="145" y="339"/>
                    <a:pt x="146" y="340"/>
                  </a:cubicBezTo>
                  <a:cubicBezTo>
                    <a:pt x="148" y="342"/>
                    <a:pt x="149" y="344"/>
                    <a:pt x="150" y="346"/>
                  </a:cubicBezTo>
                  <a:cubicBezTo>
                    <a:pt x="150" y="347"/>
                    <a:pt x="150" y="348"/>
                    <a:pt x="151" y="349"/>
                  </a:cubicBezTo>
                  <a:cubicBezTo>
                    <a:pt x="151" y="351"/>
                    <a:pt x="151" y="351"/>
                    <a:pt x="151" y="351"/>
                  </a:cubicBezTo>
                  <a:cubicBezTo>
                    <a:pt x="154" y="351"/>
                    <a:pt x="154" y="351"/>
                    <a:pt x="154" y="351"/>
                  </a:cubicBezTo>
                  <a:cubicBezTo>
                    <a:pt x="155" y="351"/>
                    <a:pt x="157" y="351"/>
                    <a:pt x="158" y="351"/>
                  </a:cubicBezTo>
                  <a:cubicBezTo>
                    <a:pt x="159" y="351"/>
                    <a:pt x="159" y="351"/>
                    <a:pt x="159" y="351"/>
                  </a:cubicBezTo>
                  <a:cubicBezTo>
                    <a:pt x="160" y="351"/>
                    <a:pt x="160" y="351"/>
                    <a:pt x="160" y="351"/>
                  </a:cubicBezTo>
                  <a:cubicBezTo>
                    <a:pt x="162" y="351"/>
                    <a:pt x="164" y="351"/>
                    <a:pt x="165" y="351"/>
                  </a:cubicBezTo>
                  <a:cubicBezTo>
                    <a:pt x="168" y="351"/>
                    <a:pt x="170" y="351"/>
                    <a:pt x="173" y="350"/>
                  </a:cubicBezTo>
                  <a:cubicBezTo>
                    <a:pt x="174" y="349"/>
                    <a:pt x="175" y="348"/>
                    <a:pt x="176" y="348"/>
                  </a:cubicBezTo>
                  <a:cubicBezTo>
                    <a:pt x="178" y="347"/>
                    <a:pt x="179" y="346"/>
                    <a:pt x="180" y="346"/>
                  </a:cubicBezTo>
                  <a:cubicBezTo>
                    <a:pt x="181" y="346"/>
                    <a:pt x="182" y="347"/>
                    <a:pt x="184" y="347"/>
                  </a:cubicBezTo>
                  <a:cubicBezTo>
                    <a:pt x="185" y="348"/>
                    <a:pt x="186" y="350"/>
                    <a:pt x="187" y="351"/>
                  </a:cubicBezTo>
                  <a:cubicBezTo>
                    <a:pt x="189" y="353"/>
                    <a:pt x="190" y="354"/>
                    <a:pt x="194" y="354"/>
                  </a:cubicBezTo>
                  <a:cubicBezTo>
                    <a:pt x="194" y="354"/>
                    <a:pt x="195" y="354"/>
                    <a:pt x="196" y="354"/>
                  </a:cubicBezTo>
                  <a:cubicBezTo>
                    <a:pt x="196" y="354"/>
                    <a:pt x="197" y="353"/>
                    <a:pt x="197" y="353"/>
                  </a:cubicBezTo>
                  <a:cubicBezTo>
                    <a:pt x="197" y="353"/>
                    <a:pt x="197" y="353"/>
                    <a:pt x="197" y="353"/>
                  </a:cubicBezTo>
                  <a:cubicBezTo>
                    <a:pt x="198" y="353"/>
                    <a:pt x="198" y="354"/>
                    <a:pt x="199" y="354"/>
                  </a:cubicBezTo>
                  <a:cubicBezTo>
                    <a:pt x="199" y="354"/>
                    <a:pt x="200" y="355"/>
                    <a:pt x="201" y="355"/>
                  </a:cubicBezTo>
                  <a:cubicBezTo>
                    <a:pt x="201" y="355"/>
                    <a:pt x="201" y="355"/>
                    <a:pt x="202" y="354"/>
                  </a:cubicBezTo>
                  <a:cubicBezTo>
                    <a:pt x="203" y="354"/>
                    <a:pt x="204" y="354"/>
                    <a:pt x="205" y="353"/>
                  </a:cubicBezTo>
                  <a:cubicBezTo>
                    <a:pt x="205" y="352"/>
                    <a:pt x="206" y="352"/>
                    <a:pt x="207" y="351"/>
                  </a:cubicBezTo>
                  <a:cubicBezTo>
                    <a:pt x="208" y="351"/>
                    <a:pt x="209" y="351"/>
                    <a:pt x="211" y="351"/>
                  </a:cubicBezTo>
                  <a:cubicBezTo>
                    <a:pt x="213" y="351"/>
                    <a:pt x="215" y="352"/>
                    <a:pt x="218" y="353"/>
                  </a:cubicBezTo>
                  <a:cubicBezTo>
                    <a:pt x="220" y="354"/>
                    <a:pt x="220" y="354"/>
                    <a:pt x="220" y="354"/>
                  </a:cubicBezTo>
                  <a:cubicBezTo>
                    <a:pt x="222" y="355"/>
                    <a:pt x="223" y="355"/>
                    <a:pt x="225" y="355"/>
                  </a:cubicBezTo>
                  <a:cubicBezTo>
                    <a:pt x="228" y="355"/>
                    <a:pt x="230" y="354"/>
                    <a:pt x="233" y="351"/>
                  </a:cubicBezTo>
                  <a:cubicBezTo>
                    <a:pt x="235" y="350"/>
                    <a:pt x="235" y="348"/>
                    <a:pt x="236" y="347"/>
                  </a:cubicBezTo>
                  <a:cubicBezTo>
                    <a:pt x="237" y="345"/>
                    <a:pt x="238" y="343"/>
                    <a:pt x="240" y="342"/>
                  </a:cubicBezTo>
                  <a:cubicBezTo>
                    <a:pt x="242" y="341"/>
                    <a:pt x="243" y="340"/>
                    <a:pt x="244" y="340"/>
                  </a:cubicBezTo>
                  <a:cubicBezTo>
                    <a:pt x="246" y="340"/>
                    <a:pt x="247" y="341"/>
                    <a:pt x="249" y="342"/>
                  </a:cubicBezTo>
                  <a:cubicBezTo>
                    <a:pt x="250" y="343"/>
                    <a:pt x="251" y="343"/>
                    <a:pt x="252" y="344"/>
                  </a:cubicBezTo>
                  <a:cubicBezTo>
                    <a:pt x="253" y="344"/>
                    <a:pt x="254" y="345"/>
                    <a:pt x="255" y="345"/>
                  </a:cubicBezTo>
                  <a:cubicBezTo>
                    <a:pt x="258" y="345"/>
                    <a:pt x="259" y="343"/>
                    <a:pt x="261" y="341"/>
                  </a:cubicBezTo>
                  <a:cubicBezTo>
                    <a:pt x="262" y="341"/>
                    <a:pt x="263" y="340"/>
                    <a:pt x="264" y="339"/>
                  </a:cubicBezTo>
                  <a:cubicBezTo>
                    <a:pt x="266" y="337"/>
                    <a:pt x="268" y="337"/>
                    <a:pt x="269" y="337"/>
                  </a:cubicBezTo>
                  <a:cubicBezTo>
                    <a:pt x="270" y="337"/>
                    <a:pt x="271" y="337"/>
                    <a:pt x="272" y="337"/>
                  </a:cubicBezTo>
                  <a:cubicBezTo>
                    <a:pt x="273" y="337"/>
                    <a:pt x="274" y="337"/>
                    <a:pt x="275" y="337"/>
                  </a:cubicBezTo>
                  <a:cubicBezTo>
                    <a:pt x="275" y="337"/>
                    <a:pt x="276" y="337"/>
                    <a:pt x="276" y="337"/>
                  </a:cubicBezTo>
                  <a:cubicBezTo>
                    <a:pt x="279" y="337"/>
                    <a:pt x="281" y="335"/>
                    <a:pt x="283" y="334"/>
                  </a:cubicBezTo>
                  <a:cubicBezTo>
                    <a:pt x="283" y="333"/>
                    <a:pt x="284" y="332"/>
                    <a:pt x="286" y="331"/>
                  </a:cubicBezTo>
                  <a:cubicBezTo>
                    <a:pt x="288" y="330"/>
                    <a:pt x="289" y="329"/>
                    <a:pt x="291" y="329"/>
                  </a:cubicBezTo>
                  <a:cubicBezTo>
                    <a:pt x="293" y="328"/>
                    <a:pt x="295" y="328"/>
                    <a:pt x="297" y="326"/>
                  </a:cubicBezTo>
                  <a:cubicBezTo>
                    <a:pt x="299" y="325"/>
                    <a:pt x="301" y="323"/>
                    <a:pt x="303" y="322"/>
                  </a:cubicBezTo>
                  <a:cubicBezTo>
                    <a:pt x="306" y="319"/>
                    <a:pt x="310" y="315"/>
                    <a:pt x="314" y="314"/>
                  </a:cubicBezTo>
                  <a:cubicBezTo>
                    <a:pt x="317" y="313"/>
                    <a:pt x="317" y="313"/>
                    <a:pt x="317" y="313"/>
                  </a:cubicBezTo>
                  <a:lnTo>
                    <a:pt x="315" y="311"/>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50" name="Freeform 50">
              <a:extLst>
                <a:ext uri="{FF2B5EF4-FFF2-40B4-BE49-F238E27FC236}">
                  <a16:creationId xmlns:a16="http://schemas.microsoft.com/office/drawing/2014/main" id="{CF10DAC2-0B7A-4436-AB6B-AABE46A3F602}"/>
                </a:ext>
              </a:extLst>
            </p:cNvPr>
            <p:cNvSpPr>
              <a:spLocks/>
            </p:cNvSpPr>
            <p:nvPr/>
          </p:nvSpPr>
          <p:spPr bwMode="auto">
            <a:xfrm>
              <a:off x="4413970" y="1739873"/>
              <a:ext cx="100442" cy="117118"/>
            </a:xfrm>
            <a:custGeom>
              <a:avLst/>
              <a:gdLst>
                <a:gd name="T0" fmla="*/ 36 w 50"/>
                <a:gd name="T1" fmla="*/ 36 h 63"/>
                <a:gd name="T2" fmla="*/ 40 w 50"/>
                <a:gd name="T3" fmla="*/ 34 h 63"/>
                <a:gd name="T4" fmla="*/ 42 w 50"/>
                <a:gd name="T5" fmla="*/ 32 h 63"/>
                <a:gd name="T6" fmla="*/ 49 w 50"/>
                <a:gd name="T7" fmla="*/ 21 h 63"/>
                <a:gd name="T8" fmla="*/ 45 w 50"/>
                <a:gd name="T9" fmla="*/ 10 h 63"/>
                <a:gd name="T10" fmla="*/ 43 w 50"/>
                <a:gd name="T11" fmla="*/ 7 h 63"/>
                <a:gd name="T12" fmla="*/ 41 w 50"/>
                <a:gd name="T13" fmla="*/ 3 h 63"/>
                <a:gd name="T14" fmla="*/ 39 w 50"/>
                <a:gd name="T15" fmla="*/ 0 h 63"/>
                <a:gd name="T16" fmla="*/ 37 w 50"/>
                <a:gd name="T17" fmla="*/ 2 h 63"/>
                <a:gd name="T18" fmla="*/ 35 w 50"/>
                <a:gd name="T19" fmla="*/ 3 h 63"/>
                <a:gd name="T20" fmla="*/ 32 w 50"/>
                <a:gd name="T21" fmla="*/ 5 h 63"/>
                <a:gd name="T22" fmla="*/ 31 w 50"/>
                <a:gd name="T23" fmla="*/ 9 h 63"/>
                <a:gd name="T24" fmla="*/ 30 w 50"/>
                <a:gd name="T25" fmla="*/ 12 h 63"/>
                <a:gd name="T26" fmla="*/ 27 w 50"/>
                <a:gd name="T27" fmla="*/ 14 h 63"/>
                <a:gd name="T28" fmla="*/ 23 w 50"/>
                <a:gd name="T29" fmla="*/ 12 h 63"/>
                <a:gd name="T30" fmla="*/ 22 w 50"/>
                <a:gd name="T31" fmla="*/ 10 h 63"/>
                <a:gd name="T32" fmla="*/ 20 w 50"/>
                <a:gd name="T33" fmla="*/ 9 h 63"/>
                <a:gd name="T34" fmla="*/ 19 w 50"/>
                <a:gd name="T35" fmla="*/ 10 h 63"/>
                <a:gd name="T36" fmla="*/ 13 w 50"/>
                <a:gd name="T37" fmla="*/ 20 h 63"/>
                <a:gd name="T38" fmla="*/ 11 w 50"/>
                <a:gd name="T39" fmla="*/ 24 h 63"/>
                <a:gd name="T40" fmla="*/ 5 w 50"/>
                <a:gd name="T41" fmla="*/ 33 h 63"/>
                <a:gd name="T42" fmla="*/ 3 w 50"/>
                <a:gd name="T43" fmla="*/ 35 h 63"/>
                <a:gd name="T44" fmla="*/ 1 w 50"/>
                <a:gd name="T45" fmla="*/ 49 h 63"/>
                <a:gd name="T46" fmla="*/ 1 w 50"/>
                <a:gd name="T47" fmla="*/ 52 h 63"/>
                <a:gd name="T48" fmla="*/ 1 w 50"/>
                <a:gd name="T49" fmla="*/ 54 h 63"/>
                <a:gd name="T50" fmla="*/ 1 w 50"/>
                <a:gd name="T51" fmla="*/ 61 h 63"/>
                <a:gd name="T52" fmla="*/ 6 w 50"/>
                <a:gd name="T53" fmla="*/ 62 h 63"/>
                <a:gd name="T54" fmla="*/ 8 w 50"/>
                <a:gd name="T55" fmla="*/ 63 h 63"/>
                <a:gd name="T56" fmla="*/ 9 w 50"/>
                <a:gd name="T57" fmla="*/ 63 h 63"/>
                <a:gd name="T58" fmla="*/ 10 w 50"/>
                <a:gd name="T59" fmla="*/ 62 h 63"/>
                <a:gd name="T60" fmla="*/ 18 w 50"/>
                <a:gd name="T61" fmla="*/ 59 h 63"/>
                <a:gd name="T62" fmla="*/ 23 w 50"/>
                <a:gd name="T63" fmla="*/ 58 h 63"/>
                <a:gd name="T64" fmla="*/ 25 w 50"/>
                <a:gd name="T65" fmla="*/ 57 h 63"/>
                <a:gd name="T66" fmla="*/ 28 w 50"/>
                <a:gd name="T67" fmla="*/ 56 h 63"/>
                <a:gd name="T68" fmla="*/ 30 w 50"/>
                <a:gd name="T69" fmla="*/ 57 h 63"/>
                <a:gd name="T70" fmla="*/ 32 w 50"/>
                <a:gd name="T71" fmla="*/ 59 h 63"/>
                <a:gd name="T72" fmla="*/ 34 w 50"/>
                <a:gd name="T73" fmla="*/ 58 h 63"/>
                <a:gd name="T74" fmla="*/ 33 w 50"/>
                <a:gd name="T75" fmla="*/ 59 h 63"/>
                <a:gd name="T76" fmla="*/ 33 w 50"/>
                <a:gd name="T77" fmla="*/ 60 h 63"/>
                <a:gd name="T78" fmla="*/ 34 w 50"/>
                <a:gd name="T79" fmla="*/ 60 h 63"/>
                <a:gd name="T80" fmla="*/ 34 w 50"/>
                <a:gd name="T81" fmla="*/ 60 h 63"/>
                <a:gd name="T82" fmla="*/ 36 w 50"/>
                <a:gd name="T83" fmla="*/ 60 h 63"/>
                <a:gd name="T84" fmla="*/ 40 w 50"/>
                <a:gd name="T85" fmla="*/ 54 h 63"/>
                <a:gd name="T86" fmla="*/ 46 w 50"/>
                <a:gd name="T87" fmla="*/ 45 h 63"/>
                <a:gd name="T88" fmla="*/ 47 w 50"/>
                <a:gd name="T89" fmla="*/ 43 h 63"/>
                <a:gd name="T90" fmla="*/ 46 w 50"/>
                <a:gd name="T91" fmla="*/ 42 h 63"/>
                <a:gd name="T92" fmla="*/ 37 w 50"/>
                <a:gd name="T93" fmla="*/ 37 h 63"/>
                <a:gd name="T94" fmla="*/ 36 w 50"/>
                <a:gd name="T95" fmla="*/ 37 h 63"/>
                <a:gd name="T96" fmla="*/ 34 w 50"/>
                <a:gd name="T97" fmla="*/ 37 h 63"/>
                <a:gd name="T98" fmla="*/ 33 w 50"/>
                <a:gd name="T99" fmla="*/ 37 h 63"/>
                <a:gd name="T100" fmla="*/ 34 w 50"/>
                <a:gd name="T101" fmla="*/ 37 h 63"/>
                <a:gd name="T102" fmla="*/ 36 w 50"/>
                <a:gd name="T103" fmla="*/ 3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 h="63">
                  <a:moveTo>
                    <a:pt x="36" y="36"/>
                  </a:moveTo>
                  <a:cubicBezTo>
                    <a:pt x="37" y="35"/>
                    <a:pt x="39" y="34"/>
                    <a:pt x="40" y="34"/>
                  </a:cubicBezTo>
                  <a:cubicBezTo>
                    <a:pt x="41" y="33"/>
                    <a:pt x="41" y="33"/>
                    <a:pt x="42" y="32"/>
                  </a:cubicBezTo>
                  <a:cubicBezTo>
                    <a:pt x="46" y="30"/>
                    <a:pt x="49" y="25"/>
                    <a:pt x="49" y="21"/>
                  </a:cubicBezTo>
                  <a:cubicBezTo>
                    <a:pt x="50" y="17"/>
                    <a:pt x="47" y="13"/>
                    <a:pt x="45" y="10"/>
                  </a:cubicBezTo>
                  <a:cubicBezTo>
                    <a:pt x="45" y="9"/>
                    <a:pt x="44" y="8"/>
                    <a:pt x="43" y="7"/>
                  </a:cubicBezTo>
                  <a:cubicBezTo>
                    <a:pt x="43" y="6"/>
                    <a:pt x="42" y="5"/>
                    <a:pt x="41" y="3"/>
                  </a:cubicBezTo>
                  <a:cubicBezTo>
                    <a:pt x="39" y="0"/>
                    <a:pt x="39" y="0"/>
                    <a:pt x="39" y="0"/>
                  </a:cubicBezTo>
                  <a:cubicBezTo>
                    <a:pt x="37" y="2"/>
                    <a:pt x="37" y="2"/>
                    <a:pt x="37" y="2"/>
                  </a:cubicBezTo>
                  <a:cubicBezTo>
                    <a:pt x="37" y="2"/>
                    <a:pt x="36" y="3"/>
                    <a:pt x="35" y="3"/>
                  </a:cubicBezTo>
                  <a:cubicBezTo>
                    <a:pt x="34" y="4"/>
                    <a:pt x="33" y="4"/>
                    <a:pt x="32" y="5"/>
                  </a:cubicBezTo>
                  <a:cubicBezTo>
                    <a:pt x="31" y="7"/>
                    <a:pt x="31" y="8"/>
                    <a:pt x="31" y="9"/>
                  </a:cubicBezTo>
                  <a:cubicBezTo>
                    <a:pt x="31" y="10"/>
                    <a:pt x="31" y="11"/>
                    <a:pt x="30" y="12"/>
                  </a:cubicBezTo>
                  <a:cubicBezTo>
                    <a:pt x="29" y="14"/>
                    <a:pt x="28" y="14"/>
                    <a:pt x="27" y="14"/>
                  </a:cubicBezTo>
                  <a:cubicBezTo>
                    <a:pt x="26" y="14"/>
                    <a:pt x="25" y="13"/>
                    <a:pt x="23" y="12"/>
                  </a:cubicBezTo>
                  <a:cubicBezTo>
                    <a:pt x="23" y="11"/>
                    <a:pt x="22" y="10"/>
                    <a:pt x="22" y="10"/>
                  </a:cubicBezTo>
                  <a:cubicBezTo>
                    <a:pt x="20" y="9"/>
                    <a:pt x="20" y="9"/>
                    <a:pt x="20" y="9"/>
                  </a:cubicBezTo>
                  <a:cubicBezTo>
                    <a:pt x="19" y="10"/>
                    <a:pt x="19" y="10"/>
                    <a:pt x="19" y="10"/>
                  </a:cubicBezTo>
                  <a:cubicBezTo>
                    <a:pt x="16" y="13"/>
                    <a:pt x="15" y="17"/>
                    <a:pt x="13" y="20"/>
                  </a:cubicBezTo>
                  <a:cubicBezTo>
                    <a:pt x="12" y="21"/>
                    <a:pt x="12" y="22"/>
                    <a:pt x="11" y="24"/>
                  </a:cubicBezTo>
                  <a:cubicBezTo>
                    <a:pt x="10" y="27"/>
                    <a:pt x="7" y="30"/>
                    <a:pt x="5" y="33"/>
                  </a:cubicBezTo>
                  <a:cubicBezTo>
                    <a:pt x="3" y="35"/>
                    <a:pt x="3" y="35"/>
                    <a:pt x="3" y="35"/>
                  </a:cubicBezTo>
                  <a:cubicBezTo>
                    <a:pt x="0" y="40"/>
                    <a:pt x="1" y="44"/>
                    <a:pt x="1" y="49"/>
                  </a:cubicBezTo>
                  <a:cubicBezTo>
                    <a:pt x="1" y="50"/>
                    <a:pt x="1" y="51"/>
                    <a:pt x="1" y="52"/>
                  </a:cubicBezTo>
                  <a:cubicBezTo>
                    <a:pt x="1" y="52"/>
                    <a:pt x="1" y="53"/>
                    <a:pt x="1" y="54"/>
                  </a:cubicBezTo>
                  <a:cubicBezTo>
                    <a:pt x="0" y="58"/>
                    <a:pt x="0" y="60"/>
                    <a:pt x="1" y="61"/>
                  </a:cubicBezTo>
                  <a:cubicBezTo>
                    <a:pt x="2" y="62"/>
                    <a:pt x="4" y="62"/>
                    <a:pt x="6" y="62"/>
                  </a:cubicBezTo>
                  <a:cubicBezTo>
                    <a:pt x="6" y="63"/>
                    <a:pt x="7" y="63"/>
                    <a:pt x="8" y="63"/>
                  </a:cubicBezTo>
                  <a:cubicBezTo>
                    <a:pt x="9" y="63"/>
                    <a:pt x="9" y="63"/>
                    <a:pt x="9" y="63"/>
                  </a:cubicBezTo>
                  <a:cubicBezTo>
                    <a:pt x="10" y="62"/>
                    <a:pt x="10" y="62"/>
                    <a:pt x="10" y="62"/>
                  </a:cubicBezTo>
                  <a:cubicBezTo>
                    <a:pt x="12" y="60"/>
                    <a:pt x="15" y="59"/>
                    <a:pt x="18" y="59"/>
                  </a:cubicBezTo>
                  <a:cubicBezTo>
                    <a:pt x="19" y="59"/>
                    <a:pt x="21" y="59"/>
                    <a:pt x="23" y="58"/>
                  </a:cubicBezTo>
                  <a:cubicBezTo>
                    <a:pt x="24" y="58"/>
                    <a:pt x="24" y="58"/>
                    <a:pt x="25" y="57"/>
                  </a:cubicBezTo>
                  <a:cubicBezTo>
                    <a:pt x="26" y="57"/>
                    <a:pt x="27" y="56"/>
                    <a:pt x="28" y="56"/>
                  </a:cubicBezTo>
                  <a:cubicBezTo>
                    <a:pt x="29" y="56"/>
                    <a:pt x="29" y="56"/>
                    <a:pt x="30" y="57"/>
                  </a:cubicBezTo>
                  <a:cubicBezTo>
                    <a:pt x="31" y="57"/>
                    <a:pt x="32" y="58"/>
                    <a:pt x="32" y="59"/>
                  </a:cubicBezTo>
                  <a:cubicBezTo>
                    <a:pt x="34" y="58"/>
                    <a:pt x="34" y="58"/>
                    <a:pt x="34" y="58"/>
                  </a:cubicBezTo>
                  <a:cubicBezTo>
                    <a:pt x="33" y="59"/>
                    <a:pt x="33" y="59"/>
                    <a:pt x="33" y="59"/>
                  </a:cubicBezTo>
                  <a:cubicBezTo>
                    <a:pt x="33" y="60"/>
                    <a:pt x="33" y="60"/>
                    <a:pt x="33" y="60"/>
                  </a:cubicBezTo>
                  <a:cubicBezTo>
                    <a:pt x="34" y="60"/>
                    <a:pt x="34" y="60"/>
                    <a:pt x="34" y="60"/>
                  </a:cubicBezTo>
                  <a:cubicBezTo>
                    <a:pt x="34" y="60"/>
                    <a:pt x="34" y="60"/>
                    <a:pt x="34" y="60"/>
                  </a:cubicBezTo>
                  <a:cubicBezTo>
                    <a:pt x="36" y="60"/>
                    <a:pt x="36" y="60"/>
                    <a:pt x="36" y="60"/>
                  </a:cubicBezTo>
                  <a:cubicBezTo>
                    <a:pt x="40" y="54"/>
                    <a:pt x="40" y="54"/>
                    <a:pt x="40" y="54"/>
                  </a:cubicBezTo>
                  <a:cubicBezTo>
                    <a:pt x="42" y="51"/>
                    <a:pt x="44" y="48"/>
                    <a:pt x="46" y="45"/>
                  </a:cubicBezTo>
                  <a:cubicBezTo>
                    <a:pt x="47" y="43"/>
                    <a:pt x="47" y="43"/>
                    <a:pt x="47" y="43"/>
                  </a:cubicBezTo>
                  <a:cubicBezTo>
                    <a:pt x="46" y="42"/>
                    <a:pt x="46" y="42"/>
                    <a:pt x="46" y="42"/>
                  </a:cubicBezTo>
                  <a:cubicBezTo>
                    <a:pt x="44" y="40"/>
                    <a:pt x="42" y="38"/>
                    <a:pt x="37" y="37"/>
                  </a:cubicBezTo>
                  <a:cubicBezTo>
                    <a:pt x="36" y="37"/>
                    <a:pt x="36" y="37"/>
                    <a:pt x="36" y="37"/>
                  </a:cubicBezTo>
                  <a:cubicBezTo>
                    <a:pt x="36" y="37"/>
                    <a:pt x="35" y="37"/>
                    <a:pt x="34" y="37"/>
                  </a:cubicBezTo>
                  <a:cubicBezTo>
                    <a:pt x="34" y="37"/>
                    <a:pt x="33" y="37"/>
                    <a:pt x="33" y="37"/>
                  </a:cubicBezTo>
                  <a:cubicBezTo>
                    <a:pt x="33" y="37"/>
                    <a:pt x="34" y="37"/>
                    <a:pt x="34" y="37"/>
                  </a:cubicBezTo>
                  <a:cubicBezTo>
                    <a:pt x="35" y="36"/>
                    <a:pt x="35" y="36"/>
                    <a:pt x="36" y="36"/>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51" name="Freeform 51">
              <a:extLst>
                <a:ext uri="{FF2B5EF4-FFF2-40B4-BE49-F238E27FC236}">
                  <a16:creationId xmlns:a16="http://schemas.microsoft.com/office/drawing/2014/main" id="{A8E41F68-6296-4584-8836-2EF9806CB920}"/>
                </a:ext>
              </a:extLst>
            </p:cNvPr>
            <p:cNvSpPr>
              <a:spLocks/>
            </p:cNvSpPr>
            <p:nvPr/>
          </p:nvSpPr>
          <p:spPr bwMode="auto">
            <a:xfrm>
              <a:off x="3138356" y="3611705"/>
              <a:ext cx="530111" cy="560933"/>
            </a:xfrm>
            <a:custGeom>
              <a:avLst/>
              <a:gdLst>
                <a:gd name="T0" fmla="*/ 260 w 262"/>
                <a:gd name="T1" fmla="*/ 142 h 301"/>
                <a:gd name="T2" fmla="*/ 259 w 262"/>
                <a:gd name="T3" fmla="*/ 137 h 301"/>
                <a:gd name="T4" fmla="*/ 237 w 262"/>
                <a:gd name="T5" fmla="*/ 129 h 301"/>
                <a:gd name="T6" fmla="*/ 231 w 262"/>
                <a:gd name="T7" fmla="*/ 128 h 301"/>
                <a:gd name="T8" fmla="*/ 225 w 262"/>
                <a:gd name="T9" fmla="*/ 118 h 301"/>
                <a:gd name="T10" fmla="*/ 221 w 262"/>
                <a:gd name="T11" fmla="*/ 104 h 301"/>
                <a:gd name="T12" fmla="*/ 220 w 262"/>
                <a:gd name="T13" fmla="*/ 92 h 301"/>
                <a:gd name="T14" fmla="*/ 210 w 262"/>
                <a:gd name="T15" fmla="*/ 89 h 301"/>
                <a:gd name="T16" fmla="*/ 200 w 262"/>
                <a:gd name="T17" fmla="*/ 76 h 301"/>
                <a:gd name="T18" fmla="*/ 191 w 262"/>
                <a:gd name="T19" fmla="*/ 70 h 301"/>
                <a:gd name="T20" fmla="*/ 183 w 262"/>
                <a:gd name="T21" fmla="*/ 62 h 301"/>
                <a:gd name="T22" fmla="*/ 174 w 262"/>
                <a:gd name="T23" fmla="*/ 48 h 301"/>
                <a:gd name="T24" fmla="*/ 171 w 262"/>
                <a:gd name="T25" fmla="*/ 37 h 301"/>
                <a:gd name="T26" fmla="*/ 154 w 262"/>
                <a:gd name="T27" fmla="*/ 10 h 301"/>
                <a:gd name="T28" fmla="*/ 153 w 262"/>
                <a:gd name="T29" fmla="*/ 0 h 301"/>
                <a:gd name="T30" fmla="*/ 141 w 262"/>
                <a:gd name="T31" fmla="*/ 5 h 301"/>
                <a:gd name="T32" fmla="*/ 131 w 262"/>
                <a:gd name="T33" fmla="*/ 10 h 301"/>
                <a:gd name="T34" fmla="*/ 120 w 262"/>
                <a:gd name="T35" fmla="*/ 13 h 301"/>
                <a:gd name="T36" fmla="*/ 98 w 262"/>
                <a:gd name="T37" fmla="*/ 7 h 301"/>
                <a:gd name="T38" fmla="*/ 29 w 262"/>
                <a:gd name="T39" fmla="*/ 140 h 301"/>
                <a:gd name="T40" fmla="*/ 1 w 262"/>
                <a:gd name="T41" fmla="*/ 234 h 301"/>
                <a:gd name="T42" fmla="*/ 22 w 262"/>
                <a:gd name="T43" fmla="*/ 269 h 301"/>
                <a:gd name="T44" fmla="*/ 17 w 262"/>
                <a:gd name="T45" fmla="*/ 299 h 301"/>
                <a:gd name="T46" fmla="*/ 21 w 262"/>
                <a:gd name="T47" fmla="*/ 300 h 301"/>
                <a:gd name="T48" fmla="*/ 32 w 262"/>
                <a:gd name="T49" fmla="*/ 301 h 301"/>
                <a:gd name="T50" fmla="*/ 39 w 262"/>
                <a:gd name="T51" fmla="*/ 301 h 301"/>
                <a:gd name="T52" fmla="*/ 46 w 262"/>
                <a:gd name="T53" fmla="*/ 301 h 301"/>
                <a:gd name="T54" fmla="*/ 52 w 262"/>
                <a:gd name="T55" fmla="*/ 296 h 301"/>
                <a:gd name="T56" fmla="*/ 59 w 262"/>
                <a:gd name="T57" fmla="*/ 291 h 301"/>
                <a:gd name="T58" fmla="*/ 65 w 262"/>
                <a:gd name="T59" fmla="*/ 285 h 301"/>
                <a:gd name="T60" fmla="*/ 75 w 262"/>
                <a:gd name="T61" fmla="*/ 274 h 301"/>
                <a:gd name="T62" fmla="*/ 80 w 262"/>
                <a:gd name="T63" fmla="*/ 259 h 301"/>
                <a:gd name="T64" fmla="*/ 100 w 262"/>
                <a:gd name="T65" fmla="*/ 252 h 301"/>
                <a:gd name="T66" fmla="*/ 115 w 262"/>
                <a:gd name="T67" fmla="*/ 261 h 301"/>
                <a:gd name="T68" fmla="*/ 122 w 262"/>
                <a:gd name="T69" fmla="*/ 263 h 301"/>
                <a:gd name="T70" fmla="*/ 135 w 262"/>
                <a:gd name="T71" fmla="*/ 267 h 301"/>
                <a:gd name="T72" fmla="*/ 145 w 262"/>
                <a:gd name="T73" fmla="*/ 264 h 301"/>
                <a:gd name="T74" fmla="*/ 152 w 262"/>
                <a:gd name="T75" fmla="*/ 265 h 301"/>
                <a:gd name="T76" fmla="*/ 161 w 262"/>
                <a:gd name="T77" fmla="*/ 252 h 301"/>
                <a:gd name="T78" fmla="*/ 168 w 262"/>
                <a:gd name="T79" fmla="*/ 233 h 301"/>
                <a:gd name="T80" fmla="*/ 183 w 262"/>
                <a:gd name="T81" fmla="*/ 226 h 301"/>
                <a:gd name="T82" fmla="*/ 195 w 262"/>
                <a:gd name="T83" fmla="*/ 213 h 301"/>
                <a:gd name="T84" fmla="*/ 209 w 262"/>
                <a:gd name="T85" fmla="*/ 189 h 301"/>
                <a:gd name="T86" fmla="*/ 225 w 262"/>
                <a:gd name="T87" fmla="*/ 176 h 301"/>
                <a:gd name="T88" fmla="*/ 233 w 262"/>
                <a:gd name="T89" fmla="*/ 166 h 301"/>
                <a:gd name="T90" fmla="*/ 243 w 262"/>
                <a:gd name="T91" fmla="*/ 161 h 301"/>
                <a:gd name="T92" fmla="*/ 251 w 262"/>
                <a:gd name="T93" fmla="*/ 158 h 301"/>
                <a:gd name="T94" fmla="*/ 256 w 262"/>
                <a:gd name="T95" fmla="*/ 153 h 301"/>
                <a:gd name="T96" fmla="*/ 260 w 262"/>
                <a:gd name="T97" fmla="*/ 148 h 301"/>
                <a:gd name="T98" fmla="*/ 261 w 262"/>
                <a:gd name="T99" fmla="*/ 143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2" h="301">
                  <a:moveTo>
                    <a:pt x="261" y="143"/>
                  </a:moveTo>
                  <a:cubicBezTo>
                    <a:pt x="261" y="143"/>
                    <a:pt x="261" y="143"/>
                    <a:pt x="261" y="143"/>
                  </a:cubicBezTo>
                  <a:cubicBezTo>
                    <a:pt x="260" y="142"/>
                    <a:pt x="260" y="142"/>
                    <a:pt x="260" y="142"/>
                  </a:cubicBezTo>
                  <a:cubicBezTo>
                    <a:pt x="259" y="142"/>
                    <a:pt x="259" y="141"/>
                    <a:pt x="259" y="140"/>
                  </a:cubicBezTo>
                  <a:cubicBezTo>
                    <a:pt x="259" y="140"/>
                    <a:pt x="259" y="140"/>
                    <a:pt x="259" y="139"/>
                  </a:cubicBezTo>
                  <a:cubicBezTo>
                    <a:pt x="259" y="138"/>
                    <a:pt x="259" y="138"/>
                    <a:pt x="259" y="137"/>
                  </a:cubicBezTo>
                  <a:cubicBezTo>
                    <a:pt x="258" y="134"/>
                    <a:pt x="254" y="133"/>
                    <a:pt x="252" y="132"/>
                  </a:cubicBezTo>
                  <a:cubicBezTo>
                    <a:pt x="251" y="131"/>
                    <a:pt x="250" y="131"/>
                    <a:pt x="250" y="131"/>
                  </a:cubicBezTo>
                  <a:cubicBezTo>
                    <a:pt x="246" y="129"/>
                    <a:pt x="242" y="129"/>
                    <a:pt x="237" y="129"/>
                  </a:cubicBezTo>
                  <a:cubicBezTo>
                    <a:pt x="237" y="129"/>
                    <a:pt x="236" y="129"/>
                    <a:pt x="236" y="129"/>
                  </a:cubicBezTo>
                  <a:cubicBezTo>
                    <a:pt x="235" y="129"/>
                    <a:pt x="235" y="129"/>
                    <a:pt x="234" y="129"/>
                  </a:cubicBezTo>
                  <a:cubicBezTo>
                    <a:pt x="233" y="129"/>
                    <a:pt x="232" y="129"/>
                    <a:pt x="231" y="128"/>
                  </a:cubicBezTo>
                  <a:cubicBezTo>
                    <a:pt x="230" y="128"/>
                    <a:pt x="230" y="126"/>
                    <a:pt x="230" y="125"/>
                  </a:cubicBezTo>
                  <a:cubicBezTo>
                    <a:pt x="229" y="124"/>
                    <a:pt x="229" y="124"/>
                    <a:pt x="229" y="123"/>
                  </a:cubicBezTo>
                  <a:cubicBezTo>
                    <a:pt x="228" y="122"/>
                    <a:pt x="227" y="120"/>
                    <a:pt x="225" y="118"/>
                  </a:cubicBezTo>
                  <a:cubicBezTo>
                    <a:pt x="225" y="117"/>
                    <a:pt x="224" y="117"/>
                    <a:pt x="223" y="116"/>
                  </a:cubicBezTo>
                  <a:cubicBezTo>
                    <a:pt x="222" y="115"/>
                    <a:pt x="221" y="114"/>
                    <a:pt x="221" y="111"/>
                  </a:cubicBezTo>
                  <a:cubicBezTo>
                    <a:pt x="220" y="109"/>
                    <a:pt x="221" y="107"/>
                    <a:pt x="221" y="104"/>
                  </a:cubicBezTo>
                  <a:cubicBezTo>
                    <a:pt x="221" y="103"/>
                    <a:pt x="221" y="102"/>
                    <a:pt x="222" y="101"/>
                  </a:cubicBezTo>
                  <a:cubicBezTo>
                    <a:pt x="222" y="101"/>
                    <a:pt x="222" y="100"/>
                    <a:pt x="222" y="99"/>
                  </a:cubicBezTo>
                  <a:cubicBezTo>
                    <a:pt x="222" y="96"/>
                    <a:pt x="223" y="93"/>
                    <a:pt x="220" y="92"/>
                  </a:cubicBezTo>
                  <a:cubicBezTo>
                    <a:pt x="219" y="91"/>
                    <a:pt x="219" y="91"/>
                    <a:pt x="219" y="91"/>
                  </a:cubicBezTo>
                  <a:cubicBezTo>
                    <a:pt x="210" y="92"/>
                    <a:pt x="210" y="92"/>
                    <a:pt x="210" y="92"/>
                  </a:cubicBezTo>
                  <a:cubicBezTo>
                    <a:pt x="210" y="91"/>
                    <a:pt x="210" y="90"/>
                    <a:pt x="210" y="89"/>
                  </a:cubicBezTo>
                  <a:cubicBezTo>
                    <a:pt x="211" y="85"/>
                    <a:pt x="211" y="80"/>
                    <a:pt x="206" y="77"/>
                  </a:cubicBezTo>
                  <a:cubicBezTo>
                    <a:pt x="205" y="77"/>
                    <a:pt x="204" y="76"/>
                    <a:pt x="203" y="76"/>
                  </a:cubicBezTo>
                  <a:cubicBezTo>
                    <a:pt x="202" y="76"/>
                    <a:pt x="201" y="76"/>
                    <a:pt x="200" y="76"/>
                  </a:cubicBezTo>
                  <a:cubicBezTo>
                    <a:pt x="199" y="75"/>
                    <a:pt x="199" y="75"/>
                    <a:pt x="199" y="75"/>
                  </a:cubicBezTo>
                  <a:cubicBezTo>
                    <a:pt x="198" y="74"/>
                    <a:pt x="197" y="73"/>
                    <a:pt x="195" y="73"/>
                  </a:cubicBezTo>
                  <a:cubicBezTo>
                    <a:pt x="193" y="73"/>
                    <a:pt x="192" y="71"/>
                    <a:pt x="191" y="70"/>
                  </a:cubicBezTo>
                  <a:cubicBezTo>
                    <a:pt x="190" y="70"/>
                    <a:pt x="190" y="70"/>
                    <a:pt x="190" y="69"/>
                  </a:cubicBezTo>
                  <a:cubicBezTo>
                    <a:pt x="188" y="68"/>
                    <a:pt x="186" y="67"/>
                    <a:pt x="185" y="65"/>
                  </a:cubicBezTo>
                  <a:cubicBezTo>
                    <a:pt x="184" y="64"/>
                    <a:pt x="184" y="63"/>
                    <a:pt x="183" y="62"/>
                  </a:cubicBezTo>
                  <a:cubicBezTo>
                    <a:pt x="183" y="61"/>
                    <a:pt x="182" y="61"/>
                    <a:pt x="182" y="60"/>
                  </a:cubicBezTo>
                  <a:cubicBezTo>
                    <a:pt x="181" y="59"/>
                    <a:pt x="181" y="59"/>
                    <a:pt x="181" y="59"/>
                  </a:cubicBezTo>
                  <a:cubicBezTo>
                    <a:pt x="178" y="56"/>
                    <a:pt x="176" y="52"/>
                    <a:pt x="174" y="48"/>
                  </a:cubicBezTo>
                  <a:cubicBezTo>
                    <a:pt x="174" y="47"/>
                    <a:pt x="174" y="45"/>
                    <a:pt x="174" y="44"/>
                  </a:cubicBezTo>
                  <a:cubicBezTo>
                    <a:pt x="174" y="43"/>
                    <a:pt x="174" y="41"/>
                    <a:pt x="173" y="40"/>
                  </a:cubicBezTo>
                  <a:cubicBezTo>
                    <a:pt x="173" y="39"/>
                    <a:pt x="172" y="38"/>
                    <a:pt x="171" y="37"/>
                  </a:cubicBezTo>
                  <a:cubicBezTo>
                    <a:pt x="171" y="36"/>
                    <a:pt x="170" y="36"/>
                    <a:pt x="170" y="35"/>
                  </a:cubicBezTo>
                  <a:cubicBezTo>
                    <a:pt x="167" y="29"/>
                    <a:pt x="164" y="25"/>
                    <a:pt x="162" y="21"/>
                  </a:cubicBezTo>
                  <a:cubicBezTo>
                    <a:pt x="159" y="17"/>
                    <a:pt x="156" y="14"/>
                    <a:pt x="154" y="10"/>
                  </a:cubicBezTo>
                  <a:cubicBezTo>
                    <a:pt x="154" y="9"/>
                    <a:pt x="154" y="7"/>
                    <a:pt x="154" y="6"/>
                  </a:cubicBezTo>
                  <a:cubicBezTo>
                    <a:pt x="154" y="5"/>
                    <a:pt x="154" y="5"/>
                    <a:pt x="154" y="4"/>
                  </a:cubicBezTo>
                  <a:cubicBezTo>
                    <a:pt x="153" y="0"/>
                    <a:pt x="153" y="0"/>
                    <a:pt x="153" y="0"/>
                  </a:cubicBezTo>
                  <a:cubicBezTo>
                    <a:pt x="150" y="3"/>
                    <a:pt x="150" y="3"/>
                    <a:pt x="150" y="3"/>
                  </a:cubicBezTo>
                  <a:cubicBezTo>
                    <a:pt x="149" y="4"/>
                    <a:pt x="147" y="4"/>
                    <a:pt x="145" y="4"/>
                  </a:cubicBezTo>
                  <a:cubicBezTo>
                    <a:pt x="143" y="4"/>
                    <a:pt x="142" y="4"/>
                    <a:pt x="141" y="5"/>
                  </a:cubicBezTo>
                  <a:cubicBezTo>
                    <a:pt x="138" y="6"/>
                    <a:pt x="135" y="8"/>
                    <a:pt x="135" y="11"/>
                  </a:cubicBezTo>
                  <a:cubicBezTo>
                    <a:pt x="134" y="11"/>
                    <a:pt x="134" y="11"/>
                    <a:pt x="134" y="11"/>
                  </a:cubicBezTo>
                  <a:cubicBezTo>
                    <a:pt x="133" y="11"/>
                    <a:pt x="132" y="10"/>
                    <a:pt x="131" y="10"/>
                  </a:cubicBezTo>
                  <a:cubicBezTo>
                    <a:pt x="130" y="9"/>
                    <a:pt x="130" y="8"/>
                    <a:pt x="128" y="8"/>
                  </a:cubicBezTo>
                  <a:cubicBezTo>
                    <a:pt x="128" y="8"/>
                    <a:pt x="127" y="8"/>
                    <a:pt x="127" y="9"/>
                  </a:cubicBezTo>
                  <a:cubicBezTo>
                    <a:pt x="124" y="9"/>
                    <a:pt x="122" y="11"/>
                    <a:pt x="120" y="13"/>
                  </a:cubicBezTo>
                  <a:cubicBezTo>
                    <a:pt x="119" y="14"/>
                    <a:pt x="119" y="14"/>
                    <a:pt x="118" y="15"/>
                  </a:cubicBezTo>
                  <a:cubicBezTo>
                    <a:pt x="114" y="18"/>
                    <a:pt x="111" y="21"/>
                    <a:pt x="107" y="24"/>
                  </a:cubicBezTo>
                  <a:cubicBezTo>
                    <a:pt x="98" y="7"/>
                    <a:pt x="98" y="7"/>
                    <a:pt x="98" y="7"/>
                  </a:cubicBezTo>
                  <a:cubicBezTo>
                    <a:pt x="53" y="17"/>
                    <a:pt x="53" y="17"/>
                    <a:pt x="53" y="17"/>
                  </a:cubicBezTo>
                  <a:cubicBezTo>
                    <a:pt x="29" y="19"/>
                    <a:pt x="29" y="19"/>
                    <a:pt x="29" y="19"/>
                  </a:cubicBezTo>
                  <a:cubicBezTo>
                    <a:pt x="29" y="140"/>
                    <a:pt x="29" y="140"/>
                    <a:pt x="29" y="140"/>
                  </a:cubicBezTo>
                  <a:cubicBezTo>
                    <a:pt x="2" y="140"/>
                    <a:pt x="2" y="140"/>
                    <a:pt x="2" y="140"/>
                  </a:cubicBezTo>
                  <a:cubicBezTo>
                    <a:pt x="0" y="233"/>
                    <a:pt x="0" y="233"/>
                    <a:pt x="0" y="233"/>
                  </a:cubicBezTo>
                  <a:cubicBezTo>
                    <a:pt x="1" y="234"/>
                    <a:pt x="1" y="234"/>
                    <a:pt x="1" y="234"/>
                  </a:cubicBezTo>
                  <a:cubicBezTo>
                    <a:pt x="10" y="236"/>
                    <a:pt x="15" y="246"/>
                    <a:pt x="18" y="255"/>
                  </a:cubicBezTo>
                  <a:cubicBezTo>
                    <a:pt x="19" y="258"/>
                    <a:pt x="20" y="262"/>
                    <a:pt x="21" y="265"/>
                  </a:cubicBezTo>
                  <a:cubicBezTo>
                    <a:pt x="22" y="269"/>
                    <a:pt x="22" y="269"/>
                    <a:pt x="22" y="269"/>
                  </a:cubicBezTo>
                  <a:cubicBezTo>
                    <a:pt x="24" y="274"/>
                    <a:pt x="25" y="278"/>
                    <a:pt x="21" y="283"/>
                  </a:cubicBezTo>
                  <a:cubicBezTo>
                    <a:pt x="17" y="287"/>
                    <a:pt x="17" y="292"/>
                    <a:pt x="17" y="297"/>
                  </a:cubicBezTo>
                  <a:cubicBezTo>
                    <a:pt x="17" y="297"/>
                    <a:pt x="17" y="298"/>
                    <a:pt x="17" y="299"/>
                  </a:cubicBezTo>
                  <a:cubicBezTo>
                    <a:pt x="17" y="301"/>
                    <a:pt x="17" y="301"/>
                    <a:pt x="17" y="301"/>
                  </a:cubicBezTo>
                  <a:cubicBezTo>
                    <a:pt x="20" y="301"/>
                    <a:pt x="20" y="301"/>
                    <a:pt x="20" y="301"/>
                  </a:cubicBezTo>
                  <a:cubicBezTo>
                    <a:pt x="20" y="301"/>
                    <a:pt x="21" y="301"/>
                    <a:pt x="21" y="300"/>
                  </a:cubicBezTo>
                  <a:cubicBezTo>
                    <a:pt x="23" y="300"/>
                    <a:pt x="24" y="299"/>
                    <a:pt x="25" y="299"/>
                  </a:cubicBezTo>
                  <a:cubicBezTo>
                    <a:pt x="27" y="299"/>
                    <a:pt x="28" y="300"/>
                    <a:pt x="29" y="300"/>
                  </a:cubicBezTo>
                  <a:cubicBezTo>
                    <a:pt x="30" y="301"/>
                    <a:pt x="31" y="301"/>
                    <a:pt x="32" y="301"/>
                  </a:cubicBezTo>
                  <a:cubicBezTo>
                    <a:pt x="33" y="301"/>
                    <a:pt x="33" y="301"/>
                    <a:pt x="34" y="301"/>
                  </a:cubicBezTo>
                  <a:cubicBezTo>
                    <a:pt x="34" y="301"/>
                    <a:pt x="35" y="301"/>
                    <a:pt x="36" y="301"/>
                  </a:cubicBezTo>
                  <a:cubicBezTo>
                    <a:pt x="37" y="301"/>
                    <a:pt x="38" y="301"/>
                    <a:pt x="39" y="301"/>
                  </a:cubicBezTo>
                  <a:cubicBezTo>
                    <a:pt x="40" y="301"/>
                    <a:pt x="41" y="301"/>
                    <a:pt x="42" y="301"/>
                  </a:cubicBezTo>
                  <a:cubicBezTo>
                    <a:pt x="43" y="301"/>
                    <a:pt x="43" y="301"/>
                    <a:pt x="44" y="301"/>
                  </a:cubicBezTo>
                  <a:cubicBezTo>
                    <a:pt x="45" y="301"/>
                    <a:pt x="45" y="301"/>
                    <a:pt x="46" y="301"/>
                  </a:cubicBezTo>
                  <a:cubicBezTo>
                    <a:pt x="47" y="301"/>
                    <a:pt x="48" y="300"/>
                    <a:pt x="48" y="299"/>
                  </a:cubicBezTo>
                  <a:cubicBezTo>
                    <a:pt x="48" y="298"/>
                    <a:pt x="48" y="297"/>
                    <a:pt x="49" y="297"/>
                  </a:cubicBezTo>
                  <a:cubicBezTo>
                    <a:pt x="49" y="296"/>
                    <a:pt x="50" y="296"/>
                    <a:pt x="52" y="296"/>
                  </a:cubicBezTo>
                  <a:cubicBezTo>
                    <a:pt x="53" y="296"/>
                    <a:pt x="53" y="296"/>
                    <a:pt x="53" y="296"/>
                  </a:cubicBezTo>
                  <a:cubicBezTo>
                    <a:pt x="53" y="296"/>
                    <a:pt x="54" y="296"/>
                    <a:pt x="55" y="295"/>
                  </a:cubicBezTo>
                  <a:cubicBezTo>
                    <a:pt x="57" y="295"/>
                    <a:pt x="58" y="293"/>
                    <a:pt x="59" y="291"/>
                  </a:cubicBezTo>
                  <a:cubicBezTo>
                    <a:pt x="59" y="291"/>
                    <a:pt x="59" y="291"/>
                    <a:pt x="59" y="290"/>
                  </a:cubicBezTo>
                  <a:cubicBezTo>
                    <a:pt x="60" y="288"/>
                    <a:pt x="60" y="287"/>
                    <a:pt x="62" y="286"/>
                  </a:cubicBezTo>
                  <a:cubicBezTo>
                    <a:pt x="63" y="285"/>
                    <a:pt x="64" y="285"/>
                    <a:pt x="65" y="285"/>
                  </a:cubicBezTo>
                  <a:cubicBezTo>
                    <a:pt x="66" y="284"/>
                    <a:pt x="67" y="284"/>
                    <a:pt x="69" y="282"/>
                  </a:cubicBezTo>
                  <a:cubicBezTo>
                    <a:pt x="70" y="281"/>
                    <a:pt x="71" y="279"/>
                    <a:pt x="72" y="277"/>
                  </a:cubicBezTo>
                  <a:cubicBezTo>
                    <a:pt x="73" y="276"/>
                    <a:pt x="74" y="275"/>
                    <a:pt x="75" y="274"/>
                  </a:cubicBezTo>
                  <a:cubicBezTo>
                    <a:pt x="76" y="272"/>
                    <a:pt x="77" y="271"/>
                    <a:pt x="78" y="269"/>
                  </a:cubicBezTo>
                  <a:cubicBezTo>
                    <a:pt x="79" y="266"/>
                    <a:pt x="80" y="263"/>
                    <a:pt x="80" y="260"/>
                  </a:cubicBezTo>
                  <a:cubicBezTo>
                    <a:pt x="80" y="259"/>
                    <a:pt x="80" y="259"/>
                    <a:pt x="80" y="259"/>
                  </a:cubicBezTo>
                  <a:cubicBezTo>
                    <a:pt x="81" y="253"/>
                    <a:pt x="84" y="249"/>
                    <a:pt x="88" y="249"/>
                  </a:cubicBezTo>
                  <a:cubicBezTo>
                    <a:pt x="89" y="248"/>
                    <a:pt x="91" y="248"/>
                    <a:pt x="92" y="248"/>
                  </a:cubicBezTo>
                  <a:cubicBezTo>
                    <a:pt x="95" y="248"/>
                    <a:pt x="98" y="249"/>
                    <a:pt x="100" y="252"/>
                  </a:cubicBezTo>
                  <a:cubicBezTo>
                    <a:pt x="103" y="255"/>
                    <a:pt x="107" y="259"/>
                    <a:pt x="111" y="260"/>
                  </a:cubicBezTo>
                  <a:cubicBezTo>
                    <a:pt x="112" y="261"/>
                    <a:pt x="112" y="261"/>
                    <a:pt x="113" y="261"/>
                  </a:cubicBezTo>
                  <a:cubicBezTo>
                    <a:pt x="114" y="261"/>
                    <a:pt x="114" y="261"/>
                    <a:pt x="115" y="261"/>
                  </a:cubicBezTo>
                  <a:cubicBezTo>
                    <a:pt x="116" y="261"/>
                    <a:pt x="117" y="260"/>
                    <a:pt x="118" y="260"/>
                  </a:cubicBezTo>
                  <a:cubicBezTo>
                    <a:pt x="118" y="260"/>
                    <a:pt x="118" y="260"/>
                    <a:pt x="118" y="260"/>
                  </a:cubicBezTo>
                  <a:cubicBezTo>
                    <a:pt x="120" y="260"/>
                    <a:pt x="121" y="261"/>
                    <a:pt x="122" y="263"/>
                  </a:cubicBezTo>
                  <a:cubicBezTo>
                    <a:pt x="125" y="266"/>
                    <a:pt x="129" y="266"/>
                    <a:pt x="133" y="267"/>
                  </a:cubicBezTo>
                  <a:cubicBezTo>
                    <a:pt x="134" y="267"/>
                    <a:pt x="134" y="267"/>
                    <a:pt x="134" y="267"/>
                  </a:cubicBezTo>
                  <a:cubicBezTo>
                    <a:pt x="135" y="267"/>
                    <a:pt x="135" y="267"/>
                    <a:pt x="135" y="267"/>
                  </a:cubicBezTo>
                  <a:cubicBezTo>
                    <a:pt x="137" y="267"/>
                    <a:pt x="138" y="266"/>
                    <a:pt x="140" y="266"/>
                  </a:cubicBezTo>
                  <a:cubicBezTo>
                    <a:pt x="141" y="265"/>
                    <a:pt x="142" y="264"/>
                    <a:pt x="143" y="264"/>
                  </a:cubicBezTo>
                  <a:cubicBezTo>
                    <a:pt x="144" y="264"/>
                    <a:pt x="145" y="264"/>
                    <a:pt x="145" y="264"/>
                  </a:cubicBezTo>
                  <a:cubicBezTo>
                    <a:pt x="146" y="265"/>
                    <a:pt x="146" y="265"/>
                    <a:pt x="147" y="265"/>
                  </a:cubicBezTo>
                  <a:cubicBezTo>
                    <a:pt x="148" y="265"/>
                    <a:pt x="149" y="266"/>
                    <a:pt x="150" y="266"/>
                  </a:cubicBezTo>
                  <a:cubicBezTo>
                    <a:pt x="151" y="266"/>
                    <a:pt x="151" y="266"/>
                    <a:pt x="152" y="265"/>
                  </a:cubicBezTo>
                  <a:cubicBezTo>
                    <a:pt x="154" y="264"/>
                    <a:pt x="156" y="262"/>
                    <a:pt x="157" y="260"/>
                  </a:cubicBezTo>
                  <a:cubicBezTo>
                    <a:pt x="158" y="260"/>
                    <a:pt x="158" y="260"/>
                    <a:pt x="158" y="260"/>
                  </a:cubicBezTo>
                  <a:cubicBezTo>
                    <a:pt x="160" y="257"/>
                    <a:pt x="160" y="254"/>
                    <a:pt x="161" y="252"/>
                  </a:cubicBezTo>
                  <a:cubicBezTo>
                    <a:pt x="162" y="250"/>
                    <a:pt x="162" y="248"/>
                    <a:pt x="163" y="246"/>
                  </a:cubicBezTo>
                  <a:cubicBezTo>
                    <a:pt x="164" y="244"/>
                    <a:pt x="165" y="242"/>
                    <a:pt x="165" y="239"/>
                  </a:cubicBezTo>
                  <a:cubicBezTo>
                    <a:pt x="166" y="237"/>
                    <a:pt x="167" y="235"/>
                    <a:pt x="168" y="233"/>
                  </a:cubicBezTo>
                  <a:cubicBezTo>
                    <a:pt x="169" y="230"/>
                    <a:pt x="172" y="229"/>
                    <a:pt x="175" y="228"/>
                  </a:cubicBezTo>
                  <a:cubicBezTo>
                    <a:pt x="176" y="228"/>
                    <a:pt x="177" y="228"/>
                    <a:pt x="178" y="228"/>
                  </a:cubicBezTo>
                  <a:cubicBezTo>
                    <a:pt x="179" y="228"/>
                    <a:pt x="181" y="228"/>
                    <a:pt x="183" y="226"/>
                  </a:cubicBezTo>
                  <a:cubicBezTo>
                    <a:pt x="185" y="224"/>
                    <a:pt x="188" y="222"/>
                    <a:pt x="191" y="220"/>
                  </a:cubicBezTo>
                  <a:cubicBezTo>
                    <a:pt x="192" y="219"/>
                    <a:pt x="192" y="219"/>
                    <a:pt x="192" y="219"/>
                  </a:cubicBezTo>
                  <a:cubicBezTo>
                    <a:pt x="195" y="217"/>
                    <a:pt x="195" y="216"/>
                    <a:pt x="195" y="213"/>
                  </a:cubicBezTo>
                  <a:cubicBezTo>
                    <a:pt x="195" y="212"/>
                    <a:pt x="195" y="212"/>
                    <a:pt x="195" y="212"/>
                  </a:cubicBezTo>
                  <a:cubicBezTo>
                    <a:pt x="196" y="206"/>
                    <a:pt x="197" y="199"/>
                    <a:pt x="201" y="195"/>
                  </a:cubicBezTo>
                  <a:cubicBezTo>
                    <a:pt x="204" y="193"/>
                    <a:pt x="207" y="191"/>
                    <a:pt x="209" y="189"/>
                  </a:cubicBezTo>
                  <a:cubicBezTo>
                    <a:pt x="212" y="187"/>
                    <a:pt x="215" y="185"/>
                    <a:pt x="218" y="183"/>
                  </a:cubicBezTo>
                  <a:cubicBezTo>
                    <a:pt x="219" y="182"/>
                    <a:pt x="220" y="181"/>
                    <a:pt x="221" y="180"/>
                  </a:cubicBezTo>
                  <a:cubicBezTo>
                    <a:pt x="223" y="179"/>
                    <a:pt x="224" y="178"/>
                    <a:pt x="225" y="176"/>
                  </a:cubicBezTo>
                  <a:cubicBezTo>
                    <a:pt x="228" y="173"/>
                    <a:pt x="228" y="173"/>
                    <a:pt x="228" y="173"/>
                  </a:cubicBezTo>
                  <a:cubicBezTo>
                    <a:pt x="229" y="172"/>
                    <a:pt x="230" y="170"/>
                    <a:pt x="231" y="168"/>
                  </a:cubicBezTo>
                  <a:cubicBezTo>
                    <a:pt x="232" y="168"/>
                    <a:pt x="232" y="167"/>
                    <a:pt x="233" y="166"/>
                  </a:cubicBezTo>
                  <a:cubicBezTo>
                    <a:pt x="235" y="164"/>
                    <a:pt x="237" y="162"/>
                    <a:pt x="239" y="161"/>
                  </a:cubicBezTo>
                  <a:cubicBezTo>
                    <a:pt x="240" y="161"/>
                    <a:pt x="240" y="160"/>
                    <a:pt x="241" y="160"/>
                  </a:cubicBezTo>
                  <a:cubicBezTo>
                    <a:pt x="242" y="160"/>
                    <a:pt x="243" y="161"/>
                    <a:pt x="243" y="161"/>
                  </a:cubicBezTo>
                  <a:cubicBezTo>
                    <a:pt x="244" y="161"/>
                    <a:pt x="245" y="161"/>
                    <a:pt x="246" y="161"/>
                  </a:cubicBezTo>
                  <a:cubicBezTo>
                    <a:pt x="247" y="161"/>
                    <a:pt x="248" y="160"/>
                    <a:pt x="249" y="160"/>
                  </a:cubicBezTo>
                  <a:cubicBezTo>
                    <a:pt x="250" y="159"/>
                    <a:pt x="250" y="159"/>
                    <a:pt x="251" y="158"/>
                  </a:cubicBezTo>
                  <a:cubicBezTo>
                    <a:pt x="252" y="157"/>
                    <a:pt x="252" y="157"/>
                    <a:pt x="253" y="156"/>
                  </a:cubicBezTo>
                  <a:cubicBezTo>
                    <a:pt x="254" y="156"/>
                    <a:pt x="254" y="156"/>
                    <a:pt x="254" y="156"/>
                  </a:cubicBezTo>
                  <a:cubicBezTo>
                    <a:pt x="255" y="155"/>
                    <a:pt x="256" y="154"/>
                    <a:pt x="256" y="153"/>
                  </a:cubicBezTo>
                  <a:cubicBezTo>
                    <a:pt x="257" y="152"/>
                    <a:pt x="257" y="152"/>
                    <a:pt x="257" y="152"/>
                  </a:cubicBezTo>
                  <a:cubicBezTo>
                    <a:pt x="257" y="151"/>
                    <a:pt x="257" y="150"/>
                    <a:pt x="258" y="149"/>
                  </a:cubicBezTo>
                  <a:cubicBezTo>
                    <a:pt x="259" y="149"/>
                    <a:pt x="259" y="148"/>
                    <a:pt x="260" y="148"/>
                  </a:cubicBezTo>
                  <a:cubicBezTo>
                    <a:pt x="261" y="147"/>
                    <a:pt x="262" y="147"/>
                    <a:pt x="262" y="145"/>
                  </a:cubicBezTo>
                  <a:cubicBezTo>
                    <a:pt x="262" y="144"/>
                    <a:pt x="262" y="144"/>
                    <a:pt x="262" y="144"/>
                  </a:cubicBezTo>
                  <a:lnTo>
                    <a:pt x="261" y="143"/>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52" name="Freeform 52">
              <a:extLst>
                <a:ext uri="{FF2B5EF4-FFF2-40B4-BE49-F238E27FC236}">
                  <a16:creationId xmlns:a16="http://schemas.microsoft.com/office/drawing/2014/main" id="{216B8C23-8088-480F-AE63-7C4D39B27FF8}"/>
                </a:ext>
              </a:extLst>
            </p:cNvPr>
            <p:cNvSpPr>
              <a:spLocks/>
            </p:cNvSpPr>
            <p:nvPr/>
          </p:nvSpPr>
          <p:spPr bwMode="auto">
            <a:xfrm>
              <a:off x="2685251" y="2193962"/>
              <a:ext cx="1127182" cy="1153714"/>
            </a:xfrm>
            <a:custGeom>
              <a:avLst/>
              <a:gdLst>
                <a:gd name="T0" fmla="*/ 542 w 557"/>
                <a:gd name="T1" fmla="*/ 79 h 619"/>
                <a:gd name="T2" fmla="*/ 542 w 557"/>
                <a:gd name="T3" fmla="*/ 58 h 619"/>
                <a:gd name="T4" fmla="*/ 507 w 557"/>
                <a:gd name="T5" fmla="*/ 24 h 619"/>
                <a:gd name="T6" fmla="*/ 491 w 557"/>
                <a:gd name="T7" fmla="*/ 31 h 619"/>
                <a:gd name="T8" fmla="*/ 463 w 557"/>
                <a:gd name="T9" fmla="*/ 31 h 619"/>
                <a:gd name="T10" fmla="*/ 441 w 557"/>
                <a:gd name="T11" fmla="*/ 8 h 619"/>
                <a:gd name="T12" fmla="*/ 419 w 557"/>
                <a:gd name="T13" fmla="*/ 10 h 619"/>
                <a:gd name="T14" fmla="*/ 389 w 557"/>
                <a:gd name="T15" fmla="*/ 0 h 619"/>
                <a:gd name="T16" fmla="*/ 361 w 557"/>
                <a:gd name="T17" fmla="*/ 12 h 619"/>
                <a:gd name="T18" fmla="*/ 317 w 557"/>
                <a:gd name="T19" fmla="*/ 20 h 619"/>
                <a:gd name="T20" fmla="*/ 275 w 557"/>
                <a:gd name="T21" fmla="*/ 36 h 619"/>
                <a:gd name="T22" fmla="*/ 240 w 557"/>
                <a:gd name="T23" fmla="*/ 25 h 619"/>
                <a:gd name="T24" fmla="*/ 189 w 557"/>
                <a:gd name="T25" fmla="*/ 35 h 619"/>
                <a:gd name="T26" fmla="*/ 174 w 557"/>
                <a:gd name="T27" fmla="*/ 108 h 619"/>
                <a:gd name="T28" fmla="*/ 154 w 557"/>
                <a:gd name="T29" fmla="*/ 206 h 619"/>
                <a:gd name="T30" fmla="*/ 118 w 557"/>
                <a:gd name="T31" fmla="*/ 273 h 619"/>
                <a:gd name="T32" fmla="*/ 102 w 557"/>
                <a:gd name="T33" fmla="*/ 309 h 619"/>
                <a:gd name="T34" fmla="*/ 68 w 557"/>
                <a:gd name="T35" fmla="*/ 329 h 619"/>
                <a:gd name="T36" fmla="*/ 50 w 557"/>
                <a:gd name="T37" fmla="*/ 323 h 619"/>
                <a:gd name="T38" fmla="*/ 28 w 557"/>
                <a:gd name="T39" fmla="*/ 329 h 619"/>
                <a:gd name="T40" fmla="*/ 13 w 557"/>
                <a:gd name="T41" fmla="*/ 347 h 619"/>
                <a:gd name="T42" fmla="*/ 6 w 557"/>
                <a:gd name="T43" fmla="*/ 374 h 619"/>
                <a:gd name="T44" fmla="*/ 16 w 557"/>
                <a:gd name="T45" fmla="*/ 374 h 619"/>
                <a:gd name="T46" fmla="*/ 99 w 557"/>
                <a:gd name="T47" fmla="*/ 370 h 619"/>
                <a:gd name="T48" fmla="*/ 132 w 557"/>
                <a:gd name="T49" fmla="*/ 377 h 619"/>
                <a:gd name="T50" fmla="*/ 135 w 557"/>
                <a:gd name="T51" fmla="*/ 396 h 619"/>
                <a:gd name="T52" fmla="*/ 149 w 557"/>
                <a:gd name="T53" fmla="*/ 426 h 619"/>
                <a:gd name="T54" fmla="*/ 172 w 557"/>
                <a:gd name="T55" fmla="*/ 443 h 619"/>
                <a:gd name="T56" fmla="*/ 185 w 557"/>
                <a:gd name="T57" fmla="*/ 441 h 619"/>
                <a:gd name="T58" fmla="*/ 195 w 557"/>
                <a:gd name="T59" fmla="*/ 441 h 619"/>
                <a:gd name="T60" fmla="*/ 213 w 557"/>
                <a:gd name="T61" fmla="*/ 426 h 619"/>
                <a:gd name="T62" fmla="*/ 239 w 557"/>
                <a:gd name="T63" fmla="*/ 405 h 619"/>
                <a:gd name="T64" fmla="*/ 260 w 557"/>
                <a:gd name="T65" fmla="*/ 417 h 619"/>
                <a:gd name="T66" fmla="*/ 283 w 557"/>
                <a:gd name="T67" fmla="*/ 464 h 619"/>
                <a:gd name="T68" fmla="*/ 295 w 557"/>
                <a:gd name="T69" fmla="*/ 519 h 619"/>
                <a:gd name="T70" fmla="*/ 293 w 557"/>
                <a:gd name="T71" fmla="*/ 539 h 619"/>
                <a:gd name="T72" fmla="*/ 307 w 557"/>
                <a:gd name="T73" fmla="*/ 544 h 619"/>
                <a:gd name="T74" fmla="*/ 322 w 557"/>
                <a:gd name="T75" fmla="*/ 543 h 619"/>
                <a:gd name="T76" fmla="*/ 334 w 557"/>
                <a:gd name="T77" fmla="*/ 540 h 619"/>
                <a:gd name="T78" fmla="*/ 352 w 557"/>
                <a:gd name="T79" fmla="*/ 541 h 619"/>
                <a:gd name="T80" fmla="*/ 371 w 557"/>
                <a:gd name="T81" fmla="*/ 548 h 619"/>
                <a:gd name="T82" fmla="*/ 410 w 557"/>
                <a:gd name="T83" fmla="*/ 570 h 619"/>
                <a:gd name="T84" fmla="*/ 438 w 557"/>
                <a:gd name="T85" fmla="*/ 565 h 619"/>
                <a:gd name="T86" fmla="*/ 452 w 557"/>
                <a:gd name="T87" fmla="*/ 582 h 619"/>
                <a:gd name="T88" fmla="*/ 471 w 557"/>
                <a:gd name="T89" fmla="*/ 589 h 619"/>
                <a:gd name="T90" fmla="*/ 496 w 557"/>
                <a:gd name="T91" fmla="*/ 619 h 619"/>
                <a:gd name="T92" fmla="*/ 512 w 557"/>
                <a:gd name="T93" fmla="*/ 607 h 619"/>
                <a:gd name="T94" fmla="*/ 499 w 557"/>
                <a:gd name="T95" fmla="*/ 586 h 619"/>
                <a:gd name="T96" fmla="*/ 474 w 557"/>
                <a:gd name="T97" fmla="*/ 543 h 619"/>
                <a:gd name="T98" fmla="*/ 473 w 557"/>
                <a:gd name="T99" fmla="*/ 483 h 619"/>
                <a:gd name="T100" fmla="*/ 528 w 557"/>
                <a:gd name="T101" fmla="*/ 432 h 619"/>
                <a:gd name="T102" fmla="*/ 502 w 557"/>
                <a:gd name="T103" fmla="*/ 385 h 619"/>
                <a:gd name="T104" fmla="*/ 497 w 557"/>
                <a:gd name="T105" fmla="*/ 318 h 619"/>
                <a:gd name="T106" fmla="*/ 496 w 557"/>
                <a:gd name="T107" fmla="*/ 283 h 619"/>
                <a:gd name="T108" fmla="*/ 509 w 557"/>
                <a:gd name="T109" fmla="*/ 220 h 619"/>
                <a:gd name="T110" fmla="*/ 521 w 557"/>
                <a:gd name="T111" fmla="*/ 148 h 619"/>
                <a:gd name="T112" fmla="*/ 556 w 557"/>
                <a:gd name="T113" fmla="*/ 106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7" h="619">
                  <a:moveTo>
                    <a:pt x="556" y="106"/>
                  </a:moveTo>
                  <a:cubicBezTo>
                    <a:pt x="556" y="102"/>
                    <a:pt x="550" y="100"/>
                    <a:pt x="545" y="98"/>
                  </a:cubicBezTo>
                  <a:cubicBezTo>
                    <a:pt x="543" y="97"/>
                    <a:pt x="541" y="97"/>
                    <a:pt x="540" y="96"/>
                  </a:cubicBezTo>
                  <a:cubicBezTo>
                    <a:pt x="540" y="94"/>
                    <a:pt x="541" y="91"/>
                    <a:pt x="542" y="88"/>
                  </a:cubicBezTo>
                  <a:cubicBezTo>
                    <a:pt x="543" y="87"/>
                    <a:pt x="543" y="87"/>
                    <a:pt x="543" y="86"/>
                  </a:cubicBezTo>
                  <a:cubicBezTo>
                    <a:pt x="544" y="85"/>
                    <a:pt x="544" y="85"/>
                    <a:pt x="544" y="85"/>
                  </a:cubicBezTo>
                  <a:cubicBezTo>
                    <a:pt x="544" y="84"/>
                    <a:pt x="545" y="83"/>
                    <a:pt x="544" y="81"/>
                  </a:cubicBezTo>
                  <a:cubicBezTo>
                    <a:pt x="544" y="80"/>
                    <a:pt x="543" y="80"/>
                    <a:pt x="542" y="79"/>
                  </a:cubicBezTo>
                  <a:cubicBezTo>
                    <a:pt x="542" y="79"/>
                    <a:pt x="541" y="78"/>
                    <a:pt x="541" y="77"/>
                  </a:cubicBezTo>
                  <a:cubicBezTo>
                    <a:pt x="541" y="76"/>
                    <a:pt x="542" y="73"/>
                    <a:pt x="543" y="70"/>
                  </a:cubicBezTo>
                  <a:cubicBezTo>
                    <a:pt x="546" y="64"/>
                    <a:pt x="547" y="61"/>
                    <a:pt x="546" y="59"/>
                  </a:cubicBezTo>
                  <a:cubicBezTo>
                    <a:pt x="546" y="59"/>
                    <a:pt x="545" y="58"/>
                    <a:pt x="545" y="58"/>
                  </a:cubicBezTo>
                  <a:cubicBezTo>
                    <a:pt x="544" y="58"/>
                    <a:pt x="544" y="58"/>
                    <a:pt x="544" y="58"/>
                  </a:cubicBezTo>
                  <a:cubicBezTo>
                    <a:pt x="544" y="58"/>
                    <a:pt x="544" y="58"/>
                    <a:pt x="544" y="58"/>
                  </a:cubicBezTo>
                  <a:cubicBezTo>
                    <a:pt x="543" y="58"/>
                    <a:pt x="543" y="58"/>
                    <a:pt x="542" y="58"/>
                  </a:cubicBezTo>
                  <a:cubicBezTo>
                    <a:pt x="542" y="58"/>
                    <a:pt x="542" y="58"/>
                    <a:pt x="542" y="58"/>
                  </a:cubicBezTo>
                  <a:cubicBezTo>
                    <a:pt x="538" y="58"/>
                    <a:pt x="536" y="58"/>
                    <a:pt x="535" y="54"/>
                  </a:cubicBezTo>
                  <a:cubicBezTo>
                    <a:pt x="535" y="53"/>
                    <a:pt x="535" y="53"/>
                    <a:pt x="535" y="52"/>
                  </a:cubicBezTo>
                  <a:cubicBezTo>
                    <a:pt x="534" y="50"/>
                    <a:pt x="534" y="50"/>
                    <a:pt x="532" y="49"/>
                  </a:cubicBezTo>
                  <a:cubicBezTo>
                    <a:pt x="531" y="49"/>
                    <a:pt x="531" y="48"/>
                    <a:pt x="530" y="48"/>
                  </a:cubicBezTo>
                  <a:cubicBezTo>
                    <a:pt x="529" y="48"/>
                    <a:pt x="528" y="47"/>
                    <a:pt x="527" y="46"/>
                  </a:cubicBezTo>
                  <a:cubicBezTo>
                    <a:pt x="526" y="45"/>
                    <a:pt x="524" y="44"/>
                    <a:pt x="523" y="42"/>
                  </a:cubicBezTo>
                  <a:cubicBezTo>
                    <a:pt x="519" y="38"/>
                    <a:pt x="514" y="33"/>
                    <a:pt x="512" y="28"/>
                  </a:cubicBezTo>
                  <a:cubicBezTo>
                    <a:pt x="511" y="26"/>
                    <a:pt x="509" y="24"/>
                    <a:pt x="507" y="24"/>
                  </a:cubicBezTo>
                  <a:cubicBezTo>
                    <a:pt x="507" y="24"/>
                    <a:pt x="507" y="24"/>
                    <a:pt x="507" y="24"/>
                  </a:cubicBezTo>
                  <a:cubicBezTo>
                    <a:pt x="507" y="24"/>
                    <a:pt x="507" y="24"/>
                    <a:pt x="507" y="24"/>
                  </a:cubicBezTo>
                  <a:cubicBezTo>
                    <a:pt x="506" y="24"/>
                    <a:pt x="504" y="24"/>
                    <a:pt x="503" y="26"/>
                  </a:cubicBezTo>
                  <a:cubicBezTo>
                    <a:pt x="502" y="27"/>
                    <a:pt x="501" y="28"/>
                    <a:pt x="501" y="29"/>
                  </a:cubicBezTo>
                  <a:cubicBezTo>
                    <a:pt x="500" y="32"/>
                    <a:pt x="499" y="33"/>
                    <a:pt x="496" y="33"/>
                  </a:cubicBezTo>
                  <a:cubicBezTo>
                    <a:pt x="496" y="33"/>
                    <a:pt x="496" y="33"/>
                    <a:pt x="495" y="33"/>
                  </a:cubicBezTo>
                  <a:cubicBezTo>
                    <a:pt x="495" y="33"/>
                    <a:pt x="494" y="33"/>
                    <a:pt x="493" y="32"/>
                  </a:cubicBezTo>
                  <a:cubicBezTo>
                    <a:pt x="492" y="31"/>
                    <a:pt x="492" y="31"/>
                    <a:pt x="491" y="31"/>
                  </a:cubicBezTo>
                  <a:cubicBezTo>
                    <a:pt x="490" y="30"/>
                    <a:pt x="488" y="29"/>
                    <a:pt x="487" y="29"/>
                  </a:cubicBezTo>
                  <a:cubicBezTo>
                    <a:pt x="486" y="29"/>
                    <a:pt x="486" y="29"/>
                    <a:pt x="486" y="29"/>
                  </a:cubicBezTo>
                  <a:cubicBezTo>
                    <a:pt x="484" y="28"/>
                    <a:pt x="484" y="28"/>
                    <a:pt x="483" y="28"/>
                  </a:cubicBezTo>
                  <a:cubicBezTo>
                    <a:pt x="480" y="28"/>
                    <a:pt x="479" y="30"/>
                    <a:pt x="476" y="32"/>
                  </a:cubicBezTo>
                  <a:cubicBezTo>
                    <a:pt x="476" y="32"/>
                    <a:pt x="476" y="32"/>
                    <a:pt x="476" y="32"/>
                  </a:cubicBezTo>
                  <a:cubicBezTo>
                    <a:pt x="474" y="34"/>
                    <a:pt x="472" y="35"/>
                    <a:pt x="471" y="35"/>
                  </a:cubicBezTo>
                  <a:cubicBezTo>
                    <a:pt x="470" y="35"/>
                    <a:pt x="469" y="35"/>
                    <a:pt x="467" y="34"/>
                  </a:cubicBezTo>
                  <a:cubicBezTo>
                    <a:pt x="466" y="33"/>
                    <a:pt x="464" y="32"/>
                    <a:pt x="463" y="31"/>
                  </a:cubicBezTo>
                  <a:cubicBezTo>
                    <a:pt x="459" y="30"/>
                    <a:pt x="456" y="28"/>
                    <a:pt x="454" y="25"/>
                  </a:cubicBezTo>
                  <a:cubicBezTo>
                    <a:pt x="453" y="24"/>
                    <a:pt x="453" y="23"/>
                    <a:pt x="453" y="22"/>
                  </a:cubicBezTo>
                  <a:cubicBezTo>
                    <a:pt x="453" y="20"/>
                    <a:pt x="452" y="19"/>
                    <a:pt x="451" y="17"/>
                  </a:cubicBezTo>
                  <a:cubicBezTo>
                    <a:pt x="450" y="16"/>
                    <a:pt x="449" y="15"/>
                    <a:pt x="448" y="14"/>
                  </a:cubicBezTo>
                  <a:cubicBezTo>
                    <a:pt x="447" y="13"/>
                    <a:pt x="446" y="12"/>
                    <a:pt x="445" y="11"/>
                  </a:cubicBezTo>
                  <a:cubicBezTo>
                    <a:pt x="444" y="10"/>
                    <a:pt x="443" y="9"/>
                    <a:pt x="443" y="8"/>
                  </a:cubicBezTo>
                  <a:cubicBezTo>
                    <a:pt x="442" y="7"/>
                    <a:pt x="442" y="7"/>
                    <a:pt x="442" y="7"/>
                  </a:cubicBezTo>
                  <a:cubicBezTo>
                    <a:pt x="441" y="8"/>
                    <a:pt x="441" y="8"/>
                    <a:pt x="441" y="8"/>
                  </a:cubicBezTo>
                  <a:cubicBezTo>
                    <a:pt x="440" y="8"/>
                    <a:pt x="440" y="8"/>
                    <a:pt x="439" y="8"/>
                  </a:cubicBezTo>
                  <a:cubicBezTo>
                    <a:pt x="438" y="8"/>
                    <a:pt x="437" y="8"/>
                    <a:pt x="436" y="7"/>
                  </a:cubicBezTo>
                  <a:cubicBezTo>
                    <a:pt x="435" y="7"/>
                    <a:pt x="433" y="7"/>
                    <a:pt x="432" y="7"/>
                  </a:cubicBezTo>
                  <a:cubicBezTo>
                    <a:pt x="430" y="7"/>
                    <a:pt x="428" y="9"/>
                    <a:pt x="428" y="10"/>
                  </a:cubicBezTo>
                  <a:cubicBezTo>
                    <a:pt x="427" y="10"/>
                    <a:pt x="426" y="10"/>
                    <a:pt x="426" y="10"/>
                  </a:cubicBezTo>
                  <a:cubicBezTo>
                    <a:pt x="425" y="10"/>
                    <a:pt x="424" y="10"/>
                    <a:pt x="423" y="10"/>
                  </a:cubicBezTo>
                  <a:cubicBezTo>
                    <a:pt x="422" y="10"/>
                    <a:pt x="422" y="10"/>
                    <a:pt x="421" y="10"/>
                  </a:cubicBezTo>
                  <a:cubicBezTo>
                    <a:pt x="420" y="10"/>
                    <a:pt x="420" y="10"/>
                    <a:pt x="419" y="10"/>
                  </a:cubicBezTo>
                  <a:cubicBezTo>
                    <a:pt x="416" y="10"/>
                    <a:pt x="414" y="9"/>
                    <a:pt x="412" y="7"/>
                  </a:cubicBezTo>
                  <a:cubicBezTo>
                    <a:pt x="411" y="6"/>
                    <a:pt x="411" y="6"/>
                    <a:pt x="411" y="6"/>
                  </a:cubicBezTo>
                  <a:cubicBezTo>
                    <a:pt x="410" y="5"/>
                    <a:pt x="408" y="3"/>
                    <a:pt x="406" y="3"/>
                  </a:cubicBezTo>
                  <a:cubicBezTo>
                    <a:pt x="404" y="3"/>
                    <a:pt x="403" y="4"/>
                    <a:pt x="402" y="5"/>
                  </a:cubicBezTo>
                  <a:cubicBezTo>
                    <a:pt x="401" y="6"/>
                    <a:pt x="400" y="6"/>
                    <a:pt x="400" y="7"/>
                  </a:cubicBezTo>
                  <a:cubicBezTo>
                    <a:pt x="399" y="7"/>
                    <a:pt x="398" y="7"/>
                    <a:pt x="398" y="7"/>
                  </a:cubicBezTo>
                  <a:cubicBezTo>
                    <a:pt x="396" y="7"/>
                    <a:pt x="395" y="6"/>
                    <a:pt x="394" y="4"/>
                  </a:cubicBezTo>
                  <a:cubicBezTo>
                    <a:pt x="393" y="2"/>
                    <a:pt x="391" y="0"/>
                    <a:pt x="389" y="0"/>
                  </a:cubicBezTo>
                  <a:cubicBezTo>
                    <a:pt x="388" y="0"/>
                    <a:pt x="388" y="0"/>
                    <a:pt x="388" y="0"/>
                  </a:cubicBezTo>
                  <a:cubicBezTo>
                    <a:pt x="385" y="0"/>
                    <a:pt x="384" y="3"/>
                    <a:pt x="383" y="6"/>
                  </a:cubicBezTo>
                  <a:cubicBezTo>
                    <a:pt x="383" y="8"/>
                    <a:pt x="382" y="10"/>
                    <a:pt x="380" y="11"/>
                  </a:cubicBezTo>
                  <a:cubicBezTo>
                    <a:pt x="379" y="12"/>
                    <a:pt x="378" y="12"/>
                    <a:pt x="376" y="12"/>
                  </a:cubicBezTo>
                  <a:cubicBezTo>
                    <a:pt x="375" y="12"/>
                    <a:pt x="374" y="12"/>
                    <a:pt x="373" y="13"/>
                  </a:cubicBezTo>
                  <a:cubicBezTo>
                    <a:pt x="370" y="13"/>
                    <a:pt x="369" y="13"/>
                    <a:pt x="367" y="13"/>
                  </a:cubicBezTo>
                  <a:cubicBezTo>
                    <a:pt x="365" y="13"/>
                    <a:pt x="364" y="13"/>
                    <a:pt x="361" y="12"/>
                  </a:cubicBezTo>
                  <a:cubicBezTo>
                    <a:pt x="361" y="12"/>
                    <a:pt x="361" y="12"/>
                    <a:pt x="361" y="12"/>
                  </a:cubicBezTo>
                  <a:cubicBezTo>
                    <a:pt x="359" y="11"/>
                    <a:pt x="357" y="11"/>
                    <a:pt x="356" y="11"/>
                  </a:cubicBezTo>
                  <a:cubicBezTo>
                    <a:pt x="354" y="11"/>
                    <a:pt x="353" y="11"/>
                    <a:pt x="351" y="12"/>
                  </a:cubicBezTo>
                  <a:cubicBezTo>
                    <a:pt x="347" y="15"/>
                    <a:pt x="344" y="17"/>
                    <a:pt x="339" y="19"/>
                  </a:cubicBezTo>
                  <a:cubicBezTo>
                    <a:pt x="337" y="19"/>
                    <a:pt x="336" y="20"/>
                    <a:pt x="334" y="21"/>
                  </a:cubicBezTo>
                  <a:cubicBezTo>
                    <a:pt x="332" y="23"/>
                    <a:pt x="330" y="24"/>
                    <a:pt x="327" y="25"/>
                  </a:cubicBezTo>
                  <a:cubicBezTo>
                    <a:pt x="327" y="25"/>
                    <a:pt x="326" y="25"/>
                    <a:pt x="326" y="25"/>
                  </a:cubicBezTo>
                  <a:cubicBezTo>
                    <a:pt x="324" y="25"/>
                    <a:pt x="322" y="23"/>
                    <a:pt x="320" y="22"/>
                  </a:cubicBezTo>
                  <a:cubicBezTo>
                    <a:pt x="319" y="21"/>
                    <a:pt x="318" y="20"/>
                    <a:pt x="317" y="20"/>
                  </a:cubicBezTo>
                  <a:cubicBezTo>
                    <a:pt x="315" y="19"/>
                    <a:pt x="314" y="19"/>
                    <a:pt x="313" y="19"/>
                  </a:cubicBezTo>
                  <a:cubicBezTo>
                    <a:pt x="313" y="19"/>
                    <a:pt x="312" y="19"/>
                    <a:pt x="311" y="19"/>
                  </a:cubicBezTo>
                  <a:cubicBezTo>
                    <a:pt x="308" y="21"/>
                    <a:pt x="306" y="26"/>
                    <a:pt x="304" y="30"/>
                  </a:cubicBezTo>
                  <a:cubicBezTo>
                    <a:pt x="303" y="33"/>
                    <a:pt x="302" y="35"/>
                    <a:pt x="301" y="36"/>
                  </a:cubicBezTo>
                  <a:cubicBezTo>
                    <a:pt x="300" y="39"/>
                    <a:pt x="298" y="40"/>
                    <a:pt x="295" y="40"/>
                  </a:cubicBezTo>
                  <a:cubicBezTo>
                    <a:pt x="292" y="40"/>
                    <a:pt x="289" y="39"/>
                    <a:pt x="286" y="38"/>
                  </a:cubicBezTo>
                  <a:cubicBezTo>
                    <a:pt x="284" y="37"/>
                    <a:pt x="282" y="37"/>
                    <a:pt x="279" y="36"/>
                  </a:cubicBezTo>
                  <a:cubicBezTo>
                    <a:pt x="278" y="36"/>
                    <a:pt x="277" y="36"/>
                    <a:pt x="275" y="36"/>
                  </a:cubicBezTo>
                  <a:cubicBezTo>
                    <a:pt x="272" y="36"/>
                    <a:pt x="272" y="36"/>
                    <a:pt x="272" y="36"/>
                  </a:cubicBezTo>
                  <a:cubicBezTo>
                    <a:pt x="271" y="36"/>
                    <a:pt x="269" y="36"/>
                    <a:pt x="268" y="36"/>
                  </a:cubicBezTo>
                  <a:cubicBezTo>
                    <a:pt x="264" y="36"/>
                    <a:pt x="262" y="34"/>
                    <a:pt x="259" y="32"/>
                  </a:cubicBezTo>
                  <a:cubicBezTo>
                    <a:pt x="258" y="32"/>
                    <a:pt x="258" y="32"/>
                    <a:pt x="258" y="32"/>
                  </a:cubicBezTo>
                  <a:cubicBezTo>
                    <a:pt x="256" y="30"/>
                    <a:pt x="253" y="30"/>
                    <a:pt x="251" y="30"/>
                  </a:cubicBezTo>
                  <a:cubicBezTo>
                    <a:pt x="249" y="30"/>
                    <a:pt x="249" y="30"/>
                    <a:pt x="249" y="30"/>
                  </a:cubicBezTo>
                  <a:cubicBezTo>
                    <a:pt x="248" y="30"/>
                    <a:pt x="247" y="30"/>
                    <a:pt x="246" y="30"/>
                  </a:cubicBezTo>
                  <a:cubicBezTo>
                    <a:pt x="243" y="30"/>
                    <a:pt x="242" y="28"/>
                    <a:pt x="240" y="25"/>
                  </a:cubicBezTo>
                  <a:cubicBezTo>
                    <a:pt x="240" y="24"/>
                    <a:pt x="240" y="24"/>
                    <a:pt x="239" y="23"/>
                  </a:cubicBezTo>
                  <a:cubicBezTo>
                    <a:pt x="235" y="17"/>
                    <a:pt x="229" y="13"/>
                    <a:pt x="223" y="9"/>
                  </a:cubicBezTo>
                  <a:cubicBezTo>
                    <a:pt x="220" y="8"/>
                    <a:pt x="218" y="8"/>
                    <a:pt x="216" y="8"/>
                  </a:cubicBezTo>
                  <a:cubicBezTo>
                    <a:pt x="212" y="8"/>
                    <a:pt x="207" y="10"/>
                    <a:pt x="202" y="15"/>
                  </a:cubicBezTo>
                  <a:cubicBezTo>
                    <a:pt x="200" y="18"/>
                    <a:pt x="198" y="21"/>
                    <a:pt x="196" y="24"/>
                  </a:cubicBezTo>
                  <a:cubicBezTo>
                    <a:pt x="195" y="26"/>
                    <a:pt x="195" y="26"/>
                    <a:pt x="195" y="26"/>
                  </a:cubicBezTo>
                  <a:cubicBezTo>
                    <a:pt x="194" y="27"/>
                    <a:pt x="194" y="28"/>
                    <a:pt x="193" y="29"/>
                  </a:cubicBezTo>
                  <a:cubicBezTo>
                    <a:pt x="191" y="31"/>
                    <a:pt x="190" y="33"/>
                    <a:pt x="189" y="35"/>
                  </a:cubicBezTo>
                  <a:cubicBezTo>
                    <a:pt x="188" y="39"/>
                    <a:pt x="188" y="42"/>
                    <a:pt x="188" y="46"/>
                  </a:cubicBezTo>
                  <a:cubicBezTo>
                    <a:pt x="188" y="47"/>
                    <a:pt x="188" y="47"/>
                    <a:pt x="188" y="47"/>
                  </a:cubicBezTo>
                  <a:cubicBezTo>
                    <a:pt x="188" y="52"/>
                    <a:pt x="187" y="56"/>
                    <a:pt x="186" y="59"/>
                  </a:cubicBezTo>
                  <a:cubicBezTo>
                    <a:pt x="186" y="60"/>
                    <a:pt x="186" y="60"/>
                    <a:pt x="186" y="60"/>
                  </a:cubicBezTo>
                  <a:cubicBezTo>
                    <a:pt x="186" y="60"/>
                    <a:pt x="186" y="60"/>
                    <a:pt x="186" y="60"/>
                  </a:cubicBezTo>
                  <a:cubicBezTo>
                    <a:pt x="190" y="68"/>
                    <a:pt x="185" y="80"/>
                    <a:pt x="182" y="86"/>
                  </a:cubicBezTo>
                  <a:cubicBezTo>
                    <a:pt x="181" y="87"/>
                    <a:pt x="181" y="89"/>
                    <a:pt x="180" y="90"/>
                  </a:cubicBezTo>
                  <a:cubicBezTo>
                    <a:pt x="177" y="96"/>
                    <a:pt x="174" y="101"/>
                    <a:pt x="174" y="108"/>
                  </a:cubicBezTo>
                  <a:cubicBezTo>
                    <a:pt x="174" y="116"/>
                    <a:pt x="172" y="124"/>
                    <a:pt x="170" y="132"/>
                  </a:cubicBezTo>
                  <a:cubicBezTo>
                    <a:pt x="169" y="137"/>
                    <a:pt x="168" y="143"/>
                    <a:pt x="167" y="149"/>
                  </a:cubicBezTo>
                  <a:cubicBezTo>
                    <a:pt x="167" y="152"/>
                    <a:pt x="166" y="155"/>
                    <a:pt x="165" y="158"/>
                  </a:cubicBezTo>
                  <a:cubicBezTo>
                    <a:pt x="164" y="165"/>
                    <a:pt x="163" y="171"/>
                    <a:pt x="163" y="177"/>
                  </a:cubicBezTo>
                  <a:cubicBezTo>
                    <a:pt x="163" y="179"/>
                    <a:pt x="163" y="181"/>
                    <a:pt x="164" y="183"/>
                  </a:cubicBezTo>
                  <a:cubicBezTo>
                    <a:pt x="165" y="187"/>
                    <a:pt x="166" y="191"/>
                    <a:pt x="164" y="195"/>
                  </a:cubicBezTo>
                  <a:cubicBezTo>
                    <a:pt x="162" y="197"/>
                    <a:pt x="160" y="200"/>
                    <a:pt x="157" y="203"/>
                  </a:cubicBezTo>
                  <a:cubicBezTo>
                    <a:pt x="156" y="204"/>
                    <a:pt x="155" y="205"/>
                    <a:pt x="154" y="206"/>
                  </a:cubicBezTo>
                  <a:cubicBezTo>
                    <a:pt x="151" y="209"/>
                    <a:pt x="149" y="212"/>
                    <a:pt x="146" y="216"/>
                  </a:cubicBezTo>
                  <a:cubicBezTo>
                    <a:pt x="145" y="218"/>
                    <a:pt x="143" y="220"/>
                    <a:pt x="142" y="222"/>
                  </a:cubicBezTo>
                  <a:cubicBezTo>
                    <a:pt x="140" y="224"/>
                    <a:pt x="138" y="226"/>
                    <a:pt x="136" y="228"/>
                  </a:cubicBezTo>
                  <a:cubicBezTo>
                    <a:pt x="132" y="234"/>
                    <a:pt x="128" y="239"/>
                    <a:pt x="123" y="243"/>
                  </a:cubicBezTo>
                  <a:cubicBezTo>
                    <a:pt x="122" y="245"/>
                    <a:pt x="120" y="246"/>
                    <a:pt x="119" y="247"/>
                  </a:cubicBezTo>
                  <a:cubicBezTo>
                    <a:pt x="118" y="247"/>
                    <a:pt x="118" y="247"/>
                    <a:pt x="118" y="247"/>
                  </a:cubicBezTo>
                  <a:cubicBezTo>
                    <a:pt x="118" y="248"/>
                    <a:pt x="118" y="248"/>
                    <a:pt x="118" y="248"/>
                  </a:cubicBezTo>
                  <a:cubicBezTo>
                    <a:pt x="117" y="256"/>
                    <a:pt x="118" y="265"/>
                    <a:pt x="118" y="273"/>
                  </a:cubicBezTo>
                  <a:cubicBezTo>
                    <a:pt x="118" y="276"/>
                    <a:pt x="118" y="276"/>
                    <a:pt x="118" y="276"/>
                  </a:cubicBezTo>
                  <a:cubicBezTo>
                    <a:pt x="119" y="285"/>
                    <a:pt x="118" y="288"/>
                    <a:pt x="115" y="295"/>
                  </a:cubicBezTo>
                  <a:cubicBezTo>
                    <a:pt x="114" y="296"/>
                    <a:pt x="114" y="298"/>
                    <a:pt x="113" y="300"/>
                  </a:cubicBezTo>
                  <a:cubicBezTo>
                    <a:pt x="113" y="302"/>
                    <a:pt x="112" y="304"/>
                    <a:pt x="112" y="305"/>
                  </a:cubicBezTo>
                  <a:cubicBezTo>
                    <a:pt x="110" y="306"/>
                    <a:pt x="109" y="307"/>
                    <a:pt x="107" y="307"/>
                  </a:cubicBezTo>
                  <a:cubicBezTo>
                    <a:pt x="106" y="307"/>
                    <a:pt x="104" y="308"/>
                    <a:pt x="103" y="308"/>
                  </a:cubicBezTo>
                  <a:cubicBezTo>
                    <a:pt x="103" y="309"/>
                    <a:pt x="103" y="309"/>
                    <a:pt x="103" y="309"/>
                  </a:cubicBezTo>
                  <a:cubicBezTo>
                    <a:pt x="102" y="309"/>
                    <a:pt x="102" y="309"/>
                    <a:pt x="102" y="309"/>
                  </a:cubicBezTo>
                  <a:cubicBezTo>
                    <a:pt x="102" y="312"/>
                    <a:pt x="98" y="314"/>
                    <a:pt x="95" y="316"/>
                  </a:cubicBezTo>
                  <a:cubicBezTo>
                    <a:pt x="93" y="317"/>
                    <a:pt x="92" y="319"/>
                    <a:pt x="91" y="320"/>
                  </a:cubicBezTo>
                  <a:cubicBezTo>
                    <a:pt x="87" y="323"/>
                    <a:pt x="84" y="327"/>
                    <a:pt x="80" y="331"/>
                  </a:cubicBezTo>
                  <a:cubicBezTo>
                    <a:pt x="79" y="332"/>
                    <a:pt x="79" y="332"/>
                    <a:pt x="78" y="333"/>
                  </a:cubicBezTo>
                  <a:cubicBezTo>
                    <a:pt x="76" y="336"/>
                    <a:pt x="74" y="339"/>
                    <a:pt x="71" y="339"/>
                  </a:cubicBezTo>
                  <a:cubicBezTo>
                    <a:pt x="71" y="339"/>
                    <a:pt x="71" y="339"/>
                    <a:pt x="71" y="339"/>
                  </a:cubicBezTo>
                  <a:cubicBezTo>
                    <a:pt x="70" y="339"/>
                    <a:pt x="69" y="338"/>
                    <a:pt x="68" y="336"/>
                  </a:cubicBezTo>
                  <a:cubicBezTo>
                    <a:pt x="67" y="334"/>
                    <a:pt x="67" y="331"/>
                    <a:pt x="68" y="329"/>
                  </a:cubicBezTo>
                  <a:cubicBezTo>
                    <a:pt x="68" y="325"/>
                    <a:pt x="68" y="322"/>
                    <a:pt x="66" y="320"/>
                  </a:cubicBezTo>
                  <a:cubicBezTo>
                    <a:pt x="65" y="319"/>
                    <a:pt x="65" y="319"/>
                    <a:pt x="65" y="319"/>
                  </a:cubicBezTo>
                  <a:cubicBezTo>
                    <a:pt x="64" y="319"/>
                    <a:pt x="64" y="319"/>
                    <a:pt x="64" y="319"/>
                  </a:cubicBezTo>
                  <a:cubicBezTo>
                    <a:pt x="62" y="320"/>
                    <a:pt x="61" y="320"/>
                    <a:pt x="60" y="321"/>
                  </a:cubicBezTo>
                  <a:cubicBezTo>
                    <a:pt x="58" y="322"/>
                    <a:pt x="57" y="323"/>
                    <a:pt x="55" y="323"/>
                  </a:cubicBezTo>
                  <a:cubicBezTo>
                    <a:pt x="54" y="323"/>
                    <a:pt x="54" y="323"/>
                    <a:pt x="53" y="323"/>
                  </a:cubicBezTo>
                  <a:cubicBezTo>
                    <a:pt x="53" y="323"/>
                    <a:pt x="52" y="323"/>
                    <a:pt x="52" y="323"/>
                  </a:cubicBezTo>
                  <a:cubicBezTo>
                    <a:pt x="51" y="323"/>
                    <a:pt x="51" y="323"/>
                    <a:pt x="50" y="323"/>
                  </a:cubicBezTo>
                  <a:cubicBezTo>
                    <a:pt x="48" y="323"/>
                    <a:pt x="47" y="325"/>
                    <a:pt x="47" y="326"/>
                  </a:cubicBezTo>
                  <a:cubicBezTo>
                    <a:pt x="46" y="328"/>
                    <a:pt x="46" y="330"/>
                    <a:pt x="46" y="331"/>
                  </a:cubicBezTo>
                  <a:cubicBezTo>
                    <a:pt x="46" y="333"/>
                    <a:pt x="46" y="335"/>
                    <a:pt x="40" y="335"/>
                  </a:cubicBezTo>
                  <a:cubicBezTo>
                    <a:pt x="37" y="335"/>
                    <a:pt x="36" y="334"/>
                    <a:pt x="34" y="333"/>
                  </a:cubicBezTo>
                  <a:cubicBezTo>
                    <a:pt x="34" y="332"/>
                    <a:pt x="33" y="331"/>
                    <a:pt x="31" y="331"/>
                  </a:cubicBezTo>
                  <a:cubicBezTo>
                    <a:pt x="31" y="331"/>
                    <a:pt x="31" y="330"/>
                    <a:pt x="31" y="330"/>
                  </a:cubicBezTo>
                  <a:cubicBezTo>
                    <a:pt x="30" y="327"/>
                    <a:pt x="30" y="327"/>
                    <a:pt x="30" y="327"/>
                  </a:cubicBezTo>
                  <a:cubicBezTo>
                    <a:pt x="28" y="329"/>
                    <a:pt x="28" y="329"/>
                    <a:pt x="28" y="329"/>
                  </a:cubicBezTo>
                  <a:cubicBezTo>
                    <a:pt x="27" y="330"/>
                    <a:pt x="26" y="330"/>
                    <a:pt x="26" y="330"/>
                  </a:cubicBezTo>
                  <a:cubicBezTo>
                    <a:pt x="25" y="330"/>
                    <a:pt x="24" y="330"/>
                    <a:pt x="23" y="330"/>
                  </a:cubicBezTo>
                  <a:cubicBezTo>
                    <a:pt x="21" y="331"/>
                    <a:pt x="21" y="333"/>
                    <a:pt x="20" y="334"/>
                  </a:cubicBezTo>
                  <a:cubicBezTo>
                    <a:pt x="20" y="335"/>
                    <a:pt x="20" y="335"/>
                    <a:pt x="19" y="336"/>
                  </a:cubicBezTo>
                  <a:cubicBezTo>
                    <a:pt x="19" y="337"/>
                    <a:pt x="18" y="338"/>
                    <a:pt x="16" y="339"/>
                  </a:cubicBezTo>
                  <a:cubicBezTo>
                    <a:pt x="15" y="340"/>
                    <a:pt x="14" y="341"/>
                    <a:pt x="13" y="342"/>
                  </a:cubicBezTo>
                  <a:cubicBezTo>
                    <a:pt x="13" y="343"/>
                    <a:pt x="13" y="344"/>
                    <a:pt x="13" y="345"/>
                  </a:cubicBezTo>
                  <a:cubicBezTo>
                    <a:pt x="13" y="346"/>
                    <a:pt x="13" y="346"/>
                    <a:pt x="13" y="347"/>
                  </a:cubicBezTo>
                  <a:cubicBezTo>
                    <a:pt x="13" y="351"/>
                    <a:pt x="13" y="355"/>
                    <a:pt x="13" y="358"/>
                  </a:cubicBezTo>
                  <a:cubicBezTo>
                    <a:pt x="13" y="359"/>
                    <a:pt x="13" y="359"/>
                    <a:pt x="13" y="359"/>
                  </a:cubicBezTo>
                  <a:cubicBezTo>
                    <a:pt x="13" y="361"/>
                    <a:pt x="14" y="363"/>
                    <a:pt x="14" y="365"/>
                  </a:cubicBezTo>
                  <a:cubicBezTo>
                    <a:pt x="0" y="365"/>
                    <a:pt x="0" y="365"/>
                    <a:pt x="0" y="365"/>
                  </a:cubicBezTo>
                  <a:cubicBezTo>
                    <a:pt x="2" y="368"/>
                    <a:pt x="2" y="368"/>
                    <a:pt x="2" y="368"/>
                  </a:cubicBezTo>
                  <a:cubicBezTo>
                    <a:pt x="2" y="369"/>
                    <a:pt x="2" y="369"/>
                    <a:pt x="3" y="369"/>
                  </a:cubicBezTo>
                  <a:cubicBezTo>
                    <a:pt x="3" y="370"/>
                    <a:pt x="4" y="371"/>
                    <a:pt x="5" y="372"/>
                  </a:cubicBezTo>
                  <a:cubicBezTo>
                    <a:pt x="5" y="372"/>
                    <a:pt x="6" y="373"/>
                    <a:pt x="6" y="374"/>
                  </a:cubicBezTo>
                  <a:cubicBezTo>
                    <a:pt x="6" y="376"/>
                    <a:pt x="6" y="376"/>
                    <a:pt x="6" y="376"/>
                  </a:cubicBezTo>
                  <a:cubicBezTo>
                    <a:pt x="8" y="376"/>
                    <a:pt x="8" y="376"/>
                    <a:pt x="8" y="376"/>
                  </a:cubicBezTo>
                  <a:cubicBezTo>
                    <a:pt x="9" y="376"/>
                    <a:pt x="9" y="376"/>
                    <a:pt x="9" y="376"/>
                  </a:cubicBezTo>
                  <a:cubicBezTo>
                    <a:pt x="10" y="376"/>
                    <a:pt x="11" y="376"/>
                    <a:pt x="11" y="376"/>
                  </a:cubicBezTo>
                  <a:cubicBezTo>
                    <a:pt x="12" y="376"/>
                    <a:pt x="12" y="375"/>
                    <a:pt x="13" y="375"/>
                  </a:cubicBezTo>
                  <a:cubicBezTo>
                    <a:pt x="13" y="375"/>
                    <a:pt x="13" y="374"/>
                    <a:pt x="14" y="374"/>
                  </a:cubicBezTo>
                  <a:cubicBezTo>
                    <a:pt x="14" y="374"/>
                    <a:pt x="15" y="374"/>
                    <a:pt x="15" y="374"/>
                  </a:cubicBezTo>
                  <a:cubicBezTo>
                    <a:pt x="15" y="374"/>
                    <a:pt x="16" y="374"/>
                    <a:pt x="16" y="374"/>
                  </a:cubicBezTo>
                  <a:cubicBezTo>
                    <a:pt x="16" y="374"/>
                    <a:pt x="17" y="374"/>
                    <a:pt x="18" y="374"/>
                  </a:cubicBezTo>
                  <a:cubicBezTo>
                    <a:pt x="20" y="374"/>
                    <a:pt x="21" y="373"/>
                    <a:pt x="22" y="373"/>
                  </a:cubicBezTo>
                  <a:cubicBezTo>
                    <a:pt x="23" y="372"/>
                    <a:pt x="23" y="372"/>
                    <a:pt x="24" y="371"/>
                  </a:cubicBezTo>
                  <a:cubicBezTo>
                    <a:pt x="27" y="370"/>
                    <a:pt x="30" y="370"/>
                    <a:pt x="32" y="370"/>
                  </a:cubicBezTo>
                  <a:cubicBezTo>
                    <a:pt x="32" y="370"/>
                    <a:pt x="55" y="370"/>
                    <a:pt x="55" y="370"/>
                  </a:cubicBezTo>
                  <a:cubicBezTo>
                    <a:pt x="58" y="370"/>
                    <a:pt x="61" y="370"/>
                    <a:pt x="64" y="370"/>
                  </a:cubicBezTo>
                  <a:cubicBezTo>
                    <a:pt x="74" y="370"/>
                    <a:pt x="74" y="370"/>
                    <a:pt x="74" y="370"/>
                  </a:cubicBezTo>
                  <a:cubicBezTo>
                    <a:pt x="82" y="370"/>
                    <a:pt x="91" y="370"/>
                    <a:pt x="99" y="370"/>
                  </a:cubicBezTo>
                  <a:cubicBezTo>
                    <a:pt x="104" y="370"/>
                    <a:pt x="110" y="370"/>
                    <a:pt x="115" y="370"/>
                  </a:cubicBezTo>
                  <a:cubicBezTo>
                    <a:pt x="116" y="370"/>
                    <a:pt x="117" y="370"/>
                    <a:pt x="118" y="370"/>
                  </a:cubicBezTo>
                  <a:cubicBezTo>
                    <a:pt x="120" y="370"/>
                    <a:pt x="121" y="370"/>
                    <a:pt x="123" y="370"/>
                  </a:cubicBezTo>
                  <a:cubicBezTo>
                    <a:pt x="123" y="370"/>
                    <a:pt x="124" y="370"/>
                    <a:pt x="124" y="370"/>
                  </a:cubicBezTo>
                  <a:cubicBezTo>
                    <a:pt x="125" y="370"/>
                    <a:pt x="125" y="370"/>
                    <a:pt x="125" y="370"/>
                  </a:cubicBezTo>
                  <a:cubicBezTo>
                    <a:pt x="129" y="370"/>
                    <a:pt x="130" y="371"/>
                    <a:pt x="130" y="376"/>
                  </a:cubicBezTo>
                  <a:cubicBezTo>
                    <a:pt x="131" y="377"/>
                    <a:pt x="131" y="377"/>
                    <a:pt x="131" y="377"/>
                  </a:cubicBezTo>
                  <a:cubicBezTo>
                    <a:pt x="132" y="377"/>
                    <a:pt x="132" y="377"/>
                    <a:pt x="132" y="377"/>
                  </a:cubicBezTo>
                  <a:cubicBezTo>
                    <a:pt x="132" y="378"/>
                    <a:pt x="132" y="378"/>
                    <a:pt x="132" y="378"/>
                  </a:cubicBezTo>
                  <a:cubicBezTo>
                    <a:pt x="133" y="378"/>
                    <a:pt x="133" y="378"/>
                    <a:pt x="133" y="378"/>
                  </a:cubicBezTo>
                  <a:cubicBezTo>
                    <a:pt x="133" y="379"/>
                    <a:pt x="133" y="381"/>
                    <a:pt x="133" y="382"/>
                  </a:cubicBezTo>
                  <a:cubicBezTo>
                    <a:pt x="133" y="383"/>
                    <a:pt x="133" y="383"/>
                    <a:pt x="133" y="383"/>
                  </a:cubicBezTo>
                  <a:cubicBezTo>
                    <a:pt x="133" y="384"/>
                    <a:pt x="133" y="386"/>
                    <a:pt x="134" y="388"/>
                  </a:cubicBezTo>
                  <a:cubicBezTo>
                    <a:pt x="134" y="389"/>
                    <a:pt x="134" y="389"/>
                    <a:pt x="133" y="390"/>
                  </a:cubicBezTo>
                  <a:cubicBezTo>
                    <a:pt x="133" y="391"/>
                    <a:pt x="133" y="392"/>
                    <a:pt x="133" y="393"/>
                  </a:cubicBezTo>
                  <a:cubicBezTo>
                    <a:pt x="134" y="394"/>
                    <a:pt x="134" y="395"/>
                    <a:pt x="135" y="396"/>
                  </a:cubicBezTo>
                  <a:cubicBezTo>
                    <a:pt x="135" y="396"/>
                    <a:pt x="135" y="397"/>
                    <a:pt x="136" y="397"/>
                  </a:cubicBezTo>
                  <a:cubicBezTo>
                    <a:pt x="136" y="398"/>
                    <a:pt x="136" y="399"/>
                    <a:pt x="137" y="400"/>
                  </a:cubicBezTo>
                  <a:cubicBezTo>
                    <a:pt x="138" y="403"/>
                    <a:pt x="140" y="406"/>
                    <a:pt x="140" y="409"/>
                  </a:cubicBezTo>
                  <a:cubicBezTo>
                    <a:pt x="141" y="410"/>
                    <a:pt x="141" y="411"/>
                    <a:pt x="140" y="412"/>
                  </a:cubicBezTo>
                  <a:cubicBezTo>
                    <a:pt x="140" y="413"/>
                    <a:pt x="140" y="414"/>
                    <a:pt x="141" y="416"/>
                  </a:cubicBezTo>
                  <a:cubicBezTo>
                    <a:pt x="142" y="417"/>
                    <a:pt x="143" y="418"/>
                    <a:pt x="144" y="420"/>
                  </a:cubicBezTo>
                  <a:cubicBezTo>
                    <a:pt x="145" y="420"/>
                    <a:pt x="145" y="421"/>
                    <a:pt x="146" y="421"/>
                  </a:cubicBezTo>
                  <a:cubicBezTo>
                    <a:pt x="147" y="423"/>
                    <a:pt x="148" y="425"/>
                    <a:pt x="149" y="426"/>
                  </a:cubicBezTo>
                  <a:cubicBezTo>
                    <a:pt x="150" y="427"/>
                    <a:pt x="150" y="428"/>
                    <a:pt x="151" y="429"/>
                  </a:cubicBezTo>
                  <a:cubicBezTo>
                    <a:pt x="152" y="430"/>
                    <a:pt x="153" y="432"/>
                    <a:pt x="154" y="433"/>
                  </a:cubicBezTo>
                  <a:cubicBezTo>
                    <a:pt x="155" y="436"/>
                    <a:pt x="157" y="438"/>
                    <a:pt x="159" y="441"/>
                  </a:cubicBezTo>
                  <a:cubicBezTo>
                    <a:pt x="160" y="442"/>
                    <a:pt x="161" y="443"/>
                    <a:pt x="162" y="443"/>
                  </a:cubicBezTo>
                  <a:cubicBezTo>
                    <a:pt x="163" y="443"/>
                    <a:pt x="164" y="442"/>
                    <a:pt x="165" y="442"/>
                  </a:cubicBezTo>
                  <a:cubicBezTo>
                    <a:pt x="166" y="442"/>
                    <a:pt x="167" y="442"/>
                    <a:pt x="168" y="442"/>
                  </a:cubicBezTo>
                  <a:cubicBezTo>
                    <a:pt x="169" y="442"/>
                    <a:pt x="169" y="442"/>
                    <a:pt x="170" y="442"/>
                  </a:cubicBezTo>
                  <a:cubicBezTo>
                    <a:pt x="171" y="442"/>
                    <a:pt x="171" y="443"/>
                    <a:pt x="172" y="443"/>
                  </a:cubicBezTo>
                  <a:cubicBezTo>
                    <a:pt x="173" y="444"/>
                    <a:pt x="173" y="444"/>
                    <a:pt x="173" y="444"/>
                  </a:cubicBezTo>
                  <a:cubicBezTo>
                    <a:pt x="174" y="443"/>
                    <a:pt x="174" y="443"/>
                    <a:pt x="174" y="443"/>
                  </a:cubicBezTo>
                  <a:cubicBezTo>
                    <a:pt x="175" y="443"/>
                    <a:pt x="175" y="442"/>
                    <a:pt x="175" y="442"/>
                  </a:cubicBezTo>
                  <a:cubicBezTo>
                    <a:pt x="176" y="441"/>
                    <a:pt x="176" y="441"/>
                    <a:pt x="178" y="440"/>
                  </a:cubicBezTo>
                  <a:cubicBezTo>
                    <a:pt x="178" y="440"/>
                    <a:pt x="179" y="440"/>
                    <a:pt x="179" y="440"/>
                  </a:cubicBezTo>
                  <a:cubicBezTo>
                    <a:pt x="180" y="440"/>
                    <a:pt x="181" y="440"/>
                    <a:pt x="182" y="441"/>
                  </a:cubicBezTo>
                  <a:cubicBezTo>
                    <a:pt x="182" y="441"/>
                    <a:pt x="183" y="441"/>
                    <a:pt x="184" y="441"/>
                  </a:cubicBezTo>
                  <a:cubicBezTo>
                    <a:pt x="184" y="441"/>
                    <a:pt x="185" y="441"/>
                    <a:pt x="185" y="441"/>
                  </a:cubicBezTo>
                  <a:cubicBezTo>
                    <a:pt x="185" y="441"/>
                    <a:pt x="185" y="441"/>
                    <a:pt x="185" y="441"/>
                  </a:cubicBezTo>
                  <a:cubicBezTo>
                    <a:pt x="186" y="441"/>
                    <a:pt x="186" y="441"/>
                    <a:pt x="186" y="441"/>
                  </a:cubicBezTo>
                  <a:cubicBezTo>
                    <a:pt x="187" y="440"/>
                    <a:pt x="187" y="440"/>
                    <a:pt x="187" y="440"/>
                  </a:cubicBezTo>
                  <a:cubicBezTo>
                    <a:pt x="187" y="440"/>
                    <a:pt x="187" y="440"/>
                    <a:pt x="188" y="439"/>
                  </a:cubicBezTo>
                  <a:cubicBezTo>
                    <a:pt x="188" y="439"/>
                    <a:pt x="190" y="438"/>
                    <a:pt x="192" y="438"/>
                  </a:cubicBezTo>
                  <a:cubicBezTo>
                    <a:pt x="192" y="438"/>
                    <a:pt x="192" y="438"/>
                    <a:pt x="192" y="438"/>
                  </a:cubicBezTo>
                  <a:cubicBezTo>
                    <a:pt x="193" y="438"/>
                    <a:pt x="194" y="438"/>
                    <a:pt x="194" y="439"/>
                  </a:cubicBezTo>
                  <a:cubicBezTo>
                    <a:pt x="194" y="440"/>
                    <a:pt x="194" y="440"/>
                    <a:pt x="195" y="441"/>
                  </a:cubicBezTo>
                  <a:cubicBezTo>
                    <a:pt x="196" y="441"/>
                    <a:pt x="198" y="441"/>
                    <a:pt x="200" y="441"/>
                  </a:cubicBezTo>
                  <a:cubicBezTo>
                    <a:pt x="202" y="441"/>
                    <a:pt x="206" y="441"/>
                    <a:pt x="208" y="441"/>
                  </a:cubicBezTo>
                  <a:cubicBezTo>
                    <a:pt x="209" y="440"/>
                    <a:pt x="209" y="440"/>
                    <a:pt x="209" y="440"/>
                  </a:cubicBezTo>
                  <a:cubicBezTo>
                    <a:pt x="211" y="440"/>
                    <a:pt x="211" y="440"/>
                    <a:pt x="211" y="440"/>
                  </a:cubicBezTo>
                  <a:cubicBezTo>
                    <a:pt x="211" y="438"/>
                    <a:pt x="211" y="438"/>
                    <a:pt x="211" y="438"/>
                  </a:cubicBezTo>
                  <a:cubicBezTo>
                    <a:pt x="211" y="438"/>
                    <a:pt x="211" y="437"/>
                    <a:pt x="211" y="436"/>
                  </a:cubicBezTo>
                  <a:cubicBezTo>
                    <a:pt x="211" y="434"/>
                    <a:pt x="211" y="431"/>
                    <a:pt x="211" y="429"/>
                  </a:cubicBezTo>
                  <a:cubicBezTo>
                    <a:pt x="212" y="428"/>
                    <a:pt x="212" y="427"/>
                    <a:pt x="213" y="426"/>
                  </a:cubicBezTo>
                  <a:cubicBezTo>
                    <a:pt x="214" y="424"/>
                    <a:pt x="215" y="423"/>
                    <a:pt x="215" y="421"/>
                  </a:cubicBezTo>
                  <a:cubicBezTo>
                    <a:pt x="215" y="420"/>
                    <a:pt x="215" y="419"/>
                    <a:pt x="215" y="417"/>
                  </a:cubicBezTo>
                  <a:cubicBezTo>
                    <a:pt x="215" y="414"/>
                    <a:pt x="214" y="410"/>
                    <a:pt x="216" y="408"/>
                  </a:cubicBezTo>
                  <a:cubicBezTo>
                    <a:pt x="216" y="408"/>
                    <a:pt x="218" y="407"/>
                    <a:pt x="227" y="407"/>
                  </a:cubicBezTo>
                  <a:cubicBezTo>
                    <a:pt x="228" y="407"/>
                    <a:pt x="233" y="407"/>
                    <a:pt x="234" y="407"/>
                  </a:cubicBezTo>
                  <a:cubicBezTo>
                    <a:pt x="235" y="407"/>
                    <a:pt x="236" y="407"/>
                    <a:pt x="237" y="407"/>
                  </a:cubicBezTo>
                  <a:cubicBezTo>
                    <a:pt x="239" y="407"/>
                    <a:pt x="239" y="407"/>
                    <a:pt x="239" y="407"/>
                  </a:cubicBezTo>
                  <a:cubicBezTo>
                    <a:pt x="239" y="405"/>
                    <a:pt x="239" y="405"/>
                    <a:pt x="239" y="405"/>
                  </a:cubicBezTo>
                  <a:cubicBezTo>
                    <a:pt x="239" y="404"/>
                    <a:pt x="239" y="404"/>
                    <a:pt x="239" y="404"/>
                  </a:cubicBezTo>
                  <a:cubicBezTo>
                    <a:pt x="240" y="404"/>
                    <a:pt x="241" y="404"/>
                    <a:pt x="242" y="404"/>
                  </a:cubicBezTo>
                  <a:cubicBezTo>
                    <a:pt x="243" y="404"/>
                    <a:pt x="244" y="404"/>
                    <a:pt x="245" y="404"/>
                  </a:cubicBezTo>
                  <a:cubicBezTo>
                    <a:pt x="246" y="404"/>
                    <a:pt x="246" y="404"/>
                    <a:pt x="247" y="404"/>
                  </a:cubicBezTo>
                  <a:cubicBezTo>
                    <a:pt x="247" y="407"/>
                    <a:pt x="246" y="408"/>
                    <a:pt x="245" y="410"/>
                  </a:cubicBezTo>
                  <a:cubicBezTo>
                    <a:pt x="245" y="412"/>
                    <a:pt x="245" y="414"/>
                    <a:pt x="244" y="415"/>
                  </a:cubicBezTo>
                  <a:cubicBezTo>
                    <a:pt x="244" y="417"/>
                    <a:pt x="244" y="417"/>
                    <a:pt x="244" y="417"/>
                  </a:cubicBezTo>
                  <a:cubicBezTo>
                    <a:pt x="244" y="417"/>
                    <a:pt x="259" y="417"/>
                    <a:pt x="260" y="417"/>
                  </a:cubicBezTo>
                  <a:cubicBezTo>
                    <a:pt x="262" y="417"/>
                    <a:pt x="262" y="417"/>
                    <a:pt x="262" y="417"/>
                  </a:cubicBezTo>
                  <a:cubicBezTo>
                    <a:pt x="264" y="417"/>
                    <a:pt x="265" y="417"/>
                    <a:pt x="267" y="417"/>
                  </a:cubicBezTo>
                  <a:cubicBezTo>
                    <a:pt x="269" y="416"/>
                    <a:pt x="271" y="416"/>
                    <a:pt x="273" y="416"/>
                  </a:cubicBezTo>
                  <a:cubicBezTo>
                    <a:pt x="280" y="416"/>
                    <a:pt x="282" y="418"/>
                    <a:pt x="282" y="420"/>
                  </a:cubicBezTo>
                  <a:cubicBezTo>
                    <a:pt x="283" y="424"/>
                    <a:pt x="282" y="427"/>
                    <a:pt x="281" y="431"/>
                  </a:cubicBezTo>
                  <a:cubicBezTo>
                    <a:pt x="281" y="434"/>
                    <a:pt x="280" y="437"/>
                    <a:pt x="280" y="441"/>
                  </a:cubicBezTo>
                  <a:cubicBezTo>
                    <a:pt x="281" y="443"/>
                    <a:pt x="281" y="445"/>
                    <a:pt x="282" y="447"/>
                  </a:cubicBezTo>
                  <a:cubicBezTo>
                    <a:pt x="283" y="452"/>
                    <a:pt x="285" y="457"/>
                    <a:pt x="283" y="464"/>
                  </a:cubicBezTo>
                  <a:cubicBezTo>
                    <a:pt x="282" y="467"/>
                    <a:pt x="282" y="471"/>
                    <a:pt x="282" y="474"/>
                  </a:cubicBezTo>
                  <a:cubicBezTo>
                    <a:pt x="282" y="477"/>
                    <a:pt x="282" y="477"/>
                    <a:pt x="282" y="477"/>
                  </a:cubicBezTo>
                  <a:cubicBezTo>
                    <a:pt x="282" y="479"/>
                    <a:pt x="281" y="480"/>
                    <a:pt x="281" y="482"/>
                  </a:cubicBezTo>
                  <a:cubicBezTo>
                    <a:pt x="281" y="484"/>
                    <a:pt x="280" y="486"/>
                    <a:pt x="281" y="489"/>
                  </a:cubicBezTo>
                  <a:cubicBezTo>
                    <a:pt x="281" y="493"/>
                    <a:pt x="284" y="497"/>
                    <a:pt x="286" y="500"/>
                  </a:cubicBezTo>
                  <a:cubicBezTo>
                    <a:pt x="288" y="502"/>
                    <a:pt x="290" y="504"/>
                    <a:pt x="291" y="507"/>
                  </a:cubicBezTo>
                  <a:cubicBezTo>
                    <a:pt x="292" y="508"/>
                    <a:pt x="292" y="509"/>
                    <a:pt x="293" y="510"/>
                  </a:cubicBezTo>
                  <a:cubicBezTo>
                    <a:pt x="294" y="513"/>
                    <a:pt x="295" y="516"/>
                    <a:pt x="295" y="519"/>
                  </a:cubicBezTo>
                  <a:cubicBezTo>
                    <a:pt x="295" y="521"/>
                    <a:pt x="295" y="524"/>
                    <a:pt x="295" y="527"/>
                  </a:cubicBezTo>
                  <a:cubicBezTo>
                    <a:pt x="295" y="529"/>
                    <a:pt x="295" y="531"/>
                    <a:pt x="295" y="533"/>
                  </a:cubicBezTo>
                  <a:cubicBezTo>
                    <a:pt x="294" y="533"/>
                    <a:pt x="294" y="533"/>
                    <a:pt x="294" y="533"/>
                  </a:cubicBezTo>
                  <a:cubicBezTo>
                    <a:pt x="294" y="533"/>
                    <a:pt x="294" y="533"/>
                    <a:pt x="294" y="533"/>
                  </a:cubicBezTo>
                  <a:cubicBezTo>
                    <a:pt x="294" y="533"/>
                    <a:pt x="293" y="534"/>
                    <a:pt x="292" y="535"/>
                  </a:cubicBezTo>
                  <a:cubicBezTo>
                    <a:pt x="291" y="535"/>
                    <a:pt x="291" y="535"/>
                    <a:pt x="291" y="535"/>
                  </a:cubicBezTo>
                  <a:cubicBezTo>
                    <a:pt x="291" y="536"/>
                    <a:pt x="291" y="536"/>
                    <a:pt x="291" y="536"/>
                  </a:cubicBezTo>
                  <a:cubicBezTo>
                    <a:pt x="292" y="537"/>
                    <a:pt x="292" y="537"/>
                    <a:pt x="293" y="539"/>
                  </a:cubicBezTo>
                  <a:cubicBezTo>
                    <a:pt x="293" y="540"/>
                    <a:pt x="294" y="540"/>
                    <a:pt x="294" y="541"/>
                  </a:cubicBezTo>
                  <a:cubicBezTo>
                    <a:pt x="294" y="542"/>
                    <a:pt x="294" y="543"/>
                    <a:pt x="293" y="544"/>
                  </a:cubicBezTo>
                  <a:cubicBezTo>
                    <a:pt x="291" y="550"/>
                    <a:pt x="291" y="550"/>
                    <a:pt x="291" y="550"/>
                  </a:cubicBezTo>
                  <a:cubicBezTo>
                    <a:pt x="296" y="546"/>
                    <a:pt x="296" y="546"/>
                    <a:pt x="296" y="546"/>
                  </a:cubicBezTo>
                  <a:cubicBezTo>
                    <a:pt x="298" y="544"/>
                    <a:pt x="302" y="542"/>
                    <a:pt x="304" y="542"/>
                  </a:cubicBezTo>
                  <a:cubicBezTo>
                    <a:pt x="305" y="542"/>
                    <a:pt x="305" y="542"/>
                    <a:pt x="305" y="542"/>
                  </a:cubicBezTo>
                  <a:cubicBezTo>
                    <a:pt x="305" y="542"/>
                    <a:pt x="306" y="543"/>
                    <a:pt x="306" y="543"/>
                  </a:cubicBezTo>
                  <a:cubicBezTo>
                    <a:pt x="306" y="543"/>
                    <a:pt x="307" y="544"/>
                    <a:pt x="307" y="544"/>
                  </a:cubicBezTo>
                  <a:cubicBezTo>
                    <a:pt x="313" y="547"/>
                    <a:pt x="313" y="547"/>
                    <a:pt x="313" y="547"/>
                  </a:cubicBezTo>
                  <a:cubicBezTo>
                    <a:pt x="310" y="542"/>
                    <a:pt x="310" y="542"/>
                    <a:pt x="310" y="542"/>
                  </a:cubicBezTo>
                  <a:cubicBezTo>
                    <a:pt x="311" y="542"/>
                    <a:pt x="311" y="542"/>
                    <a:pt x="311" y="541"/>
                  </a:cubicBezTo>
                  <a:cubicBezTo>
                    <a:pt x="312" y="541"/>
                    <a:pt x="312" y="541"/>
                    <a:pt x="312" y="541"/>
                  </a:cubicBezTo>
                  <a:cubicBezTo>
                    <a:pt x="313" y="541"/>
                    <a:pt x="313" y="541"/>
                    <a:pt x="313" y="542"/>
                  </a:cubicBezTo>
                  <a:cubicBezTo>
                    <a:pt x="314" y="543"/>
                    <a:pt x="314" y="543"/>
                    <a:pt x="315" y="544"/>
                  </a:cubicBezTo>
                  <a:cubicBezTo>
                    <a:pt x="315" y="544"/>
                    <a:pt x="316" y="545"/>
                    <a:pt x="317" y="545"/>
                  </a:cubicBezTo>
                  <a:cubicBezTo>
                    <a:pt x="318" y="545"/>
                    <a:pt x="320" y="544"/>
                    <a:pt x="322" y="543"/>
                  </a:cubicBezTo>
                  <a:cubicBezTo>
                    <a:pt x="323" y="542"/>
                    <a:pt x="323" y="541"/>
                    <a:pt x="324" y="541"/>
                  </a:cubicBezTo>
                  <a:cubicBezTo>
                    <a:pt x="324" y="540"/>
                    <a:pt x="325" y="539"/>
                    <a:pt x="326" y="539"/>
                  </a:cubicBezTo>
                  <a:cubicBezTo>
                    <a:pt x="326" y="539"/>
                    <a:pt x="327" y="538"/>
                    <a:pt x="329" y="538"/>
                  </a:cubicBezTo>
                  <a:cubicBezTo>
                    <a:pt x="330" y="538"/>
                    <a:pt x="330" y="538"/>
                    <a:pt x="331" y="538"/>
                  </a:cubicBezTo>
                  <a:cubicBezTo>
                    <a:pt x="331" y="538"/>
                    <a:pt x="331" y="538"/>
                    <a:pt x="332" y="538"/>
                  </a:cubicBezTo>
                  <a:cubicBezTo>
                    <a:pt x="332" y="539"/>
                    <a:pt x="332" y="539"/>
                    <a:pt x="332" y="539"/>
                  </a:cubicBezTo>
                  <a:cubicBezTo>
                    <a:pt x="332" y="539"/>
                    <a:pt x="332" y="539"/>
                    <a:pt x="332" y="539"/>
                  </a:cubicBezTo>
                  <a:cubicBezTo>
                    <a:pt x="332" y="540"/>
                    <a:pt x="333" y="540"/>
                    <a:pt x="334" y="540"/>
                  </a:cubicBezTo>
                  <a:cubicBezTo>
                    <a:pt x="336" y="541"/>
                    <a:pt x="337" y="541"/>
                    <a:pt x="338" y="541"/>
                  </a:cubicBezTo>
                  <a:cubicBezTo>
                    <a:pt x="339" y="541"/>
                    <a:pt x="340" y="541"/>
                    <a:pt x="341" y="540"/>
                  </a:cubicBezTo>
                  <a:cubicBezTo>
                    <a:pt x="342" y="540"/>
                    <a:pt x="342" y="539"/>
                    <a:pt x="343" y="538"/>
                  </a:cubicBezTo>
                  <a:cubicBezTo>
                    <a:pt x="343" y="537"/>
                    <a:pt x="344" y="536"/>
                    <a:pt x="345" y="536"/>
                  </a:cubicBezTo>
                  <a:cubicBezTo>
                    <a:pt x="345" y="536"/>
                    <a:pt x="345" y="536"/>
                    <a:pt x="345" y="536"/>
                  </a:cubicBezTo>
                  <a:cubicBezTo>
                    <a:pt x="346" y="536"/>
                    <a:pt x="348" y="537"/>
                    <a:pt x="349" y="538"/>
                  </a:cubicBezTo>
                  <a:cubicBezTo>
                    <a:pt x="350" y="539"/>
                    <a:pt x="350" y="540"/>
                    <a:pt x="351" y="540"/>
                  </a:cubicBezTo>
                  <a:cubicBezTo>
                    <a:pt x="351" y="540"/>
                    <a:pt x="352" y="540"/>
                    <a:pt x="352" y="541"/>
                  </a:cubicBezTo>
                  <a:cubicBezTo>
                    <a:pt x="353" y="541"/>
                    <a:pt x="354" y="541"/>
                    <a:pt x="355" y="542"/>
                  </a:cubicBezTo>
                  <a:cubicBezTo>
                    <a:pt x="356" y="543"/>
                    <a:pt x="356" y="545"/>
                    <a:pt x="356" y="548"/>
                  </a:cubicBezTo>
                  <a:cubicBezTo>
                    <a:pt x="355" y="549"/>
                    <a:pt x="355" y="551"/>
                    <a:pt x="355" y="552"/>
                  </a:cubicBezTo>
                  <a:cubicBezTo>
                    <a:pt x="355" y="555"/>
                    <a:pt x="357" y="555"/>
                    <a:pt x="358" y="555"/>
                  </a:cubicBezTo>
                  <a:cubicBezTo>
                    <a:pt x="360" y="555"/>
                    <a:pt x="360" y="554"/>
                    <a:pt x="361" y="553"/>
                  </a:cubicBezTo>
                  <a:cubicBezTo>
                    <a:pt x="362" y="553"/>
                    <a:pt x="362" y="552"/>
                    <a:pt x="363" y="552"/>
                  </a:cubicBezTo>
                  <a:cubicBezTo>
                    <a:pt x="364" y="551"/>
                    <a:pt x="366" y="550"/>
                    <a:pt x="368" y="549"/>
                  </a:cubicBezTo>
                  <a:cubicBezTo>
                    <a:pt x="369" y="549"/>
                    <a:pt x="370" y="549"/>
                    <a:pt x="371" y="548"/>
                  </a:cubicBezTo>
                  <a:cubicBezTo>
                    <a:pt x="374" y="547"/>
                    <a:pt x="377" y="547"/>
                    <a:pt x="380" y="547"/>
                  </a:cubicBezTo>
                  <a:cubicBezTo>
                    <a:pt x="382" y="546"/>
                    <a:pt x="382" y="546"/>
                    <a:pt x="382" y="546"/>
                  </a:cubicBezTo>
                  <a:cubicBezTo>
                    <a:pt x="382" y="547"/>
                    <a:pt x="382" y="549"/>
                    <a:pt x="382" y="550"/>
                  </a:cubicBezTo>
                  <a:cubicBezTo>
                    <a:pt x="382" y="555"/>
                    <a:pt x="382" y="559"/>
                    <a:pt x="386" y="562"/>
                  </a:cubicBezTo>
                  <a:cubicBezTo>
                    <a:pt x="388" y="564"/>
                    <a:pt x="391" y="565"/>
                    <a:pt x="393" y="565"/>
                  </a:cubicBezTo>
                  <a:cubicBezTo>
                    <a:pt x="394" y="566"/>
                    <a:pt x="394" y="566"/>
                    <a:pt x="394" y="566"/>
                  </a:cubicBezTo>
                  <a:cubicBezTo>
                    <a:pt x="397" y="566"/>
                    <a:pt x="398" y="567"/>
                    <a:pt x="401" y="568"/>
                  </a:cubicBezTo>
                  <a:cubicBezTo>
                    <a:pt x="404" y="570"/>
                    <a:pt x="407" y="570"/>
                    <a:pt x="410" y="570"/>
                  </a:cubicBezTo>
                  <a:cubicBezTo>
                    <a:pt x="413" y="571"/>
                    <a:pt x="415" y="571"/>
                    <a:pt x="417" y="572"/>
                  </a:cubicBezTo>
                  <a:cubicBezTo>
                    <a:pt x="419" y="572"/>
                    <a:pt x="420" y="572"/>
                    <a:pt x="421" y="572"/>
                  </a:cubicBezTo>
                  <a:cubicBezTo>
                    <a:pt x="424" y="572"/>
                    <a:pt x="428" y="571"/>
                    <a:pt x="431" y="565"/>
                  </a:cubicBezTo>
                  <a:cubicBezTo>
                    <a:pt x="431" y="565"/>
                    <a:pt x="431" y="564"/>
                    <a:pt x="431" y="564"/>
                  </a:cubicBezTo>
                  <a:cubicBezTo>
                    <a:pt x="432" y="561"/>
                    <a:pt x="433" y="559"/>
                    <a:pt x="435" y="559"/>
                  </a:cubicBezTo>
                  <a:cubicBezTo>
                    <a:pt x="435" y="559"/>
                    <a:pt x="435" y="559"/>
                    <a:pt x="436" y="559"/>
                  </a:cubicBezTo>
                  <a:cubicBezTo>
                    <a:pt x="436" y="559"/>
                    <a:pt x="437" y="559"/>
                    <a:pt x="437" y="560"/>
                  </a:cubicBezTo>
                  <a:cubicBezTo>
                    <a:pt x="438" y="561"/>
                    <a:pt x="438" y="563"/>
                    <a:pt x="438" y="565"/>
                  </a:cubicBezTo>
                  <a:cubicBezTo>
                    <a:pt x="437" y="566"/>
                    <a:pt x="437" y="566"/>
                    <a:pt x="437" y="566"/>
                  </a:cubicBezTo>
                  <a:cubicBezTo>
                    <a:pt x="439" y="567"/>
                    <a:pt x="439" y="567"/>
                    <a:pt x="439" y="567"/>
                  </a:cubicBezTo>
                  <a:cubicBezTo>
                    <a:pt x="441" y="568"/>
                    <a:pt x="442" y="570"/>
                    <a:pt x="443" y="571"/>
                  </a:cubicBezTo>
                  <a:cubicBezTo>
                    <a:pt x="444" y="572"/>
                    <a:pt x="444" y="574"/>
                    <a:pt x="445" y="575"/>
                  </a:cubicBezTo>
                  <a:cubicBezTo>
                    <a:pt x="445" y="577"/>
                    <a:pt x="445" y="578"/>
                    <a:pt x="447" y="579"/>
                  </a:cubicBezTo>
                  <a:cubicBezTo>
                    <a:pt x="447" y="580"/>
                    <a:pt x="450" y="582"/>
                    <a:pt x="451" y="582"/>
                  </a:cubicBezTo>
                  <a:cubicBezTo>
                    <a:pt x="451" y="582"/>
                    <a:pt x="451" y="582"/>
                    <a:pt x="452" y="582"/>
                  </a:cubicBezTo>
                  <a:cubicBezTo>
                    <a:pt x="452" y="582"/>
                    <a:pt x="452" y="582"/>
                    <a:pt x="452" y="582"/>
                  </a:cubicBezTo>
                  <a:cubicBezTo>
                    <a:pt x="453" y="582"/>
                    <a:pt x="453" y="582"/>
                    <a:pt x="453" y="582"/>
                  </a:cubicBezTo>
                  <a:cubicBezTo>
                    <a:pt x="453" y="582"/>
                    <a:pt x="453" y="582"/>
                    <a:pt x="454" y="581"/>
                  </a:cubicBezTo>
                  <a:cubicBezTo>
                    <a:pt x="454" y="581"/>
                    <a:pt x="454" y="581"/>
                    <a:pt x="455" y="581"/>
                  </a:cubicBezTo>
                  <a:cubicBezTo>
                    <a:pt x="456" y="581"/>
                    <a:pt x="457" y="582"/>
                    <a:pt x="458" y="583"/>
                  </a:cubicBezTo>
                  <a:cubicBezTo>
                    <a:pt x="459" y="584"/>
                    <a:pt x="460" y="584"/>
                    <a:pt x="462" y="585"/>
                  </a:cubicBezTo>
                  <a:cubicBezTo>
                    <a:pt x="465" y="585"/>
                    <a:pt x="466" y="586"/>
                    <a:pt x="467" y="587"/>
                  </a:cubicBezTo>
                  <a:cubicBezTo>
                    <a:pt x="468" y="587"/>
                    <a:pt x="469" y="588"/>
                    <a:pt x="469" y="588"/>
                  </a:cubicBezTo>
                  <a:cubicBezTo>
                    <a:pt x="470" y="588"/>
                    <a:pt x="470" y="589"/>
                    <a:pt x="471" y="589"/>
                  </a:cubicBezTo>
                  <a:cubicBezTo>
                    <a:pt x="473" y="590"/>
                    <a:pt x="474" y="591"/>
                    <a:pt x="475" y="594"/>
                  </a:cubicBezTo>
                  <a:cubicBezTo>
                    <a:pt x="476" y="598"/>
                    <a:pt x="476" y="599"/>
                    <a:pt x="479" y="601"/>
                  </a:cubicBezTo>
                  <a:cubicBezTo>
                    <a:pt x="482" y="603"/>
                    <a:pt x="484" y="604"/>
                    <a:pt x="485" y="607"/>
                  </a:cubicBezTo>
                  <a:cubicBezTo>
                    <a:pt x="485" y="608"/>
                    <a:pt x="486" y="609"/>
                    <a:pt x="486" y="611"/>
                  </a:cubicBezTo>
                  <a:cubicBezTo>
                    <a:pt x="486" y="613"/>
                    <a:pt x="487" y="615"/>
                    <a:pt x="488" y="617"/>
                  </a:cubicBezTo>
                  <a:cubicBezTo>
                    <a:pt x="489" y="619"/>
                    <a:pt x="491" y="619"/>
                    <a:pt x="493" y="619"/>
                  </a:cubicBezTo>
                  <a:cubicBezTo>
                    <a:pt x="495" y="619"/>
                    <a:pt x="495" y="619"/>
                    <a:pt x="495" y="619"/>
                  </a:cubicBezTo>
                  <a:cubicBezTo>
                    <a:pt x="496" y="619"/>
                    <a:pt x="496" y="619"/>
                    <a:pt x="496" y="619"/>
                  </a:cubicBezTo>
                  <a:cubicBezTo>
                    <a:pt x="498" y="619"/>
                    <a:pt x="498" y="619"/>
                    <a:pt x="498" y="619"/>
                  </a:cubicBezTo>
                  <a:cubicBezTo>
                    <a:pt x="498" y="618"/>
                    <a:pt x="498" y="618"/>
                    <a:pt x="498" y="618"/>
                  </a:cubicBezTo>
                  <a:cubicBezTo>
                    <a:pt x="500" y="615"/>
                    <a:pt x="501" y="614"/>
                    <a:pt x="504" y="614"/>
                  </a:cubicBezTo>
                  <a:cubicBezTo>
                    <a:pt x="504" y="614"/>
                    <a:pt x="504" y="614"/>
                    <a:pt x="504" y="614"/>
                  </a:cubicBezTo>
                  <a:cubicBezTo>
                    <a:pt x="505" y="614"/>
                    <a:pt x="506" y="614"/>
                    <a:pt x="506" y="614"/>
                  </a:cubicBezTo>
                  <a:cubicBezTo>
                    <a:pt x="508" y="614"/>
                    <a:pt x="508" y="615"/>
                    <a:pt x="509" y="615"/>
                  </a:cubicBezTo>
                  <a:cubicBezTo>
                    <a:pt x="510" y="615"/>
                    <a:pt x="511" y="614"/>
                    <a:pt x="511" y="614"/>
                  </a:cubicBezTo>
                  <a:cubicBezTo>
                    <a:pt x="513" y="612"/>
                    <a:pt x="513" y="610"/>
                    <a:pt x="512" y="607"/>
                  </a:cubicBezTo>
                  <a:cubicBezTo>
                    <a:pt x="512" y="606"/>
                    <a:pt x="512" y="605"/>
                    <a:pt x="512" y="605"/>
                  </a:cubicBezTo>
                  <a:cubicBezTo>
                    <a:pt x="512" y="599"/>
                    <a:pt x="512" y="592"/>
                    <a:pt x="512" y="585"/>
                  </a:cubicBezTo>
                  <a:cubicBezTo>
                    <a:pt x="512" y="585"/>
                    <a:pt x="512" y="584"/>
                    <a:pt x="512" y="584"/>
                  </a:cubicBezTo>
                  <a:cubicBezTo>
                    <a:pt x="512" y="582"/>
                    <a:pt x="512" y="580"/>
                    <a:pt x="509" y="579"/>
                  </a:cubicBezTo>
                  <a:cubicBezTo>
                    <a:pt x="509" y="579"/>
                    <a:pt x="508" y="579"/>
                    <a:pt x="508" y="579"/>
                  </a:cubicBezTo>
                  <a:cubicBezTo>
                    <a:pt x="506" y="579"/>
                    <a:pt x="504" y="580"/>
                    <a:pt x="503" y="581"/>
                  </a:cubicBezTo>
                  <a:cubicBezTo>
                    <a:pt x="503" y="582"/>
                    <a:pt x="502" y="583"/>
                    <a:pt x="502" y="583"/>
                  </a:cubicBezTo>
                  <a:cubicBezTo>
                    <a:pt x="502" y="585"/>
                    <a:pt x="501" y="586"/>
                    <a:pt x="499" y="586"/>
                  </a:cubicBezTo>
                  <a:cubicBezTo>
                    <a:pt x="497" y="586"/>
                    <a:pt x="492" y="585"/>
                    <a:pt x="490" y="584"/>
                  </a:cubicBezTo>
                  <a:cubicBezTo>
                    <a:pt x="489" y="583"/>
                    <a:pt x="488" y="582"/>
                    <a:pt x="488" y="580"/>
                  </a:cubicBezTo>
                  <a:cubicBezTo>
                    <a:pt x="488" y="579"/>
                    <a:pt x="487" y="578"/>
                    <a:pt x="487" y="577"/>
                  </a:cubicBezTo>
                  <a:cubicBezTo>
                    <a:pt x="485" y="574"/>
                    <a:pt x="482" y="572"/>
                    <a:pt x="479" y="571"/>
                  </a:cubicBezTo>
                  <a:cubicBezTo>
                    <a:pt x="477" y="570"/>
                    <a:pt x="475" y="569"/>
                    <a:pt x="474" y="567"/>
                  </a:cubicBezTo>
                  <a:cubicBezTo>
                    <a:pt x="471" y="564"/>
                    <a:pt x="470" y="555"/>
                    <a:pt x="471" y="551"/>
                  </a:cubicBezTo>
                  <a:cubicBezTo>
                    <a:pt x="472" y="551"/>
                    <a:pt x="472" y="550"/>
                    <a:pt x="472" y="549"/>
                  </a:cubicBezTo>
                  <a:cubicBezTo>
                    <a:pt x="473" y="547"/>
                    <a:pt x="474" y="545"/>
                    <a:pt x="474" y="543"/>
                  </a:cubicBezTo>
                  <a:cubicBezTo>
                    <a:pt x="475" y="539"/>
                    <a:pt x="476" y="537"/>
                    <a:pt x="477" y="534"/>
                  </a:cubicBezTo>
                  <a:cubicBezTo>
                    <a:pt x="481" y="529"/>
                    <a:pt x="480" y="526"/>
                    <a:pt x="479" y="522"/>
                  </a:cubicBezTo>
                  <a:cubicBezTo>
                    <a:pt x="479" y="520"/>
                    <a:pt x="478" y="518"/>
                    <a:pt x="478" y="516"/>
                  </a:cubicBezTo>
                  <a:cubicBezTo>
                    <a:pt x="478" y="513"/>
                    <a:pt x="478" y="510"/>
                    <a:pt x="479" y="507"/>
                  </a:cubicBezTo>
                  <a:cubicBezTo>
                    <a:pt x="480" y="505"/>
                    <a:pt x="480" y="503"/>
                    <a:pt x="480" y="501"/>
                  </a:cubicBezTo>
                  <a:cubicBezTo>
                    <a:pt x="480" y="496"/>
                    <a:pt x="477" y="490"/>
                    <a:pt x="475" y="487"/>
                  </a:cubicBezTo>
                  <a:cubicBezTo>
                    <a:pt x="475" y="487"/>
                    <a:pt x="474" y="486"/>
                    <a:pt x="474" y="485"/>
                  </a:cubicBezTo>
                  <a:cubicBezTo>
                    <a:pt x="473" y="484"/>
                    <a:pt x="473" y="484"/>
                    <a:pt x="473" y="483"/>
                  </a:cubicBezTo>
                  <a:cubicBezTo>
                    <a:pt x="473" y="482"/>
                    <a:pt x="474" y="482"/>
                    <a:pt x="475" y="481"/>
                  </a:cubicBezTo>
                  <a:cubicBezTo>
                    <a:pt x="480" y="477"/>
                    <a:pt x="484" y="474"/>
                    <a:pt x="487" y="468"/>
                  </a:cubicBezTo>
                  <a:cubicBezTo>
                    <a:pt x="488" y="465"/>
                    <a:pt x="488" y="461"/>
                    <a:pt x="488" y="458"/>
                  </a:cubicBezTo>
                  <a:cubicBezTo>
                    <a:pt x="488" y="457"/>
                    <a:pt x="488" y="457"/>
                    <a:pt x="488" y="457"/>
                  </a:cubicBezTo>
                  <a:cubicBezTo>
                    <a:pt x="537" y="448"/>
                    <a:pt x="537" y="448"/>
                    <a:pt x="537" y="448"/>
                  </a:cubicBezTo>
                  <a:cubicBezTo>
                    <a:pt x="537" y="446"/>
                    <a:pt x="537" y="446"/>
                    <a:pt x="537" y="446"/>
                  </a:cubicBezTo>
                  <a:cubicBezTo>
                    <a:pt x="536" y="442"/>
                    <a:pt x="533" y="439"/>
                    <a:pt x="531" y="436"/>
                  </a:cubicBezTo>
                  <a:cubicBezTo>
                    <a:pt x="530" y="435"/>
                    <a:pt x="529" y="433"/>
                    <a:pt x="528" y="432"/>
                  </a:cubicBezTo>
                  <a:cubicBezTo>
                    <a:pt x="527" y="430"/>
                    <a:pt x="526" y="429"/>
                    <a:pt x="526" y="426"/>
                  </a:cubicBezTo>
                  <a:cubicBezTo>
                    <a:pt x="526" y="426"/>
                    <a:pt x="526" y="425"/>
                    <a:pt x="526" y="424"/>
                  </a:cubicBezTo>
                  <a:cubicBezTo>
                    <a:pt x="525" y="418"/>
                    <a:pt x="522" y="414"/>
                    <a:pt x="517" y="410"/>
                  </a:cubicBezTo>
                  <a:cubicBezTo>
                    <a:pt x="516" y="410"/>
                    <a:pt x="516" y="410"/>
                    <a:pt x="516" y="410"/>
                  </a:cubicBezTo>
                  <a:cubicBezTo>
                    <a:pt x="512" y="407"/>
                    <a:pt x="511" y="407"/>
                    <a:pt x="509" y="403"/>
                  </a:cubicBezTo>
                  <a:cubicBezTo>
                    <a:pt x="508" y="401"/>
                    <a:pt x="508" y="399"/>
                    <a:pt x="508" y="397"/>
                  </a:cubicBezTo>
                  <a:cubicBezTo>
                    <a:pt x="507" y="396"/>
                    <a:pt x="507" y="394"/>
                    <a:pt x="506" y="392"/>
                  </a:cubicBezTo>
                  <a:cubicBezTo>
                    <a:pt x="506" y="389"/>
                    <a:pt x="504" y="387"/>
                    <a:pt x="502" y="385"/>
                  </a:cubicBezTo>
                  <a:cubicBezTo>
                    <a:pt x="501" y="382"/>
                    <a:pt x="500" y="380"/>
                    <a:pt x="499" y="378"/>
                  </a:cubicBezTo>
                  <a:cubicBezTo>
                    <a:pt x="498" y="375"/>
                    <a:pt x="499" y="373"/>
                    <a:pt x="500" y="371"/>
                  </a:cubicBezTo>
                  <a:cubicBezTo>
                    <a:pt x="500" y="369"/>
                    <a:pt x="501" y="368"/>
                    <a:pt x="501" y="367"/>
                  </a:cubicBezTo>
                  <a:cubicBezTo>
                    <a:pt x="503" y="361"/>
                    <a:pt x="501" y="357"/>
                    <a:pt x="499" y="353"/>
                  </a:cubicBezTo>
                  <a:cubicBezTo>
                    <a:pt x="498" y="352"/>
                    <a:pt x="497" y="350"/>
                    <a:pt x="496" y="349"/>
                  </a:cubicBezTo>
                  <a:cubicBezTo>
                    <a:pt x="494" y="342"/>
                    <a:pt x="493" y="334"/>
                    <a:pt x="495" y="328"/>
                  </a:cubicBezTo>
                  <a:cubicBezTo>
                    <a:pt x="495" y="328"/>
                    <a:pt x="496" y="327"/>
                    <a:pt x="496" y="326"/>
                  </a:cubicBezTo>
                  <a:cubicBezTo>
                    <a:pt x="497" y="324"/>
                    <a:pt x="498" y="321"/>
                    <a:pt x="497" y="318"/>
                  </a:cubicBezTo>
                  <a:cubicBezTo>
                    <a:pt x="496" y="316"/>
                    <a:pt x="495" y="316"/>
                    <a:pt x="495" y="315"/>
                  </a:cubicBezTo>
                  <a:cubicBezTo>
                    <a:pt x="495" y="315"/>
                    <a:pt x="494" y="315"/>
                    <a:pt x="494" y="314"/>
                  </a:cubicBezTo>
                  <a:cubicBezTo>
                    <a:pt x="494" y="310"/>
                    <a:pt x="494" y="305"/>
                    <a:pt x="496" y="304"/>
                  </a:cubicBezTo>
                  <a:cubicBezTo>
                    <a:pt x="496" y="303"/>
                    <a:pt x="496" y="303"/>
                    <a:pt x="496" y="303"/>
                  </a:cubicBezTo>
                  <a:cubicBezTo>
                    <a:pt x="496" y="302"/>
                    <a:pt x="496" y="302"/>
                    <a:pt x="496" y="302"/>
                  </a:cubicBezTo>
                  <a:cubicBezTo>
                    <a:pt x="496" y="297"/>
                    <a:pt x="496" y="292"/>
                    <a:pt x="496" y="289"/>
                  </a:cubicBezTo>
                  <a:cubicBezTo>
                    <a:pt x="496" y="285"/>
                    <a:pt x="496" y="285"/>
                    <a:pt x="496" y="285"/>
                  </a:cubicBezTo>
                  <a:cubicBezTo>
                    <a:pt x="496" y="284"/>
                    <a:pt x="496" y="283"/>
                    <a:pt x="496" y="283"/>
                  </a:cubicBezTo>
                  <a:cubicBezTo>
                    <a:pt x="496" y="280"/>
                    <a:pt x="496" y="278"/>
                    <a:pt x="494" y="276"/>
                  </a:cubicBezTo>
                  <a:cubicBezTo>
                    <a:pt x="492" y="273"/>
                    <a:pt x="490" y="271"/>
                    <a:pt x="489" y="268"/>
                  </a:cubicBezTo>
                  <a:cubicBezTo>
                    <a:pt x="486" y="263"/>
                    <a:pt x="484" y="256"/>
                    <a:pt x="491" y="253"/>
                  </a:cubicBezTo>
                  <a:cubicBezTo>
                    <a:pt x="496" y="250"/>
                    <a:pt x="495" y="246"/>
                    <a:pt x="494" y="242"/>
                  </a:cubicBezTo>
                  <a:cubicBezTo>
                    <a:pt x="494" y="240"/>
                    <a:pt x="494" y="237"/>
                    <a:pt x="494" y="235"/>
                  </a:cubicBezTo>
                  <a:cubicBezTo>
                    <a:pt x="495" y="228"/>
                    <a:pt x="504" y="224"/>
                    <a:pt x="508" y="222"/>
                  </a:cubicBezTo>
                  <a:cubicBezTo>
                    <a:pt x="509" y="222"/>
                    <a:pt x="509" y="222"/>
                    <a:pt x="509" y="222"/>
                  </a:cubicBezTo>
                  <a:cubicBezTo>
                    <a:pt x="509" y="220"/>
                    <a:pt x="509" y="220"/>
                    <a:pt x="509" y="220"/>
                  </a:cubicBezTo>
                  <a:cubicBezTo>
                    <a:pt x="509" y="220"/>
                    <a:pt x="509" y="219"/>
                    <a:pt x="509" y="218"/>
                  </a:cubicBezTo>
                  <a:cubicBezTo>
                    <a:pt x="508" y="216"/>
                    <a:pt x="509" y="213"/>
                    <a:pt x="509" y="210"/>
                  </a:cubicBezTo>
                  <a:cubicBezTo>
                    <a:pt x="509" y="207"/>
                    <a:pt x="509" y="207"/>
                    <a:pt x="509" y="207"/>
                  </a:cubicBezTo>
                  <a:cubicBezTo>
                    <a:pt x="509" y="198"/>
                    <a:pt x="510" y="191"/>
                    <a:pt x="511" y="185"/>
                  </a:cubicBezTo>
                  <a:cubicBezTo>
                    <a:pt x="512" y="179"/>
                    <a:pt x="514" y="174"/>
                    <a:pt x="516" y="168"/>
                  </a:cubicBezTo>
                  <a:cubicBezTo>
                    <a:pt x="517" y="165"/>
                    <a:pt x="517" y="162"/>
                    <a:pt x="517" y="159"/>
                  </a:cubicBezTo>
                  <a:cubicBezTo>
                    <a:pt x="517" y="157"/>
                    <a:pt x="517" y="155"/>
                    <a:pt x="517" y="153"/>
                  </a:cubicBezTo>
                  <a:cubicBezTo>
                    <a:pt x="518" y="150"/>
                    <a:pt x="520" y="149"/>
                    <a:pt x="521" y="148"/>
                  </a:cubicBezTo>
                  <a:cubicBezTo>
                    <a:pt x="523" y="148"/>
                    <a:pt x="525" y="147"/>
                    <a:pt x="526" y="144"/>
                  </a:cubicBezTo>
                  <a:cubicBezTo>
                    <a:pt x="526" y="144"/>
                    <a:pt x="526" y="143"/>
                    <a:pt x="526" y="142"/>
                  </a:cubicBezTo>
                  <a:cubicBezTo>
                    <a:pt x="527" y="141"/>
                    <a:pt x="527" y="139"/>
                    <a:pt x="529" y="139"/>
                  </a:cubicBezTo>
                  <a:cubicBezTo>
                    <a:pt x="530" y="138"/>
                    <a:pt x="530" y="138"/>
                    <a:pt x="531" y="138"/>
                  </a:cubicBezTo>
                  <a:cubicBezTo>
                    <a:pt x="532" y="138"/>
                    <a:pt x="534" y="137"/>
                    <a:pt x="535" y="136"/>
                  </a:cubicBezTo>
                  <a:cubicBezTo>
                    <a:pt x="538" y="132"/>
                    <a:pt x="541" y="128"/>
                    <a:pt x="543" y="125"/>
                  </a:cubicBezTo>
                  <a:cubicBezTo>
                    <a:pt x="546" y="121"/>
                    <a:pt x="550" y="116"/>
                    <a:pt x="553" y="112"/>
                  </a:cubicBezTo>
                  <a:cubicBezTo>
                    <a:pt x="556" y="110"/>
                    <a:pt x="557" y="108"/>
                    <a:pt x="556" y="106"/>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53" name="Freeform 53">
              <a:extLst>
                <a:ext uri="{FF2B5EF4-FFF2-40B4-BE49-F238E27FC236}">
                  <a16:creationId xmlns:a16="http://schemas.microsoft.com/office/drawing/2014/main" id="{A22ED080-5821-465A-A004-B92CC0863C4F}"/>
                </a:ext>
              </a:extLst>
            </p:cNvPr>
            <p:cNvSpPr>
              <a:spLocks/>
            </p:cNvSpPr>
            <p:nvPr/>
          </p:nvSpPr>
          <p:spPr bwMode="auto">
            <a:xfrm>
              <a:off x="2660699" y="2881259"/>
              <a:ext cx="724298" cy="743802"/>
            </a:xfrm>
            <a:custGeom>
              <a:avLst/>
              <a:gdLst>
                <a:gd name="T0" fmla="*/ 356 w 358"/>
                <a:gd name="T1" fmla="*/ 194 h 399"/>
                <a:gd name="T2" fmla="*/ 357 w 358"/>
                <a:gd name="T3" fmla="*/ 180 h 399"/>
                <a:gd name="T4" fmla="*/ 353 w 358"/>
                <a:gd name="T5" fmla="*/ 171 h 399"/>
                <a:gd name="T6" fmla="*/ 343 w 358"/>
                <a:gd name="T7" fmla="*/ 169 h 399"/>
                <a:gd name="T8" fmla="*/ 329 w 358"/>
                <a:gd name="T9" fmla="*/ 175 h 399"/>
                <a:gd name="T10" fmla="*/ 323 w 358"/>
                <a:gd name="T11" fmla="*/ 172 h 399"/>
                <a:gd name="T12" fmla="*/ 316 w 358"/>
                <a:gd name="T13" fmla="*/ 173 h 399"/>
                <a:gd name="T14" fmla="*/ 306 w 358"/>
                <a:gd name="T15" fmla="*/ 175 h 399"/>
                <a:gd name="T16" fmla="*/ 307 w 358"/>
                <a:gd name="T17" fmla="*/ 164 h 399"/>
                <a:gd name="T18" fmla="*/ 304 w 358"/>
                <a:gd name="T19" fmla="*/ 138 h 399"/>
                <a:gd name="T20" fmla="*/ 294 w 358"/>
                <a:gd name="T21" fmla="*/ 105 h 399"/>
                <a:gd name="T22" fmla="*/ 295 w 358"/>
                <a:gd name="T23" fmla="*/ 51 h 399"/>
                <a:gd name="T24" fmla="*/ 262 w 358"/>
                <a:gd name="T25" fmla="*/ 47 h 399"/>
                <a:gd name="T26" fmla="*/ 257 w 358"/>
                <a:gd name="T27" fmla="*/ 35 h 399"/>
                <a:gd name="T28" fmla="*/ 250 w 358"/>
                <a:gd name="T29" fmla="*/ 37 h 399"/>
                <a:gd name="T30" fmla="*/ 227 w 358"/>
                <a:gd name="T31" fmla="*/ 39 h 399"/>
                <a:gd name="T32" fmla="*/ 223 w 358"/>
                <a:gd name="T33" fmla="*/ 67 h 399"/>
                <a:gd name="T34" fmla="*/ 207 w 358"/>
                <a:gd name="T35" fmla="*/ 71 h 399"/>
                <a:gd name="T36" fmla="*/ 204 w 358"/>
                <a:gd name="T37" fmla="*/ 68 h 399"/>
                <a:gd name="T38" fmla="*/ 194 w 358"/>
                <a:gd name="T39" fmla="*/ 71 h 399"/>
                <a:gd name="T40" fmla="*/ 185 w 358"/>
                <a:gd name="T41" fmla="*/ 74 h 399"/>
                <a:gd name="T42" fmla="*/ 174 w 358"/>
                <a:gd name="T43" fmla="*/ 73 h 399"/>
                <a:gd name="T44" fmla="*/ 158 w 358"/>
                <a:gd name="T45" fmla="*/ 52 h 399"/>
                <a:gd name="T46" fmla="*/ 149 w 358"/>
                <a:gd name="T47" fmla="*/ 30 h 399"/>
                <a:gd name="T48" fmla="*/ 146 w 358"/>
                <a:gd name="T49" fmla="*/ 19 h 399"/>
                <a:gd name="T50" fmla="*/ 143 w 358"/>
                <a:gd name="T51" fmla="*/ 8 h 399"/>
                <a:gd name="T52" fmla="*/ 130 w 358"/>
                <a:gd name="T53" fmla="*/ 0 h 399"/>
                <a:gd name="T54" fmla="*/ 67 w 358"/>
                <a:gd name="T55" fmla="*/ 0 h 399"/>
                <a:gd name="T56" fmla="*/ 29 w 358"/>
                <a:gd name="T57" fmla="*/ 5 h 399"/>
                <a:gd name="T58" fmla="*/ 24 w 358"/>
                <a:gd name="T59" fmla="*/ 6 h 399"/>
                <a:gd name="T60" fmla="*/ 15 w 358"/>
                <a:gd name="T61" fmla="*/ 7 h 399"/>
                <a:gd name="T62" fmla="*/ 30 w 358"/>
                <a:gd name="T63" fmla="*/ 35 h 399"/>
                <a:gd name="T64" fmla="*/ 35 w 358"/>
                <a:gd name="T65" fmla="*/ 54 h 399"/>
                <a:gd name="T66" fmla="*/ 45 w 358"/>
                <a:gd name="T67" fmla="*/ 77 h 399"/>
                <a:gd name="T68" fmla="*/ 48 w 358"/>
                <a:gd name="T69" fmla="*/ 90 h 399"/>
                <a:gd name="T70" fmla="*/ 37 w 358"/>
                <a:gd name="T71" fmla="*/ 110 h 399"/>
                <a:gd name="T72" fmla="*/ 42 w 358"/>
                <a:gd name="T73" fmla="*/ 122 h 399"/>
                <a:gd name="T74" fmla="*/ 46 w 358"/>
                <a:gd name="T75" fmla="*/ 134 h 399"/>
                <a:gd name="T76" fmla="*/ 51 w 358"/>
                <a:gd name="T77" fmla="*/ 149 h 399"/>
                <a:gd name="T78" fmla="*/ 60 w 358"/>
                <a:gd name="T79" fmla="*/ 166 h 399"/>
                <a:gd name="T80" fmla="*/ 58 w 358"/>
                <a:gd name="T81" fmla="*/ 194 h 399"/>
                <a:gd name="T82" fmla="*/ 41 w 358"/>
                <a:gd name="T83" fmla="*/ 223 h 399"/>
                <a:gd name="T84" fmla="*/ 32 w 358"/>
                <a:gd name="T85" fmla="*/ 237 h 399"/>
                <a:gd name="T86" fmla="*/ 21 w 358"/>
                <a:gd name="T87" fmla="*/ 263 h 399"/>
                <a:gd name="T88" fmla="*/ 17 w 358"/>
                <a:gd name="T89" fmla="*/ 278 h 399"/>
                <a:gd name="T90" fmla="*/ 9 w 358"/>
                <a:gd name="T91" fmla="*/ 316 h 399"/>
                <a:gd name="T92" fmla="*/ 2 w 358"/>
                <a:gd name="T93" fmla="*/ 337 h 399"/>
                <a:gd name="T94" fmla="*/ 3 w 358"/>
                <a:gd name="T95" fmla="*/ 376 h 399"/>
                <a:gd name="T96" fmla="*/ 23 w 358"/>
                <a:gd name="T97" fmla="*/ 376 h 399"/>
                <a:gd name="T98" fmla="*/ 46 w 358"/>
                <a:gd name="T99" fmla="*/ 366 h 399"/>
                <a:gd name="T100" fmla="*/ 86 w 358"/>
                <a:gd name="T101" fmla="*/ 381 h 399"/>
                <a:gd name="T102" fmla="*/ 215 w 358"/>
                <a:gd name="T103" fmla="*/ 395 h 399"/>
                <a:gd name="T104" fmla="*/ 247 w 358"/>
                <a:gd name="T105" fmla="*/ 395 h 399"/>
                <a:gd name="T106" fmla="*/ 269 w 358"/>
                <a:gd name="T107" fmla="*/ 398 h 399"/>
                <a:gd name="T108" fmla="*/ 288 w 358"/>
                <a:gd name="T109" fmla="*/ 398 h 399"/>
                <a:gd name="T110" fmla="*/ 335 w 358"/>
                <a:gd name="T111" fmla="*/ 388 h 399"/>
                <a:gd name="T112" fmla="*/ 346 w 358"/>
                <a:gd name="T113" fmla="*/ 236 h 399"/>
                <a:gd name="T114" fmla="*/ 354 w 358"/>
                <a:gd name="T115" fmla="*/ 23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8" h="399">
                  <a:moveTo>
                    <a:pt x="357" y="213"/>
                  </a:moveTo>
                  <a:cubicBezTo>
                    <a:pt x="357" y="212"/>
                    <a:pt x="357" y="212"/>
                    <a:pt x="356" y="211"/>
                  </a:cubicBezTo>
                  <a:cubicBezTo>
                    <a:pt x="356" y="211"/>
                    <a:pt x="355" y="210"/>
                    <a:pt x="355" y="209"/>
                  </a:cubicBezTo>
                  <a:cubicBezTo>
                    <a:pt x="355" y="205"/>
                    <a:pt x="355" y="201"/>
                    <a:pt x="355" y="197"/>
                  </a:cubicBezTo>
                  <a:cubicBezTo>
                    <a:pt x="356" y="194"/>
                    <a:pt x="356" y="194"/>
                    <a:pt x="356" y="194"/>
                  </a:cubicBezTo>
                  <a:cubicBezTo>
                    <a:pt x="356" y="193"/>
                    <a:pt x="356" y="193"/>
                    <a:pt x="356" y="192"/>
                  </a:cubicBezTo>
                  <a:cubicBezTo>
                    <a:pt x="356" y="191"/>
                    <a:pt x="355" y="190"/>
                    <a:pt x="356" y="189"/>
                  </a:cubicBezTo>
                  <a:cubicBezTo>
                    <a:pt x="356" y="188"/>
                    <a:pt x="356" y="188"/>
                    <a:pt x="356" y="187"/>
                  </a:cubicBezTo>
                  <a:cubicBezTo>
                    <a:pt x="357" y="187"/>
                    <a:pt x="357" y="186"/>
                    <a:pt x="357" y="185"/>
                  </a:cubicBezTo>
                  <a:cubicBezTo>
                    <a:pt x="358" y="183"/>
                    <a:pt x="358" y="182"/>
                    <a:pt x="357" y="180"/>
                  </a:cubicBezTo>
                  <a:cubicBezTo>
                    <a:pt x="357" y="179"/>
                    <a:pt x="357" y="178"/>
                    <a:pt x="357" y="176"/>
                  </a:cubicBezTo>
                  <a:cubicBezTo>
                    <a:pt x="357" y="175"/>
                    <a:pt x="357" y="173"/>
                    <a:pt x="356" y="172"/>
                  </a:cubicBezTo>
                  <a:cubicBezTo>
                    <a:pt x="356" y="168"/>
                    <a:pt x="356" y="168"/>
                    <a:pt x="356" y="168"/>
                  </a:cubicBezTo>
                  <a:cubicBezTo>
                    <a:pt x="353" y="171"/>
                    <a:pt x="353" y="171"/>
                    <a:pt x="353" y="171"/>
                  </a:cubicBezTo>
                  <a:cubicBezTo>
                    <a:pt x="353" y="171"/>
                    <a:pt x="353" y="171"/>
                    <a:pt x="353" y="171"/>
                  </a:cubicBezTo>
                  <a:cubicBezTo>
                    <a:pt x="352" y="171"/>
                    <a:pt x="351" y="171"/>
                    <a:pt x="350" y="171"/>
                  </a:cubicBezTo>
                  <a:cubicBezTo>
                    <a:pt x="348" y="171"/>
                    <a:pt x="347" y="171"/>
                    <a:pt x="346" y="171"/>
                  </a:cubicBezTo>
                  <a:cubicBezTo>
                    <a:pt x="345" y="171"/>
                    <a:pt x="345" y="170"/>
                    <a:pt x="344" y="170"/>
                  </a:cubicBezTo>
                  <a:cubicBezTo>
                    <a:pt x="344" y="169"/>
                    <a:pt x="344" y="169"/>
                    <a:pt x="344" y="169"/>
                  </a:cubicBezTo>
                  <a:cubicBezTo>
                    <a:pt x="343" y="169"/>
                    <a:pt x="343" y="169"/>
                    <a:pt x="343" y="169"/>
                  </a:cubicBezTo>
                  <a:cubicBezTo>
                    <a:pt x="342" y="169"/>
                    <a:pt x="342" y="169"/>
                    <a:pt x="341" y="169"/>
                  </a:cubicBezTo>
                  <a:cubicBezTo>
                    <a:pt x="340" y="169"/>
                    <a:pt x="338" y="169"/>
                    <a:pt x="338" y="169"/>
                  </a:cubicBezTo>
                  <a:cubicBezTo>
                    <a:pt x="337" y="170"/>
                    <a:pt x="336" y="171"/>
                    <a:pt x="335" y="171"/>
                  </a:cubicBezTo>
                  <a:cubicBezTo>
                    <a:pt x="335" y="172"/>
                    <a:pt x="335" y="173"/>
                    <a:pt x="334" y="173"/>
                  </a:cubicBezTo>
                  <a:cubicBezTo>
                    <a:pt x="332" y="175"/>
                    <a:pt x="330" y="175"/>
                    <a:pt x="329" y="175"/>
                  </a:cubicBezTo>
                  <a:cubicBezTo>
                    <a:pt x="328" y="175"/>
                    <a:pt x="327" y="175"/>
                    <a:pt x="327" y="175"/>
                  </a:cubicBezTo>
                  <a:cubicBezTo>
                    <a:pt x="326" y="174"/>
                    <a:pt x="326" y="174"/>
                    <a:pt x="326" y="173"/>
                  </a:cubicBezTo>
                  <a:cubicBezTo>
                    <a:pt x="325" y="172"/>
                    <a:pt x="325" y="172"/>
                    <a:pt x="325" y="172"/>
                  </a:cubicBezTo>
                  <a:cubicBezTo>
                    <a:pt x="324" y="172"/>
                    <a:pt x="324" y="172"/>
                    <a:pt x="324" y="172"/>
                  </a:cubicBezTo>
                  <a:cubicBezTo>
                    <a:pt x="323" y="172"/>
                    <a:pt x="323" y="172"/>
                    <a:pt x="323" y="172"/>
                  </a:cubicBezTo>
                  <a:cubicBezTo>
                    <a:pt x="322" y="173"/>
                    <a:pt x="322" y="173"/>
                    <a:pt x="322" y="173"/>
                  </a:cubicBezTo>
                  <a:cubicBezTo>
                    <a:pt x="321" y="174"/>
                    <a:pt x="321" y="174"/>
                    <a:pt x="320" y="175"/>
                  </a:cubicBezTo>
                  <a:cubicBezTo>
                    <a:pt x="320" y="175"/>
                    <a:pt x="319" y="174"/>
                    <a:pt x="318" y="174"/>
                  </a:cubicBezTo>
                  <a:cubicBezTo>
                    <a:pt x="318" y="173"/>
                    <a:pt x="317" y="173"/>
                    <a:pt x="317" y="173"/>
                  </a:cubicBezTo>
                  <a:cubicBezTo>
                    <a:pt x="316" y="173"/>
                    <a:pt x="316" y="173"/>
                    <a:pt x="316" y="173"/>
                  </a:cubicBezTo>
                  <a:cubicBezTo>
                    <a:pt x="314" y="173"/>
                    <a:pt x="309" y="175"/>
                    <a:pt x="308" y="177"/>
                  </a:cubicBezTo>
                  <a:cubicBezTo>
                    <a:pt x="307" y="177"/>
                    <a:pt x="307" y="178"/>
                    <a:pt x="307" y="178"/>
                  </a:cubicBezTo>
                  <a:cubicBezTo>
                    <a:pt x="307" y="179"/>
                    <a:pt x="306" y="180"/>
                    <a:pt x="306" y="180"/>
                  </a:cubicBezTo>
                  <a:cubicBezTo>
                    <a:pt x="306" y="180"/>
                    <a:pt x="305" y="179"/>
                    <a:pt x="305" y="178"/>
                  </a:cubicBezTo>
                  <a:cubicBezTo>
                    <a:pt x="305" y="178"/>
                    <a:pt x="305" y="176"/>
                    <a:pt x="306" y="175"/>
                  </a:cubicBezTo>
                  <a:cubicBezTo>
                    <a:pt x="306" y="174"/>
                    <a:pt x="306" y="173"/>
                    <a:pt x="306" y="172"/>
                  </a:cubicBezTo>
                  <a:cubicBezTo>
                    <a:pt x="306" y="171"/>
                    <a:pt x="306" y="170"/>
                    <a:pt x="305" y="170"/>
                  </a:cubicBezTo>
                  <a:cubicBezTo>
                    <a:pt x="304" y="168"/>
                    <a:pt x="304" y="167"/>
                    <a:pt x="304" y="166"/>
                  </a:cubicBezTo>
                  <a:cubicBezTo>
                    <a:pt x="304" y="166"/>
                    <a:pt x="305" y="165"/>
                    <a:pt x="306" y="165"/>
                  </a:cubicBezTo>
                  <a:cubicBezTo>
                    <a:pt x="307" y="164"/>
                    <a:pt x="307" y="164"/>
                    <a:pt x="307" y="164"/>
                  </a:cubicBezTo>
                  <a:cubicBezTo>
                    <a:pt x="307" y="163"/>
                    <a:pt x="307" y="163"/>
                    <a:pt x="307" y="163"/>
                  </a:cubicBezTo>
                  <a:cubicBezTo>
                    <a:pt x="307" y="161"/>
                    <a:pt x="307" y="160"/>
                    <a:pt x="307" y="157"/>
                  </a:cubicBezTo>
                  <a:cubicBezTo>
                    <a:pt x="307" y="155"/>
                    <a:pt x="307" y="152"/>
                    <a:pt x="307" y="150"/>
                  </a:cubicBezTo>
                  <a:cubicBezTo>
                    <a:pt x="308" y="147"/>
                    <a:pt x="306" y="144"/>
                    <a:pt x="305" y="141"/>
                  </a:cubicBezTo>
                  <a:cubicBezTo>
                    <a:pt x="305" y="140"/>
                    <a:pt x="304" y="139"/>
                    <a:pt x="304" y="138"/>
                  </a:cubicBezTo>
                  <a:cubicBezTo>
                    <a:pt x="303" y="135"/>
                    <a:pt x="301" y="132"/>
                    <a:pt x="299" y="130"/>
                  </a:cubicBezTo>
                  <a:cubicBezTo>
                    <a:pt x="296" y="127"/>
                    <a:pt x="293" y="124"/>
                    <a:pt x="293" y="120"/>
                  </a:cubicBezTo>
                  <a:cubicBezTo>
                    <a:pt x="293" y="117"/>
                    <a:pt x="293" y="115"/>
                    <a:pt x="294" y="113"/>
                  </a:cubicBezTo>
                  <a:cubicBezTo>
                    <a:pt x="294" y="111"/>
                    <a:pt x="294" y="110"/>
                    <a:pt x="294" y="108"/>
                  </a:cubicBezTo>
                  <a:cubicBezTo>
                    <a:pt x="294" y="105"/>
                    <a:pt x="294" y="105"/>
                    <a:pt x="294" y="105"/>
                  </a:cubicBezTo>
                  <a:cubicBezTo>
                    <a:pt x="294" y="102"/>
                    <a:pt x="294" y="98"/>
                    <a:pt x="295" y="95"/>
                  </a:cubicBezTo>
                  <a:cubicBezTo>
                    <a:pt x="297" y="88"/>
                    <a:pt x="296" y="83"/>
                    <a:pt x="294" y="78"/>
                  </a:cubicBezTo>
                  <a:cubicBezTo>
                    <a:pt x="294" y="76"/>
                    <a:pt x="293" y="74"/>
                    <a:pt x="293" y="72"/>
                  </a:cubicBezTo>
                  <a:cubicBezTo>
                    <a:pt x="292" y="68"/>
                    <a:pt x="293" y="65"/>
                    <a:pt x="294" y="62"/>
                  </a:cubicBezTo>
                  <a:cubicBezTo>
                    <a:pt x="295" y="58"/>
                    <a:pt x="296" y="55"/>
                    <a:pt x="295" y="51"/>
                  </a:cubicBezTo>
                  <a:cubicBezTo>
                    <a:pt x="294" y="47"/>
                    <a:pt x="289" y="47"/>
                    <a:pt x="285" y="47"/>
                  </a:cubicBezTo>
                  <a:cubicBezTo>
                    <a:pt x="283" y="47"/>
                    <a:pt x="281" y="47"/>
                    <a:pt x="279" y="47"/>
                  </a:cubicBezTo>
                  <a:cubicBezTo>
                    <a:pt x="277" y="47"/>
                    <a:pt x="275" y="48"/>
                    <a:pt x="274" y="48"/>
                  </a:cubicBezTo>
                  <a:cubicBezTo>
                    <a:pt x="271" y="48"/>
                    <a:pt x="268" y="48"/>
                    <a:pt x="265" y="47"/>
                  </a:cubicBezTo>
                  <a:cubicBezTo>
                    <a:pt x="265" y="47"/>
                    <a:pt x="263" y="47"/>
                    <a:pt x="262" y="47"/>
                  </a:cubicBezTo>
                  <a:cubicBezTo>
                    <a:pt x="260" y="47"/>
                    <a:pt x="258" y="48"/>
                    <a:pt x="257" y="48"/>
                  </a:cubicBezTo>
                  <a:cubicBezTo>
                    <a:pt x="257" y="47"/>
                    <a:pt x="257" y="44"/>
                    <a:pt x="258" y="42"/>
                  </a:cubicBezTo>
                  <a:cubicBezTo>
                    <a:pt x="258" y="40"/>
                    <a:pt x="259" y="39"/>
                    <a:pt x="259" y="37"/>
                  </a:cubicBezTo>
                  <a:cubicBezTo>
                    <a:pt x="259" y="35"/>
                    <a:pt x="259" y="35"/>
                    <a:pt x="259" y="35"/>
                  </a:cubicBezTo>
                  <a:cubicBezTo>
                    <a:pt x="257" y="35"/>
                    <a:pt x="257" y="35"/>
                    <a:pt x="257" y="35"/>
                  </a:cubicBezTo>
                  <a:cubicBezTo>
                    <a:pt x="256" y="35"/>
                    <a:pt x="255" y="35"/>
                    <a:pt x="254" y="35"/>
                  </a:cubicBezTo>
                  <a:cubicBezTo>
                    <a:pt x="254" y="35"/>
                    <a:pt x="253" y="35"/>
                    <a:pt x="253" y="34"/>
                  </a:cubicBezTo>
                  <a:cubicBezTo>
                    <a:pt x="251" y="34"/>
                    <a:pt x="251" y="34"/>
                    <a:pt x="251" y="34"/>
                  </a:cubicBezTo>
                  <a:cubicBezTo>
                    <a:pt x="250" y="36"/>
                    <a:pt x="250" y="36"/>
                    <a:pt x="250" y="36"/>
                  </a:cubicBezTo>
                  <a:cubicBezTo>
                    <a:pt x="250" y="37"/>
                    <a:pt x="250" y="37"/>
                    <a:pt x="250" y="37"/>
                  </a:cubicBezTo>
                  <a:cubicBezTo>
                    <a:pt x="249" y="38"/>
                    <a:pt x="247" y="38"/>
                    <a:pt x="246" y="38"/>
                  </a:cubicBezTo>
                  <a:cubicBezTo>
                    <a:pt x="245" y="38"/>
                    <a:pt x="240" y="37"/>
                    <a:pt x="239" y="37"/>
                  </a:cubicBezTo>
                  <a:cubicBezTo>
                    <a:pt x="233" y="37"/>
                    <a:pt x="229" y="38"/>
                    <a:pt x="228" y="39"/>
                  </a:cubicBezTo>
                  <a:cubicBezTo>
                    <a:pt x="227" y="39"/>
                    <a:pt x="227" y="39"/>
                    <a:pt x="227" y="39"/>
                  </a:cubicBezTo>
                  <a:cubicBezTo>
                    <a:pt x="227" y="39"/>
                    <a:pt x="227" y="39"/>
                    <a:pt x="227" y="39"/>
                  </a:cubicBezTo>
                  <a:cubicBezTo>
                    <a:pt x="226" y="40"/>
                    <a:pt x="226" y="42"/>
                    <a:pt x="226" y="48"/>
                  </a:cubicBezTo>
                  <a:cubicBezTo>
                    <a:pt x="226" y="50"/>
                    <a:pt x="226" y="51"/>
                    <a:pt x="226" y="52"/>
                  </a:cubicBezTo>
                  <a:cubicBezTo>
                    <a:pt x="226" y="54"/>
                    <a:pt x="225" y="55"/>
                    <a:pt x="225" y="57"/>
                  </a:cubicBezTo>
                  <a:cubicBezTo>
                    <a:pt x="224" y="58"/>
                    <a:pt x="223" y="59"/>
                    <a:pt x="223" y="60"/>
                  </a:cubicBezTo>
                  <a:cubicBezTo>
                    <a:pt x="222" y="62"/>
                    <a:pt x="222" y="65"/>
                    <a:pt x="223" y="67"/>
                  </a:cubicBezTo>
                  <a:cubicBezTo>
                    <a:pt x="223" y="68"/>
                    <a:pt x="223" y="70"/>
                    <a:pt x="223" y="71"/>
                  </a:cubicBezTo>
                  <a:cubicBezTo>
                    <a:pt x="222" y="71"/>
                    <a:pt x="221" y="71"/>
                    <a:pt x="220" y="71"/>
                  </a:cubicBezTo>
                  <a:cubicBezTo>
                    <a:pt x="220" y="71"/>
                    <a:pt x="220" y="71"/>
                    <a:pt x="220" y="71"/>
                  </a:cubicBezTo>
                  <a:cubicBezTo>
                    <a:pt x="217" y="72"/>
                    <a:pt x="214" y="72"/>
                    <a:pt x="212" y="72"/>
                  </a:cubicBezTo>
                  <a:cubicBezTo>
                    <a:pt x="210" y="72"/>
                    <a:pt x="208" y="72"/>
                    <a:pt x="207" y="71"/>
                  </a:cubicBezTo>
                  <a:cubicBezTo>
                    <a:pt x="207" y="71"/>
                    <a:pt x="207" y="70"/>
                    <a:pt x="206" y="70"/>
                  </a:cubicBezTo>
                  <a:cubicBezTo>
                    <a:pt x="206" y="70"/>
                    <a:pt x="206" y="69"/>
                    <a:pt x="206" y="69"/>
                  </a:cubicBezTo>
                  <a:cubicBezTo>
                    <a:pt x="205" y="68"/>
                    <a:pt x="205" y="68"/>
                    <a:pt x="205" y="68"/>
                  </a:cubicBezTo>
                  <a:cubicBezTo>
                    <a:pt x="205" y="68"/>
                    <a:pt x="205" y="68"/>
                    <a:pt x="205" y="68"/>
                  </a:cubicBezTo>
                  <a:cubicBezTo>
                    <a:pt x="204" y="68"/>
                    <a:pt x="204" y="68"/>
                    <a:pt x="204" y="68"/>
                  </a:cubicBezTo>
                  <a:cubicBezTo>
                    <a:pt x="202" y="68"/>
                    <a:pt x="201" y="69"/>
                    <a:pt x="199" y="70"/>
                  </a:cubicBezTo>
                  <a:cubicBezTo>
                    <a:pt x="199" y="70"/>
                    <a:pt x="198" y="71"/>
                    <a:pt x="198" y="71"/>
                  </a:cubicBezTo>
                  <a:cubicBezTo>
                    <a:pt x="198" y="71"/>
                    <a:pt x="198" y="71"/>
                    <a:pt x="197" y="71"/>
                  </a:cubicBezTo>
                  <a:cubicBezTo>
                    <a:pt x="197" y="71"/>
                    <a:pt x="196" y="71"/>
                    <a:pt x="196" y="71"/>
                  </a:cubicBezTo>
                  <a:cubicBezTo>
                    <a:pt x="195" y="71"/>
                    <a:pt x="194" y="71"/>
                    <a:pt x="194" y="71"/>
                  </a:cubicBezTo>
                  <a:cubicBezTo>
                    <a:pt x="193" y="71"/>
                    <a:pt x="192" y="71"/>
                    <a:pt x="191" y="71"/>
                  </a:cubicBezTo>
                  <a:cubicBezTo>
                    <a:pt x="191" y="71"/>
                    <a:pt x="190" y="71"/>
                    <a:pt x="190" y="71"/>
                  </a:cubicBezTo>
                  <a:cubicBezTo>
                    <a:pt x="188" y="71"/>
                    <a:pt x="188" y="72"/>
                    <a:pt x="187" y="73"/>
                  </a:cubicBezTo>
                  <a:cubicBezTo>
                    <a:pt x="187" y="73"/>
                    <a:pt x="186" y="73"/>
                    <a:pt x="186" y="74"/>
                  </a:cubicBezTo>
                  <a:cubicBezTo>
                    <a:pt x="185" y="74"/>
                    <a:pt x="185" y="74"/>
                    <a:pt x="185" y="74"/>
                  </a:cubicBezTo>
                  <a:cubicBezTo>
                    <a:pt x="185" y="74"/>
                    <a:pt x="184" y="74"/>
                    <a:pt x="184" y="74"/>
                  </a:cubicBezTo>
                  <a:cubicBezTo>
                    <a:pt x="184" y="73"/>
                    <a:pt x="183" y="73"/>
                    <a:pt x="182" y="73"/>
                  </a:cubicBezTo>
                  <a:cubicBezTo>
                    <a:pt x="182" y="72"/>
                    <a:pt x="181" y="72"/>
                    <a:pt x="180" y="72"/>
                  </a:cubicBezTo>
                  <a:cubicBezTo>
                    <a:pt x="179" y="72"/>
                    <a:pt x="178" y="72"/>
                    <a:pt x="177" y="73"/>
                  </a:cubicBezTo>
                  <a:cubicBezTo>
                    <a:pt x="176" y="73"/>
                    <a:pt x="175" y="73"/>
                    <a:pt x="174" y="73"/>
                  </a:cubicBezTo>
                  <a:cubicBezTo>
                    <a:pt x="174" y="73"/>
                    <a:pt x="172" y="73"/>
                    <a:pt x="171" y="71"/>
                  </a:cubicBezTo>
                  <a:cubicBezTo>
                    <a:pt x="169" y="69"/>
                    <a:pt x="167" y="67"/>
                    <a:pt x="166" y="64"/>
                  </a:cubicBezTo>
                  <a:cubicBezTo>
                    <a:pt x="165" y="62"/>
                    <a:pt x="164" y="61"/>
                    <a:pt x="163" y="59"/>
                  </a:cubicBezTo>
                  <a:cubicBezTo>
                    <a:pt x="163" y="59"/>
                    <a:pt x="162" y="58"/>
                    <a:pt x="161" y="57"/>
                  </a:cubicBezTo>
                  <a:cubicBezTo>
                    <a:pt x="160" y="55"/>
                    <a:pt x="159" y="54"/>
                    <a:pt x="158" y="52"/>
                  </a:cubicBezTo>
                  <a:cubicBezTo>
                    <a:pt x="158" y="52"/>
                    <a:pt x="157" y="51"/>
                    <a:pt x="156" y="50"/>
                  </a:cubicBezTo>
                  <a:cubicBezTo>
                    <a:pt x="155" y="49"/>
                    <a:pt x="154" y="48"/>
                    <a:pt x="153" y="47"/>
                  </a:cubicBezTo>
                  <a:cubicBezTo>
                    <a:pt x="153" y="45"/>
                    <a:pt x="153" y="44"/>
                    <a:pt x="153" y="43"/>
                  </a:cubicBezTo>
                  <a:cubicBezTo>
                    <a:pt x="153" y="42"/>
                    <a:pt x="153" y="41"/>
                    <a:pt x="153" y="40"/>
                  </a:cubicBezTo>
                  <a:cubicBezTo>
                    <a:pt x="152" y="37"/>
                    <a:pt x="151" y="34"/>
                    <a:pt x="149" y="30"/>
                  </a:cubicBezTo>
                  <a:cubicBezTo>
                    <a:pt x="149" y="30"/>
                    <a:pt x="148" y="29"/>
                    <a:pt x="148" y="28"/>
                  </a:cubicBezTo>
                  <a:cubicBezTo>
                    <a:pt x="148" y="27"/>
                    <a:pt x="147" y="27"/>
                    <a:pt x="147" y="26"/>
                  </a:cubicBezTo>
                  <a:cubicBezTo>
                    <a:pt x="147" y="26"/>
                    <a:pt x="146" y="25"/>
                    <a:pt x="146" y="24"/>
                  </a:cubicBezTo>
                  <a:cubicBezTo>
                    <a:pt x="146" y="23"/>
                    <a:pt x="146" y="22"/>
                    <a:pt x="146" y="21"/>
                  </a:cubicBezTo>
                  <a:cubicBezTo>
                    <a:pt x="146" y="20"/>
                    <a:pt x="146" y="20"/>
                    <a:pt x="146" y="19"/>
                  </a:cubicBezTo>
                  <a:cubicBezTo>
                    <a:pt x="146" y="17"/>
                    <a:pt x="146" y="15"/>
                    <a:pt x="145" y="13"/>
                  </a:cubicBezTo>
                  <a:cubicBezTo>
                    <a:pt x="145" y="12"/>
                    <a:pt x="145" y="11"/>
                    <a:pt x="145" y="10"/>
                  </a:cubicBezTo>
                  <a:cubicBezTo>
                    <a:pt x="145" y="9"/>
                    <a:pt x="145" y="9"/>
                    <a:pt x="145" y="9"/>
                  </a:cubicBezTo>
                  <a:cubicBezTo>
                    <a:pt x="144" y="8"/>
                    <a:pt x="144" y="8"/>
                    <a:pt x="144" y="8"/>
                  </a:cubicBezTo>
                  <a:cubicBezTo>
                    <a:pt x="143" y="8"/>
                    <a:pt x="143" y="8"/>
                    <a:pt x="143" y="8"/>
                  </a:cubicBezTo>
                  <a:cubicBezTo>
                    <a:pt x="143" y="8"/>
                    <a:pt x="143" y="8"/>
                    <a:pt x="143" y="8"/>
                  </a:cubicBezTo>
                  <a:cubicBezTo>
                    <a:pt x="143" y="4"/>
                    <a:pt x="142" y="0"/>
                    <a:pt x="138" y="0"/>
                  </a:cubicBezTo>
                  <a:cubicBezTo>
                    <a:pt x="137" y="0"/>
                    <a:pt x="137" y="0"/>
                    <a:pt x="136" y="1"/>
                  </a:cubicBezTo>
                  <a:cubicBezTo>
                    <a:pt x="136" y="1"/>
                    <a:pt x="135" y="1"/>
                    <a:pt x="135" y="1"/>
                  </a:cubicBezTo>
                  <a:cubicBezTo>
                    <a:pt x="133" y="1"/>
                    <a:pt x="132" y="0"/>
                    <a:pt x="130" y="0"/>
                  </a:cubicBezTo>
                  <a:cubicBezTo>
                    <a:pt x="129" y="0"/>
                    <a:pt x="128" y="0"/>
                    <a:pt x="127" y="0"/>
                  </a:cubicBezTo>
                  <a:cubicBezTo>
                    <a:pt x="122" y="0"/>
                    <a:pt x="116" y="0"/>
                    <a:pt x="111" y="0"/>
                  </a:cubicBezTo>
                  <a:cubicBezTo>
                    <a:pt x="102" y="0"/>
                    <a:pt x="94" y="0"/>
                    <a:pt x="86" y="0"/>
                  </a:cubicBezTo>
                  <a:cubicBezTo>
                    <a:pt x="76" y="0"/>
                    <a:pt x="76" y="0"/>
                    <a:pt x="76" y="0"/>
                  </a:cubicBezTo>
                  <a:cubicBezTo>
                    <a:pt x="73" y="0"/>
                    <a:pt x="70" y="0"/>
                    <a:pt x="67" y="0"/>
                  </a:cubicBezTo>
                  <a:cubicBezTo>
                    <a:pt x="44" y="0"/>
                    <a:pt x="44" y="0"/>
                    <a:pt x="44" y="0"/>
                  </a:cubicBezTo>
                  <a:cubicBezTo>
                    <a:pt x="42" y="0"/>
                    <a:pt x="38" y="1"/>
                    <a:pt x="36" y="2"/>
                  </a:cubicBezTo>
                  <a:cubicBezTo>
                    <a:pt x="35" y="2"/>
                    <a:pt x="34" y="3"/>
                    <a:pt x="34" y="3"/>
                  </a:cubicBezTo>
                  <a:cubicBezTo>
                    <a:pt x="33" y="4"/>
                    <a:pt x="32" y="5"/>
                    <a:pt x="30" y="5"/>
                  </a:cubicBezTo>
                  <a:cubicBezTo>
                    <a:pt x="29" y="5"/>
                    <a:pt x="29" y="5"/>
                    <a:pt x="29" y="5"/>
                  </a:cubicBezTo>
                  <a:cubicBezTo>
                    <a:pt x="29" y="5"/>
                    <a:pt x="28" y="5"/>
                    <a:pt x="28" y="5"/>
                  </a:cubicBezTo>
                  <a:cubicBezTo>
                    <a:pt x="27" y="4"/>
                    <a:pt x="27" y="4"/>
                    <a:pt x="27" y="4"/>
                  </a:cubicBezTo>
                  <a:cubicBezTo>
                    <a:pt x="27" y="4"/>
                    <a:pt x="27" y="4"/>
                    <a:pt x="27" y="4"/>
                  </a:cubicBezTo>
                  <a:cubicBezTo>
                    <a:pt x="27" y="4"/>
                    <a:pt x="26" y="5"/>
                    <a:pt x="26" y="5"/>
                  </a:cubicBezTo>
                  <a:cubicBezTo>
                    <a:pt x="25" y="5"/>
                    <a:pt x="25" y="5"/>
                    <a:pt x="24" y="6"/>
                  </a:cubicBezTo>
                  <a:cubicBezTo>
                    <a:pt x="24" y="6"/>
                    <a:pt x="24" y="6"/>
                    <a:pt x="23" y="6"/>
                  </a:cubicBezTo>
                  <a:cubicBezTo>
                    <a:pt x="22" y="7"/>
                    <a:pt x="22" y="7"/>
                    <a:pt x="21" y="7"/>
                  </a:cubicBezTo>
                  <a:cubicBezTo>
                    <a:pt x="20" y="7"/>
                    <a:pt x="19" y="6"/>
                    <a:pt x="18" y="6"/>
                  </a:cubicBezTo>
                  <a:cubicBezTo>
                    <a:pt x="16" y="5"/>
                    <a:pt x="16" y="5"/>
                    <a:pt x="16" y="5"/>
                  </a:cubicBezTo>
                  <a:cubicBezTo>
                    <a:pt x="15" y="7"/>
                    <a:pt x="15" y="7"/>
                    <a:pt x="15" y="7"/>
                  </a:cubicBezTo>
                  <a:cubicBezTo>
                    <a:pt x="15" y="8"/>
                    <a:pt x="15" y="8"/>
                    <a:pt x="15" y="9"/>
                  </a:cubicBezTo>
                  <a:cubicBezTo>
                    <a:pt x="16" y="11"/>
                    <a:pt x="16" y="12"/>
                    <a:pt x="17" y="14"/>
                  </a:cubicBezTo>
                  <a:cubicBezTo>
                    <a:pt x="18" y="15"/>
                    <a:pt x="18" y="15"/>
                    <a:pt x="18" y="15"/>
                  </a:cubicBezTo>
                  <a:cubicBezTo>
                    <a:pt x="20" y="18"/>
                    <a:pt x="22" y="22"/>
                    <a:pt x="23" y="25"/>
                  </a:cubicBezTo>
                  <a:cubicBezTo>
                    <a:pt x="25" y="29"/>
                    <a:pt x="27" y="32"/>
                    <a:pt x="30" y="35"/>
                  </a:cubicBezTo>
                  <a:cubicBezTo>
                    <a:pt x="31" y="36"/>
                    <a:pt x="31" y="36"/>
                    <a:pt x="31" y="38"/>
                  </a:cubicBezTo>
                  <a:cubicBezTo>
                    <a:pt x="31" y="38"/>
                    <a:pt x="31" y="39"/>
                    <a:pt x="31" y="40"/>
                  </a:cubicBezTo>
                  <a:cubicBezTo>
                    <a:pt x="31" y="41"/>
                    <a:pt x="31" y="42"/>
                    <a:pt x="31" y="43"/>
                  </a:cubicBezTo>
                  <a:cubicBezTo>
                    <a:pt x="31" y="45"/>
                    <a:pt x="32" y="47"/>
                    <a:pt x="33" y="49"/>
                  </a:cubicBezTo>
                  <a:cubicBezTo>
                    <a:pt x="34" y="51"/>
                    <a:pt x="34" y="52"/>
                    <a:pt x="35" y="54"/>
                  </a:cubicBezTo>
                  <a:cubicBezTo>
                    <a:pt x="35" y="57"/>
                    <a:pt x="37" y="60"/>
                    <a:pt x="38" y="63"/>
                  </a:cubicBezTo>
                  <a:cubicBezTo>
                    <a:pt x="39" y="65"/>
                    <a:pt x="39" y="66"/>
                    <a:pt x="40" y="68"/>
                  </a:cubicBezTo>
                  <a:cubicBezTo>
                    <a:pt x="40" y="69"/>
                    <a:pt x="41" y="70"/>
                    <a:pt x="41" y="71"/>
                  </a:cubicBezTo>
                  <a:cubicBezTo>
                    <a:pt x="42" y="73"/>
                    <a:pt x="43" y="74"/>
                    <a:pt x="43" y="75"/>
                  </a:cubicBezTo>
                  <a:cubicBezTo>
                    <a:pt x="44" y="76"/>
                    <a:pt x="44" y="76"/>
                    <a:pt x="45" y="77"/>
                  </a:cubicBezTo>
                  <a:cubicBezTo>
                    <a:pt x="45" y="79"/>
                    <a:pt x="46" y="80"/>
                    <a:pt x="46" y="82"/>
                  </a:cubicBezTo>
                  <a:cubicBezTo>
                    <a:pt x="46" y="83"/>
                    <a:pt x="46" y="83"/>
                    <a:pt x="46" y="83"/>
                  </a:cubicBezTo>
                  <a:cubicBezTo>
                    <a:pt x="47" y="83"/>
                    <a:pt x="47" y="84"/>
                    <a:pt x="46" y="85"/>
                  </a:cubicBezTo>
                  <a:cubicBezTo>
                    <a:pt x="46" y="86"/>
                    <a:pt x="46" y="87"/>
                    <a:pt x="46" y="88"/>
                  </a:cubicBezTo>
                  <a:cubicBezTo>
                    <a:pt x="47" y="89"/>
                    <a:pt x="47" y="90"/>
                    <a:pt x="48" y="90"/>
                  </a:cubicBezTo>
                  <a:cubicBezTo>
                    <a:pt x="48" y="91"/>
                    <a:pt x="48" y="91"/>
                    <a:pt x="48" y="91"/>
                  </a:cubicBezTo>
                  <a:cubicBezTo>
                    <a:pt x="48" y="92"/>
                    <a:pt x="48" y="94"/>
                    <a:pt x="47" y="94"/>
                  </a:cubicBezTo>
                  <a:cubicBezTo>
                    <a:pt x="46" y="96"/>
                    <a:pt x="44" y="97"/>
                    <a:pt x="42" y="98"/>
                  </a:cubicBezTo>
                  <a:cubicBezTo>
                    <a:pt x="42" y="99"/>
                    <a:pt x="41" y="99"/>
                    <a:pt x="40" y="100"/>
                  </a:cubicBezTo>
                  <a:cubicBezTo>
                    <a:pt x="37" y="102"/>
                    <a:pt x="36" y="106"/>
                    <a:pt x="37" y="110"/>
                  </a:cubicBezTo>
                  <a:cubicBezTo>
                    <a:pt x="38" y="111"/>
                    <a:pt x="38" y="111"/>
                    <a:pt x="38" y="112"/>
                  </a:cubicBezTo>
                  <a:cubicBezTo>
                    <a:pt x="39" y="113"/>
                    <a:pt x="39" y="113"/>
                    <a:pt x="39" y="114"/>
                  </a:cubicBezTo>
                  <a:cubicBezTo>
                    <a:pt x="40" y="114"/>
                    <a:pt x="40" y="115"/>
                    <a:pt x="40" y="115"/>
                  </a:cubicBezTo>
                  <a:cubicBezTo>
                    <a:pt x="40" y="116"/>
                    <a:pt x="40" y="117"/>
                    <a:pt x="41" y="119"/>
                  </a:cubicBezTo>
                  <a:cubicBezTo>
                    <a:pt x="42" y="120"/>
                    <a:pt x="42" y="121"/>
                    <a:pt x="42" y="122"/>
                  </a:cubicBezTo>
                  <a:cubicBezTo>
                    <a:pt x="42" y="123"/>
                    <a:pt x="42" y="123"/>
                    <a:pt x="42" y="124"/>
                  </a:cubicBezTo>
                  <a:cubicBezTo>
                    <a:pt x="42" y="125"/>
                    <a:pt x="42" y="127"/>
                    <a:pt x="43" y="129"/>
                  </a:cubicBezTo>
                  <a:cubicBezTo>
                    <a:pt x="43" y="130"/>
                    <a:pt x="44" y="130"/>
                    <a:pt x="44" y="131"/>
                  </a:cubicBezTo>
                  <a:cubicBezTo>
                    <a:pt x="45" y="131"/>
                    <a:pt x="45" y="132"/>
                    <a:pt x="45" y="132"/>
                  </a:cubicBezTo>
                  <a:cubicBezTo>
                    <a:pt x="46" y="133"/>
                    <a:pt x="46" y="134"/>
                    <a:pt x="46" y="134"/>
                  </a:cubicBezTo>
                  <a:cubicBezTo>
                    <a:pt x="46" y="135"/>
                    <a:pt x="46" y="136"/>
                    <a:pt x="46" y="137"/>
                  </a:cubicBezTo>
                  <a:cubicBezTo>
                    <a:pt x="47" y="138"/>
                    <a:pt x="48" y="140"/>
                    <a:pt x="48" y="141"/>
                  </a:cubicBezTo>
                  <a:cubicBezTo>
                    <a:pt x="49" y="143"/>
                    <a:pt x="49" y="144"/>
                    <a:pt x="50" y="145"/>
                  </a:cubicBezTo>
                  <a:cubicBezTo>
                    <a:pt x="50" y="145"/>
                    <a:pt x="50" y="146"/>
                    <a:pt x="50" y="146"/>
                  </a:cubicBezTo>
                  <a:cubicBezTo>
                    <a:pt x="50" y="147"/>
                    <a:pt x="50" y="148"/>
                    <a:pt x="51" y="149"/>
                  </a:cubicBezTo>
                  <a:cubicBezTo>
                    <a:pt x="52" y="151"/>
                    <a:pt x="53" y="152"/>
                    <a:pt x="54" y="153"/>
                  </a:cubicBezTo>
                  <a:cubicBezTo>
                    <a:pt x="55" y="154"/>
                    <a:pt x="56" y="155"/>
                    <a:pt x="56" y="156"/>
                  </a:cubicBezTo>
                  <a:cubicBezTo>
                    <a:pt x="57" y="157"/>
                    <a:pt x="57" y="158"/>
                    <a:pt x="57" y="160"/>
                  </a:cubicBezTo>
                  <a:cubicBezTo>
                    <a:pt x="57" y="161"/>
                    <a:pt x="57" y="162"/>
                    <a:pt x="57" y="163"/>
                  </a:cubicBezTo>
                  <a:cubicBezTo>
                    <a:pt x="58" y="165"/>
                    <a:pt x="59" y="166"/>
                    <a:pt x="60" y="166"/>
                  </a:cubicBezTo>
                  <a:cubicBezTo>
                    <a:pt x="60" y="167"/>
                    <a:pt x="60" y="167"/>
                    <a:pt x="60" y="167"/>
                  </a:cubicBezTo>
                  <a:cubicBezTo>
                    <a:pt x="61" y="169"/>
                    <a:pt x="60" y="171"/>
                    <a:pt x="60" y="174"/>
                  </a:cubicBezTo>
                  <a:cubicBezTo>
                    <a:pt x="59" y="175"/>
                    <a:pt x="59" y="177"/>
                    <a:pt x="59" y="179"/>
                  </a:cubicBezTo>
                  <a:cubicBezTo>
                    <a:pt x="59" y="180"/>
                    <a:pt x="59" y="180"/>
                    <a:pt x="59" y="180"/>
                  </a:cubicBezTo>
                  <a:cubicBezTo>
                    <a:pt x="59" y="185"/>
                    <a:pt x="59" y="189"/>
                    <a:pt x="58" y="194"/>
                  </a:cubicBezTo>
                  <a:cubicBezTo>
                    <a:pt x="58" y="198"/>
                    <a:pt x="57" y="201"/>
                    <a:pt x="56" y="206"/>
                  </a:cubicBezTo>
                  <a:cubicBezTo>
                    <a:pt x="55" y="208"/>
                    <a:pt x="55" y="208"/>
                    <a:pt x="55" y="208"/>
                  </a:cubicBezTo>
                  <a:cubicBezTo>
                    <a:pt x="54" y="212"/>
                    <a:pt x="50" y="216"/>
                    <a:pt x="47" y="219"/>
                  </a:cubicBezTo>
                  <a:cubicBezTo>
                    <a:pt x="45" y="220"/>
                    <a:pt x="44" y="221"/>
                    <a:pt x="42" y="222"/>
                  </a:cubicBezTo>
                  <a:cubicBezTo>
                    <a:pt x="42" y="222"/>
                    <a:pt x="41" y="223"/>
                    <a:pt x="41" y="223"/>
                  </a:cubicBezTo>
                  <a:cubicBezTo>
                    <a:pt x="40" y="223"/>
                    <a:pt x="38" y="224"/>
                    <a:pt x="37" y="225"/>
                  </a:cubicBezTo>
                  <a:cubicBezTo>
                    <a:pt x="35" y="228"/>
                    <a:pt x="35" y="230"/>
                    <a:pt x="35" y="233"/>
                  </a:cubicBezTo>
                  <a:cubicBezTo>
                    <a:pt x="35" y="234"/>
                    <a:pt x="35" y="234"/>
                    <a:pt x="35" y="234"/>
                  </a:cubicBezTo>
                  <a:cubicBezTo>
                    <a:pt x="35" y="235"/>
                    <a:pt x="35" y="235"/>
                    <a:pt x="34" y="235"/>
                  </a:cubicBezTo>
                  <a:cubicBezTo>
                    <a:pt x="33" y="236"/>
                    <a:pt x="33" y="236"/>
                    <a:pt x="32" y="237"/>
                  </a:cubicBezTo>
                  <a:cubicBezTo>
                    <a:pt x="31" y="238"/>
                    <a:pt x="30" y="240"/>
                    <a:pt x="29" y="241"/>
                  </a:cubicBezTo>
                  <a:cubicBezTo>
                    <a:pt x="28" y="242"/>
                    <a:pt x="27" y="243"/>
                    <a:pt x="26" y="244"/>
                  </a:cubicBezTo>
                  <a:cubicBezTo>
                    <a:pt x="24" y="247"/>
                    <a:pt x="22" y="250"/>
                    <a:pt x="22" y="253"/>
                  </a:cubicBezTo>
                  <a:cubicBezTo>
                    <a:pt x="22" y="255"/>
                    <a:pt x="22" y="256"/>
                    <a:pt x="22" y="257"/>
                  </a:cubicBezTo>
                  <a:cubicBezTo>
                    <a:pt x="22" y="259"/>
                    <a:pt x="22" y="261"/>
                    <a:pt x="21" y="263"/>
                  </a:cubicBezTo>
                  <a:cubicBezTo>
                    <a:pt x="21" y="263"/>
                    <a:pt x="21" y="264"/>
                    <a:pt x="20" y="264"/>
                  </a:cubicBezTo>
                  <a:cubicBezTo>
                    <a:pt x="20" y="265"/>
                    <a:pt x="20" y="265"/>
                    <a:pt x="20" y="265"/>
                  </a:cubicBezTo>
                  <a:cubicBezTo>
                    <a:pt x="19" y="267"/>
                    <a:pt x="18" y="268"/>
                    <a:pt x="18" y="269"/>
                  </a:cubicBezTo>
                  <a:cubicBezTo>
                    <a:pt x="17" y="271"/>
                    <a:pt x="17" y="273"/>
                    <a:pt x="17" y="275"/>
                  </a:cubicBezTo>
                  <a:cubicBezTo>
                    <a:pt x="17" y="276"/>
                    <a:pt x="17" y="277"/>
                    <a:pt x="17" y="278"/>
                  </a:cubicBezTo>
                  <a:cubicBezTo>
                    <a:pt x="17" y="279"/>
                    <a:pt x="17" y="280"/>
                    <a:pt x="17" y="280"/>
                  </a:cubicBezTo>
                  <a:cubicBezTo>
                    <a:pt x="16" y="282"/>
                    <a:pt x="16" y="284"/>
                    <a:pt x="16" y="286"/>
                  </a:cubicBezTo>
                  <a:cubicBezTo>
                    <a:pt x="16" y="290"/>
                    <a:pt x="15" y="295"/>
                    <a:pt x="13" y="299"/>
                  </a:cubicBezTo>
                  <a:cubicBezTo>
                    <a:pt x="11" y="303"/>
                    <a:pt x="9" y="308"/>
                    <a:pt x="9" y="314"/>
                  </a:cubicBezTo>
                  <a:cubicBezTo>
                    <a:pt x="9" y="315"/>
                    <a:pt x="9" y="315"/>
                    <a:pt x="9" y="316"/>
                  </a:cubicBezTo>
                  <a:cubicBezTo>
                    <a:pt x="9" y="317"/>
                    <a:pt x="9" y="318"/>
                    <a:pt x="8" y="320"/>
                  </a:cubicBezTo>
                  <a:cubicBezTo>
                    <a:pt x="7" y="320"/>
                    <a:pt x="6" y="321"/>
                    <a:pt x="5" y="322"/>
                  </a:cubicBezTo>
                  <a:cubicBezTo>
                    <a:pt x="4" y="323"/>
                    <a:pt x="3" y="325"/>
                    <a:pt x="2" y="327"/>
                  </a:cubicBezTo>
                  <a:cubicBezTo>
                    <a:pt x="0" y="330"/>
                    <a:pt x="1" y="333"/>
                    <a:pt x="1" y="335"/>
                  </a:cubicBezTo>
                  <a:cubicBezTo>
                    <a:pt x="1" y="336"/>
                    <a:pt x="2" y="337"/>
                    <a:pt x="2" y="337"/>
                  </a:cubicBezTo>
                  <a:cubicBezTo>
                    <a:pt x="2" y="342"/>
                    <a:pt x="3" y="346"/>
                    <a:pt x="3" y="350"/>
                  </a:cubicBezTo>
                  <a:cubicBezTo>
                    <a:pt x="3" y="353"/>
                    <a:pt x="3" y="356"/>
                    <a:pt x="2" y="358"/>
                  </a:cubicBezTo>
                  <a:cubicBezTo>
                    <a:pt x="1" y="364"/>
                    <a:pt x="0" y="368"/>
                    <a:pt x="0" y="373"/>
                  </a:cubicBezTo>
                  <a:cubicBezTo>
                    <a:pt x="0" y="378"/>
                    <a:pt x="0" y="378"/>
                    <a:pt x="0" y="378"/>
                  </a:cubicBezTo>
                  <a:cubicBezTo>
                    <a:pt x="3" y="376"/>
                    <a:pt x="3" y="376"/>
                    <a:pt x="3" y="376"/>
                  </a:cubicBezTo>
                  <a:cubicBezTo>
                    <a:pt x="7" y="374"/>
                    <a:pt x="10" y="372"/>
                    <a:pt x="13" y="372"/>
                  </a:cubicBezTo>
                  <a:cubicBezTo>
                    <a:pt x="14" y="372"/>
                    <a:pt x="14" y="372"/>
                    <a:pt x="15" y="372"/>
                  </a:cubicBezTo>
                  <a:cubicBezTo>
                    <a:pt x="16" y="372"/>
                    <a:pt x="17" y="373"/>
                    <a:pt x="18" y="374"/>
                  </a:cubicBezTo>
                  <a:cubicBezTo>
                    <a:pt x="19" y="375"/>
                    <a:pt x="20" y="375"/>
                    <a:pt x="22" y="376"/>
                  </a:cubicBezTo>
                  <a:cubicBezTo>
                    <a:pt x="22" y="376"/>
                    <a:pt x="22" y="376"/>
                    <a:pt x="23" y="376"/>
                  </a:cubicBezTo>
                  <a:cubicBezTo>
                    <a:pt x="25" y="376"/>
                    <a:pt x="29" y="375"/>
                    <a:pt x="31" y="374"/>
                  </a:cubicBezTo>
                  <a:cubicBezTo>
                    <a:pt x="32" y="373"/>
                    <a:pt x="33" y="372"/>
                    <a:pt x="34" y="371"/>
                  </a:cubicBezTo>
                  <a:cubicBezTo>
                    <a:pt x="35" y="369"/>
                    <a:pt x="36" y="368"/>
                    <a:pt x="37" y="368"/>
                  </a:cubicBezTo>
                  <a:cubicBezTo>
                    <a:pt x="38" y="367"/>
                    <a:pt x="44" y="366"/>
                    <a:pt x="46" y="366"/>
                  </a:cubicBezTo>
                  <a:cubicBezTo>
                    <a:pt x="46" y="366"/>
                    <a:pt x="46" y="366"/>
                    <a:pt x="46" y="366"/>
                  </a:cubicBezTo>
                  <a:cubicBezTo>
                    <a:pt x="50" y="366"/>
                    <a:pt x="53" y="369"/>
                    <a:pt x="55" y="372"/>
                  </a:cubicBezTo>
                  <a:cubicBezTo>
                    <a:pt x="56" y="374"/>
                    <a:pt x="57" y="375"/>
                    <a:pt x="58" y="376"/>
                  </a:cubicBezTo>
                  <a:cubicBezTo>
                    <a:pt x="60" y="377"/>
                    <a:pt x="63" y="379"/>
                    <a:pt x="65" y="380"/>
                  </a:cubicBezTo>
                  <a:cubicBezTo>
                    <a:pt x="68" y="381"/>
                    <a:pt x="71" y="382"/>
                    <a:pt x="76" y="382"/>
                  </a:cubicBezTo>
                  <a:cubicBezTo>
                    <a:pt x="80" y="382"/>
                    <a:pt x="83" y="381"/>
                    <a:pt x="86" y="381"/>
                  </a:cubicBezTo>
                  <a:cubicBezTo>
                    <a:pt x="88" y="381"/>
                    <a:pt x="90" y="381"/>
                    <a:pt x="92" y="381"/>
                  </a:cubicBezTo>
                  <a:cubicBezTo>
                    <a:pt x="195" y="381"/>
                    <a:pt x="195" y="381"/>
                    <a:pt x="195" y="381"/>
                  </a:cubicBezTo>
                  <a:cubicBezTo>
                    <a:pt x="198" y="385"/>
                    <a:pt x="200" y="390"/>
                    <a:pt x="204" y="393"/>
                  </a:cubicBezTo>
                  <a:cubicBezTo>
                    <a:pt x="206" y="395"/>
                    <a:pt x="210" y="396"/>
                    <a:pt x="212" y="396"/>
                  </a:cubicBezTo>
                  <a:cubicBezTo>
                    <a:pt x="213" y="396"/>
                    <a:pt x="214" y="396"/>
                    <a:pt x="215" y="395"/>
                  </a:cubicBezTo>
                  <a:cubicBezTo>
                    <a:pt x="216" y="395"/>
                    <a:pt x="217" y="395"/>
                    <a:pt x="218" y="395"/>
                  </a:cubicBezTo>
                  <a:cubicBezTo>
                    <a:pt x="223" y="395"/>
                    <a:pt x="227" y="396"/>
                    <a:pt x="231" y="397"/>
                  </a:cubicBezTo>
                  <a:cubicBezTo>
                    <a:pt x="232" y="397"/>
                    <a:pt x="233" y="397"/>
                    <a:pt x="234" y="397"/>
                  </a:cubicBezTo>
                  <a:cubicBezTo>
                    <a:pt x="237" y="397"/>
                    <a:pt x="239" y="396"/>
                    <a:pt x="242" y="396"/>
                  </a:cubicBezTo>
                  <a:cubicBezTo>
                    <a:pt x="243" y="395"/>
                    <a:pt x="245" y="395"/>
                    <a:pt x="247" y="395"/>
                  </a:cubicBezTo>
                  <a:cubicBezTo>
                    <a:pt x="248" y="395"/>
                    <a:pt x="248" y="395"/>
                    <a:pt x="248" y="395"/>
                  </a:cubicBezTo>
                  <a:cubicBezTo>
                    <a:pt x="251" y="395"/>
                    <a:pt x="254" y="396"/>
                    <a:pt x="256" y="397"/>
                  </a:cubicBezTo>
                  <a:cubicBezTo>
                    <a:pt x="258" y="397"/>
                    <a:pt x="260" y="398"/>
                    <a:pt x="262" y="398"/>
                  </a:cubicBezTo>
                  <a:cubicBezTo>
                    <a:pt x="263" y="399"/>
                    <a:pt x="264" y="399"/>
                    <a:pt x="264" y="399"/>
                  </a:cubicBezTo>
                  <a:cubicBezTo>
                    <a:pt x="266" y="399"/>
                    <a:pt x="268" y="398"/>
                    <a:pt x="269" y="398"/>
                  </a:cubicBezTo>
                  <a:cubicBezTo>
                    <a:pt x="270" y="398"/>
                    <a:pt x="272" y="398"/>
                    <a:pt x="273" y="398"/>
                  </a:cubicBezTo>
                  <a:cubicBezTo>
                    <a:pt x="274" y="398"/>
                    <a:pt x="275" y="398"/>
                    <a:pt x="276" y="398"/>
                  </a:cubicBezTo>
                  <a:cubicBezTo>
                    <a:pt x="278" y="398"/>
                    <a:pt x="278" y="398"/>
                    <a:pt x="278" y="398"/>
                  </a:cubicBezTo>
                  <a:cubicBezTo>
                    <a:pt x="280" y="399"/>
                    <a:pt x="281" y="399"/>
                    <a:pt x="283" y="399"/>
                  </a:cubicBezTo>
                  <a:cubicBezTo>
                    <a:pt x="285" y="399"/>
                    <a:pt x="286" y="399"/>
                    <a:pt x="288" y="398"/>
                  </a:cubicBezTo>
                  <a:cubicBezTo>
                    <a:pt x="292" y="397"/>
                    <a:pt x="296" y="395"/>
                    <a:pt x="300" y="395"/>
                  </a:cubicBezTo>
                  <a:cubicBezTo>
                    <a:pt x="304" y="394"/>
                    <a:pt x="304" y="394"/>
                    <a:pt x="304" y="394"/>
                  </a:cubicBezTo>
                  <a:cubicBezTo>
                    <a:pt x="312" y="394"/>
                    <a:pt x="319" y="393"/>
                    <a:pt x="326" y="390"/>
                  </a:cubicBezTo>
                  <a:cubicBezTo>
                    <a:pt x="328" y="390"/>
                    <a:pt x="330" y="389"/>
                    <a:pt x="332" y="389"/>
                  </a:cubicBezTo>
                  <a:cubicBezTo>
                    <a:pt x="335" y="388"/>
                    <a:pt x="335" y="388"/>
                    <a:pt x="335" y="388"/>
                  </a:cubicBezTo>
                  <a:cubicBezTo>
                    <a:pt x="302" y="351"/>
                    <a:pt x="302" y="351"/>
                    <a:pt x="302" y="351"/>
                  </a:cubicBezTo>
                  <a:cubicBezTo>
                    <a:pt x="302" y="350"/>
                    <a:pt x="302" y="343"/>
                    <a:pt x="297" y="341"/>
                  </a:cubicBezTo>
                  <a:cubicBezTo>
                    <a:pt x="299" y="236"/>
                    <a:pt x="299" y="236"/>
                    <a:pt x="299" y="236"/>
                  </a:cubicBezTo>
                  <a:cubicBezTo>
                    <a:pt x="331" y="236"/>
                    <a:pt x="331" y="236"/>
                    <a:pt x="331" y="236"/>
                  </a:cubicBezTo>
                  <a:cubicBezTo>
                    <a:pt x="336" y="236"/>
                    <a:pt x="341" y="236"/>
                    <a:pt x="346" y="236"/>
                  </a:cubicBezTo>
                  <a:cubicBezTo>
                    <a:pt x="352" y="236"/>
                    <a:pt x="352" y="236"/>
                    <a:pt x="352" y="236"/>
                  </a:cubicBezTo>
                  <a:cubicBezTo>
                    <a:pt x="352" y="236"/>
                    <a:pt x="353" y="236"/>
                    <a:pt x="353" y="236"/>
                  </a:cubicBezTo>
                  <a:cubicBezTo>
                    <a:pt x="356" y="236"/>
                    <a:pt x="356" y="236"/>
                    <a:pt x="356" y="236"/>
                  </a:cubicBezTo>
                  <a:cubicBezTo>
                    <a:pt x="355" y="233"/>
                    <a:pt x="355" y="233"/>
                    <a:pt x="355" y="233"/>
                  </a:cubicBezTo>
                  <a:cubicBezTo>
                    <a:pt x="355" y="233"/>
                    <a:pt x="354" y="233"/>
                    <a:pt x="354" y="232"/>
                  </a:cubicBezTo>
                  <a:cubicBezTo>
                    <a:pt x="353" y="231"/>
                    <a:pt x="353" y="230"/>
                    <a:pt x="353" y="228"/>
                  </a:cubicBezTo>
                  <a:cubicBezTo>
                    <a:pt x="353" y="226"/>
                    <a:pt x="354" y="223"/>
                    <a:pt x="356" y="220"/>
                  </a:cubicBezTo>
                  <a:cubicBezTo>
                    <a:pt x="357" y="218"/>
                    <a:pt x="358" y="216"/>
                    <a:pt x="357" y="213"/>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54" name="Freeform 54">
              <a:extLst>
                <a:ext uri="{FF2B5EF4-FFF2-40B4-BE49-F238E27FC236}">
                  <a16:creationId xmlns:a16="http://schemas.microsoft.com/office/drawing/2014/main" id="{3050C638-3EF9-4A21-8F9A-6A1BFB921316}"/>
                </a:ext>
              </a:extLst>
            </p:cNvPr>
            <p:cNvSpPr>
              <a:spLocks/>
            </p:cNvSpPr>
            <p:nvPr/>
          </p:nvSpPr>
          <p:spPr bwMode="auto">
            <a:xfrm>
              <a:off x="3889439" y="3109331"/>
              <a:ext cx="179680" cy="467444"/>
            </a:xfrm>
            <a:custGeom>
              <a:avLst/>
              <a:gdLst>
                <a:gd name="T0" fmla="*/ 88 w 89"/>
                <a:gd name="T1" fmla="*/ 192 h 251"/>
                <a:gd name="T2" fmla="*/ 88 w 89"/>
                <a:gd name="T3" fmla="*/ 188 h 251"/>
                <a:gd name="T4" fmla="*/ 69 w 89"/>
                <a:gd name="T5" fmla="*/ 144 h 251"/>
                <a:gd name="T6" fmla="*/ 67 w 89"/>
                <a:gd name="T7" fmla="*/ 148 h 251"/>
                <a:gd name="T8" fmla="*/ 69 w 89"/>
                <a:gd name="T9" fmla="*/ 156 h 251"/>
                <a:gd name="T10" fmla="*/ 62 w 89"/>
                <a:gd name="T11" fmla="*/ 148 h 251"/>
                <a:gd name="T12" fmla="*/ 57 w 89"/>
                <a:gd name="T13" fmla="*/ 154 h 251"/>
                <a:gd name="T14" fmla="*/ 52 w 89"/>
                <a:gd name="T15" fmla="*/ 134 h 251"/>
                <a:gd name="T16" fmla="*/ 46 w 89"/>
                <a:gd name="T17" fmla="*/ 108 h 251"/>
                <a:gd name="T18" fmla="*/ 45 w 89"/>
                <a:gd name="T19" fmla="*/ 78 h 251"/>
                <a:gd name="T20" fmla="*/ 47 w 89"/>
                <a:gd name="T21" fmla="*/ 56 h 251"/>
                <a:gd name="T22" fmla="*/ 47 w 89"/>
                <a:gd name="T23" fmla="*/ 40 h 251"/>
                <a:gd name="T24" fmla="*/ 44 w 89"/>
                <a:gd name="T25" fmla="*/ 21 h 251"/>
                <a:gd name="T26" fmla="*/ 40 w 89"/>
                <a:gd name="T27" fmla="*/ 7 h 251"/>
                <a:gd name="T28" fmla="*/ 46 w 89"/>
                <a:gd name="T29" fmla="*/ 6 h 251"/>
                <a:gd name="T30" fmla="*/ 41 w 89"/>
                <a:gd name="T31" fmla="*/ 0 h 251"/>
                <a:gd name="T32" fmla="*/ 36 w 89"/>
                <a:gd name="T33" fmla="*/ 3 h 251"/>
                <a:gd name="T34" fmla="*/ 30 w 89"/>
                <a:gd name="T35" fmla="*/ 2 h 251"/>
                <a:gd name="T36" fmla="*/ 19 w 89"/>
                <a:gd name="T37" fmla="*/ 0 h 251"/>
                <a:gd name="T38" fmla="*/ 17 w 89"/>
                <a:gd name="T39" fmla="*/ 0 h 251"/>
                <a:gd name="T40" fmla="*/ 14 w 89"/>
                <a:gd name="T41" fmla="*/ 3 h 251"/>
                <a:gd name="T42" fmla="*/ 19 w 89"/>
                <a:gd name="T43" fmla="*/ 9 h 251"/>
                <a:gd name="T44" fmla="*/ 19 w 89"/>
                <a:gd name="T45" fmla="*/ 16 h 251"/>
                <a:gd name="T46" fmla="*/ 26 w 89"/>
                <a:gd name="T47" fmla="*/ 22 h 251"/>
                <a:gd name="T48" fmla="*/ 30 w 89"/>
                <a:gd name="T49" fmla="*/ 32 h 251"/>
                <a:gd name="T50" fmla="*/ 20 w 89"/>
                <a:gd name="T51" fmla="*/ 42 h 251"/>
                <a:gd name="T52" fmla="*/ 18 w 89"/>
                <a:gd name="T53" fmla="*/ 49 h 251"/>
                <a:gd name="T54" fmla="*/ 19 w 89"/>
                <a:gd name="T55" fmla="*/ 57 h 251"/>
                <a:gd name="T56" fmla="*/ 18 w 89"/>
                <a:gd name="T57" fmla="*/ 66 h 251"/>
                <a:gd name="T58" fmla="*/ 18 w 89"/>
                <a:gd name="T59" fmla="*/ 77 h 251"/>
                <a:gd name="T60" fmla="*/ 21 w 89"/>
                <a:gd name="T61" fmla="*/ 91 h 251"/>
                <a:gd name="T62" fmla="*/ 15 w 89"/>
                <a:gd name="T63" fmla="*/ 101 h 251"/>
                <a:gd name="T64" fmla="*/ 8 w 89"/>
                <a:gd name="T65" fmla="*/ 103 h 251"/>
                <a:gd name="T66" fmla="*/ 8 w 89"/>
                <a:gd name="T67" fmla="*/ 111 h 251"/>
                <a:gd name="T68" fmla="*/ 4 w 89"/>
                <a:gd name="T69" fmla="*/ 129 h 251"/>
                <a:gd name="T70" fmla="*/ 2 w 89"/>
                <a:gd name="T71" fmla="*/ 140 h 251"/>
                <a:gd name="T72" fmla="*/ 4 w 89"/>
                <a:gd name="T73" fmla="*/ 144 h 251"/>
                <a:gd name="T74" fmla="*/ 10 w 89"/>
                <a:gd name="T75" fmla="*/ 148 h 251"/>
                <a:gd name="T76" fmla="*/ 12 w 89"/>
                <a:gd name="T77" fmla="*/ 148 h 251"/>
                <a:gd name="T78" fmla="*/ 18 w 89"/>
                <a:gd name="T79" fmla="*/ 156 h 251"/>
                <a:gd name="T80" fmla="*/ 27 w 89"/>
                <a:gd name="T81" fmla="*/ 166 h 251"/>
                <a:gd name="T82" fmla="*/ 44 w 89"/>
                <a:gd name="T83" fmla="*/ 161 h 251"/>
                <a:gd name="T84" fmla="*/ 49 w 89"/>
                <a:gd name="T85" fmla="*/ 194 h 251"/>
                <a:gd name="T86" fmla="*/ 46 w 89"/>
                <a:gd name="T87" fmla="*/ 203 h 251"/>
                <a:gd name="T88" fmla="*/ 45 w 89"/>
                <a:gd name="T89" fmla="*/ 212 h 251"/>
                <a:gd name="T90" fmla="*/ 48 w 89"/>
                <a:gd name="T91" fmla="*/ 218 h 251"/>
                <a:gd name="T92" fmla="*/ 48 w 89"/>
                <a:gd name="T93" fmla="*/ 223 h 251"/>
                <a:gd name="T94" fmla="*/ 61 w 89"/>
                <a:gd name="T95" fmla="*/ 237 h 251"/>
                <a:gd name="T96" fmla="*/ 64 w 89"/>
                <a:gd name="T97" fmla="*/ 247 h 251"/>
                <a:gd name="T98" fmla="*/ 67 w 89"/>
                <a:gd name="T99" fmla="*/ 251 h 251"/>
                <a:gd name="T100" fmla="*/ 71 w 89"/>
                <a:gd name="T101" fmla="*/ 251 h 251"/>
                <a:gd name="T102" fmla="*/ 70 w 89"/>
                <a:gd name="T103" fmla="*/ 239 h 251"/>
                <a:gd name="T104" fmla="*/ 71 w 89"/>
                <a:gd name="T105" fmla="*/ 225 h 251"/>
                <a:gd name="T106" fmla="*/ 78 w 89"/>
                <a:gd name="T107" fmla="*/ 218 h 251"/>
                <a:gd name="T108" fmla="*/ 89 w 89"/>
                <a:gd name="T109" fmla="*/ 20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251">
                  <a:moveTo>
                    <a:pt x="88" y="199"/>
                  </a:moveTo>
                  <a:cubicBezTo>
                    <a:pt x="88" y="197"/>
                    <a:pt x="88" y="194"/>
                    <a:pt x="88" y="192"/>
                  </a:cubicBezTo>
                  <a:cubicBezTo>
                    <a:pt x="88" y="191"/>
                    <a:pt x="88" y="190"/>
                    <a:pt x="88" y="189"/>
                  </a:cubicBezTo>
                  <a:cubicBezTo>
                    <a:pt x="88" y="188"/>
                    <a:pt x="88" y="188"/>
                    <a:pt x="88" y="188"/>
                  </a:cubicBezTo>
                  <a:cubicBezTo>
                    <a:pt x="88" y="184"/>
                    <a:pt x="89" y="181"/>
                    <a:pt x="88" y="178"/>
                  </a:cubicBezTo>
                  <a:cubicBezTo>
                    <a:pt x="86" y="168"/>
                    <a:pt x="81" y="150"/>
                    <a:pt x="69" y="144"/>
                  </a:cubicBezTo>
                  <a:cubicBezTo>
                    <a:pt x="64" y="141"/>
                    <a:pt x="64" y="141"/>
                    <a:pt x="64" y="141"/>
                  </a:cubicBezTo>
                  <a:cubicBezTo>
                    <a:pt x="67" y="148"/>
                    <a:pt x="67" y="148"/>
                    <a:pt x="67" y="148"/>
                  </a:cubicBezTo>
                  <a:cubicBezTo>
                    <a:pt x="68" y="151"/>
                    <a:pt x="70" y="155"/>
                    <a:pt x="69" y="156"/>
                  </a:cubicBezTo>
                  <a:cubicBezTo>
                    <a:pt x="69" y="156"/>
                    <a:pt x="69" y="156"/>
                    <a:pt x="69" y="156"/>
                  </a:cubicBezTo>
                  <a:cubicBezTo>
                    <a:pt x="69" y="156"/>
                    <a:pt x="68" y="155"/>
                    <a:pt x="68" y="153"/>
                  </a:cubicBezTo>
                  <a:cubicBezTo>
                    <a:pt x="67" y="151"/>
                    <a:pt x="66" y="148"/>
                    <a:pt x="62" y="148"/>
                  </a:cubicBezTo>
                  <a:cubicBezTo>
                    <a:pt x="59" y="148"/>
                    <a:pt x="58" y="151"/>
                    <a:pt x="58" y="152"/>
                  </a:cubicBezTo>
                  <a:cubicBezTo>
                    <a:pt x="57" y="153"/>
                    <a:pt x="57" y="153"/>
                    <a:pt x="57" y="154"/>
                  </a:cubicBezTo>
                  <a:cubicBezTo>
                    <a:pt x="57" y="154"/>
                    <a:pt x="55" y="153"/>
                    <a:pt x="54" y="148"/>
                  </a:cubicBezTo>
                  <a:cubicBezTo>
                    <a:pt x="52" y="144"/>
                    <a:pt x="52" y="139"/>
                    <a:pt x="52" y="134"/>
                  </a:cubicBezTo>
                  <a:cubicBezTo>
                    <a:pt x="51" y="131"/>
                    <a:pt x="51" y="127"/>
                    <a:pt x="51" y="124"/>
                  </a:cubicBezTo>
                  <a:cubicBezTo>
                    <a:pt x="50" y="119"/>
                    <a:pt x="48" y="113"/>
                    <a:pt x="46" y="108"/>
                  </a:cubicBezTo>
                  <a:cubicBezTo>
                    <a:pt x="45" y="103"/>
                    <a:pt x="43" y="98"/>
                    <a:pt x="42" y="93"/>
                  </a:cubicBezTo>
                  <a:cubicBezTo>
                    <a:pt x="42" y="88"/>
                    <a:pt x="43" y="83"/>
                    <a:pt x="45" y="78"/>
                  </a:cubicBezTo>
                  <a:cubicBezTo>
                    <a:pt x="47" y="74"/>
                    <a:pt x="48" y="69"/>
                    <a:pt x="48" y="64"/>
                  </a:cubicBezTo>
                  <a:cubicBezTo>
                    <a:pt x="48" y="61"/>
                    <a:pt x="47" y="58"/>
                    <a:pt x="47" y="56"/>
                  </a:cubicBezTo>
                  <a:cubicBezTo>
                    <a:pt x="46" y="53"/>
                    <a:pt x="46" y="50"/>
                    <a:pt x="46" y="48"/>
                  </a:cubicBezTo>
                  <a:cubicBezTo>
                    <a:pt x="46" y="45"/>
                    <a:pt x="46" y="43"/>
                    <a:pt x="47" y="40"/>
                  </a:cubicBezTo>
                  <a:cubicBezTo>
                    <a:pt x="48" y="35"/>
                    <a:pt x="48" y="30"/>
                    <a:pt x="46" y="25"/>
                  </a:cubicBezTo>
                  <a:cubicBezTo>
                    <a:pt x="46" y="24"/>
                    <a:pt x="45" y="23"/>
                    <a:pt x="44" y="21"/>
                  </a:cubicBezTo>
                  <a:cubicBezTo>
                    <a:pt x="41" y="17"/>
                    <a:pt x="38" y="12"/>
                    <a:pt x="38" y="9"/>
                  </a:cubicBezTo>
                  <a:cubicBezTo>
                    <a:pt x="39" y="8"/>
                    <a:pt x="39" y="7"/>
                    <a:pt x="40" y="7"/>
                  </a:cubicBezTo>
                  <a:cubicBezTo>
                    <a:pt x="41" y="6"/>
                    <a:pt x="42" y="6"/>
                    <a:pt x="43" y="6"/>
                  </a:cubicBezTo>
                  <a:cubicBezTo>
                    <a:pt x="46" y="6"/>
                    <a:pt x="46" y="6"/>
                    <a:pt x="46" y="6"/>
                  </a:cubicBezTo>
                  <a:cubicBezTo>
                    <a:pt x="44" y="3"/>
                    <a:pt x="44" y="3"/>
                    <a:pt x="44" y="3"/>
                  </a:cubicBezTo>
                  <a:cubicBezTo>
                    <a:pt x="43" y="1"/>
                    <a:pt x="42" y="0"/>
                    <a:pt x="41" y="0"/>
                  </a:cubicBezTo>
                  <a:cubicBezTo>
                    <a:pt x="39" y="0"/>
                    <a:pt x="38" y="1"/>
                    <a:pt x="38" y="2"/>
                  </a:cubicBezTo>
                  <a:cubicBezTo>
                    <a:pt x="37" y="3"/>
                    <a:pt x="37" y="3"/>
                    <a:pt x="36" y="3"/>
                  </a:cubicBezTo>
                  <a:cubicBezTo>
                    <a:pt x="35" y="3"/>
                    <a:pt x="35" y="3"/>
                    <a:pt x="35" y="3"/>
                  </a:cubicBezTo>
                  <a:cubicBezTo>
                    <a:pt x="33" y="3"/>
                    <a:pt x="31" y="3"/>
                    <a:pt x="30" y="2"/>
                  </a:cubicBezTo>
                  <a:cubicBezTo>
                    <a:pt x="29" y="2"/>
                    <a:pt x="29" y="2"/>
                    <a:pt x="29" y="2"/>
                  </a:cubicBezTo>
                  <a:cubicBezTo>
                    <a:pt x="25" y="1"/>
                    <a:pt x="23" y="0"/>
                    <a:pt x="19" y="0"/>
                  </a:cubicBezTo>
                  <a:cubicBezTo>
                    <a:pt x="19" y="0"/>
                    <a:pt x="19" y="0"/>
                    <a:pt x="18" y="0"/>
                  </a:cubicBezTo>
                  <a:cubicBezTo>
                    <a:pt x="18" y="0"/>
                    <a:pt x="17" y="0"/>
                    <a:pt x="17" y="0"/>
                  </a:cubicBezTo>
                  <a:cubicBezTo>
                    <a:pt x="12" y="0"/>
                    <a:pt x="12" y="0"/>
                    <a:pt x="12" y="0"/>
                  </a:cubicBezTo>
                  <a:cubicBezTo>
                    <a:pt x="14" y="3"/>
                    <a:pt x="14" y="3"/>
                    <a:pt x="14" y="3"/>
                  </a:cubicBezTo>
                  <a:cubicBezTo>
                    <a:pt x="15" y="4"/>
                    <a:pt x="16" y="5"/>
                    <a:pt x="16" y="6"/>
                  </a:cubicBezTo>
                  <a:cubicBezTo>
                    <a:pt x="17" y="7"/>
                    <a:pt x="18" y="8"/>
                    <a:pt x="19" y="9"/>
                  </a:cubicBezTo>
                  <a:cubicBezTo>
                    <a:pt x="21" y="11"/>
                    <a:pt x="20" y="12"/>
                    <a:pt x="20" y="13"/>
                  </a:cubicBezTo>
                  <a:cubicBezTo>
                    <a:pt x="19" y="13"/>
                    <a:pt x="19" y="14"/>
                    <a:pt x="19" y="16"/>
                  </a:cubicBezTo>
                  <a:cubicBezTo>
                    <a:pt x="19" y="19"/>
                    <a:pt x="20" y="20"/>
                    <a:pt x="23" y="21"/>
                  </a:cubicBezTo>
                  <a:cubicBezTo>
                    <a:pt x="24" y="21"/>
                    <a:pt x="25" y="21"/>
                    <a:pt x="26" y="22"/>
                  </a:cubicBezTo>
                  <a:cubicBezTo>
                    <a:pt x="27" y="23"/>
                    <a:pt x="27" y="25"/>
                    <a:pt x="27" y="26"/>
                  </a:cubicBezTo>
                  <a:cubicBezTo>
                    <a:pt x="27" y="28"/>
                    <a:pt x="27" y="31"/>
                    <a:pt x="30" y="32"/>
                  </a:cubicBezTo>
                  <a:cubicBezTo>
                    <a:pt x="30" y="37"/>
                    <a:pt x="27" y="39"/>
                    <a:pt x="23" y="41"/>
                  </a:cubicBezTo>
                  <a:cubicBezTo>
                    <a:pt x="22" y="41"/>
                    <a:pt x="21" y="42"/>
                    <a:pt x="20" y="42"/>
                  </a:cubicBezTo>
                  <a:cubicBezTo>
                    <a:pt x="18" y="43"/>
                    <a:pt x="17" y="44"/>
                    <a:pt x="17" y="45"/>
                  </a:cubicBezTo>
                  <a:cubicBezTo>
                    <a:pt x="17" y="46"/>
                    <a:pt x="17" y="47"/>
                    <a:pt x="18" y="49"/>
                  </a:cubicBezTo>
                  <a:cubicBezTo>
                    <a:pt x="19" y="50"/>
                    <a:pt x="20" y="51"/>
                    <a:pt x="21" y="53"/>
                  </a:cubicBezTo>
                  <a:cubicBezTo>
                    <a:pt x="21" y="55"/>
                    <a:pt x="20" y="56"/>
                    <a:pt x="19" y="57"/>
                  </a:cubicBezTo>
                  <a:cubicBezTo>
                    <a:pt x="19" y="58"/>
                    <a:pt x="18" y="59"/>
                    <a:pt x="18" y="60"/>
                  </a:cubicBezTo>
                  <a:cubicBezTo>
                    <a:pt x="17" y="62"/>
                    <a:pt x="18" y="64"/>
                    <a:pt x="18" y="66"/>
                  </a:cubicBezTo>
                  <a:cubicBezTo>
                    <a:pt x="18" y="66"/>
                    <a:pt x="18" y="67"/>
                    <a:pt x="19" y="68"/>
                  </a:cubicBezTo>
                  <a:cubicBezTo>
                    <a:pt x="19" y="71"/>
                    <a:pt x="18" y="74"/>
                    <a:pt x="18" y="77"/>
                  </a:cubicBezTo>
                  <a:cubicBezTo>
                    <a:pt x="17" y="80"/>
                    <a:pt x="17" y="82"/>
                    <a:pt x="17" y="84"/>
                  </a:cubicBezTo>
                  <a:cubicBezTo>
                    <a:pt x="16" y="89"/>
                    <a:pt x="19" y="90"/>
                    <a:pt x="21" y="91"/>
                  </a:cubicBezTo>
                  <a:cubicBezTo>
                    <a:pt x="23" y="91"/>
                    <a:pt x="24" y="92"/>
                    <a:pt x="25" y="93"/>
                  </a:cubicBezTo>
                  <a:cubicBezTo>
                    <a:pt x="25" y="98"/>
                    <a:pt x="21" y="99"/>
                    <a:pt x="15" y="101"/>
                  </a:cubicBezTo>
                  <a:cubicBezTo>
                    <a:pt x="13" y="101"/>
                    <a:pt x="11" y="102"/>
                    <a:pt x="9" y="103"/>
                  </a:cubicBezTo>
                  <a:cubicBezTo>
                    <a:pt x="8" y="103"/>
                    <a:pt x="8" y="103"/>
                    <a:pt x="8" y="103"/>
                  </a:cubicBezTo>
                  <a:cubicBezTo>
                    <a:pt x="8" y="104"/>
                    <a:pt x="8" y="104"/>
                    <a:pt x="8" y="104"/>
                  </a:cubicBezTo>
                  <a:cubicBezTo>
                    <a:pt x="8" y="107"/>
                    <a:pt x="8" y="109"/>
                    <a:pt x="8" y="111"/>
                  </a:cubicBezTo>
                  <a:cubicBezTo>
                    <a:pt x="9" y="116"/>
                    <a:pt x="9" y="120"/>
                    <a:pt x="6" y="126"/>
                  </a:cubicBezTo>
                  <a:cubicBezTo>
                    <a:pt x="6" y="127"/>
                    <a:pt x="5" y="128"/>
                    <a:pt x="4" y="129"/>
                  </a:cubicBezTo>
                  <a:cubicBezTo>
                    <a:pt x="2" y="131"/>
                    <a:pt x="1" y="132"/>
                    <a:pt x="0" y="133"/>
                  </a:cubicBezTo>
                  <a:cubicBezTo>
                    <a:pt x="0" y="136"/>
                    <a:pt x="1" y="138"/>
                    <a:pt x="2" y="140"/>
                  </a:cubicBezTo>
                  <a:cubicBezTo>
                    <a:pt x="2" y="141"/>
                    <a:pt x="3" y="141"/>
                    <a:pt x="3" y="142"/>
                  </a:cubicBezTo>
                  <a:cubicBezTo>
                    <a:pt x="3" y="143"/>
                    <a:pt x="4" y="143"/>
                    <a:pt x="4" y="144"/>
                  </a:cubicBezTo>
                  <a:cubicBezTo>
                    <a:pt x="5" y="146"/>
                    <a:pt x="5" y="148"/>
                    <a:pt x="9" y="148"/>
                  </a:cubicBezTo>
                  <a:cubicBezTo>
                    <a:pt x="9" y="148"/>
                    <a:pt x="9" y="148"/>
                    <a:pt x="10" y="148"/>
                  </a:cubicBezTo>
                  <a:cubicBezTo>
                    <a:pt x="11" y="148"/>
                    <a:pt x="11" y="148"/>
                    <a:pt x="12" y="148"/>
                  </a:cubicBezTo>
                  <a:cubicBezTo>
                    <a:pt x="12" y="148"/>
                    <a:pt x="12" y="148"/>
                    <a:pt x="12" y="148"/>
                  </a:cubicBezTo>
                  <a:cubicBezTo>
                    <a:pt x="13" y="148"/>
                    <a:pt x="14" y="149"/>
                    <a:pt x="15" y="150"/>
                  </a:cubicBezTo>
                  <a:cubicBezTo>
                    <a:pt x="16" y="151"/>
                    <a:pt x="17" y="154"/>
                    <a:pt x="18" y="156"/>
                  </a:cubicBezTo>
                  <a:cubicBezTo>
                    <a:pt x="21" y="161"/>
                    <a:pt x="24" y="165"/>
                    <a:pt x="27" y="166"/>
                  </a:cubicBezTo>
                  <a:cubicBezTo>
                    <a:pt x="27" y="166"/>
                    <a:pt x="27" y="166"/>
                    <a:pt x="27" y="166"/>
                  </a:cubicBezTo>
                  <a:cubicBezTo>
                    <a:pt x="30" y="166"/>
                    <a:pt x="33" y="164"/>
                    <a:pt x="36" y="163"/>
                  </a:cubicBezTo>
                  <a:cubicBezTo>
                    <a:pt x="38" y="162"/>
                    <a:pt x="41" y="161"/>
                    <a:pt x="44" y="161"/>
                  </a:cubicBezTo>
                  <a:cubicBezTo>
                    <a:pt x="46" y="161"/>
                    <a:pt x="48" y="163"/>
                    <a:pt x="50" y="165"/>
                  </a:cubicBezTo>
                  <a:cubicBezTo>
                    <a:pt x="56" y="174"/>
                    <a:pt x="53" y="186"/>
                    <a:pt x="49" y="194"/>
                  </a:cubicBezTo>
                  <a:cubicBezTo>
                    <a:pt x="49" y="195"/>
                    <a:pt x="48" y="197"/>
                    <a:pt x="48" y="198"/>
                  </a:cubicBezTo>
                  <a:cubicBezTo>
                    <a:pt x="48" y="200"/>
                    <a:pt x="47" y="202"/>
                    <a:pt x="46" y="203"/>
                  </a:cubicBezTo>
                  <a:cubicBezTo>
                    <a:pt x="46" y="204"/>
                    <a:pt x="45" y="205"/>
                    <a:pt x="45" y="205"/>
                  </a:cubicBezTo>
                  <a:cubicBezTo>
                    <a:pt x="43" y="208"/>
                    <a:pt x="43" y="209"/>
                    <a:pt x="45" y="212"/>
                  </a:cubicBezTo>
                  <a:cubicBezTo>
                    <a:pt x="45" y="213"/>
                    <a:pt x="46" y="214"/>
                    <a:pt x="46" y="214"/>
                  </a:cubicBezTo>
                  <a:cubicBezTo>
                    <a:pt x="47" y="215"/>
                    <a:pt x="47" y="216"/>
                    <a:pt x="48" y="218"/>
                  </a:cubicBezTo>
                  <a:cubicBezTo>
                    <a:pt x="48" y="219"/>
                    <a:pt x="48" y="219"/>
                    <a:pt x="48" y="220"/>
                  </a:cubicBezTo>
                  <a:cubicBezTo>
                    <a:pt x="48" y="221"/>
                    <a:pt x="48" y="222"/>
                    <a:pt x="48" y="223"/>
                  </a:cubicBezTo>
                  <a:cubicBezTo>
                    <a:pt x="50" y="228"/>
                    <a:pt x="54" y="231"/>
                    <a:pt x="58" y="234"/>
                  </a:cubicBezTo>
                  <a:cubicBezTo>
                    <a:pt x="59" y="235"/>
                    <a:pt x="60" y="236"/>
                    <a:pt x="61" y="237"/>
                  </a:cubicBezTo>
                  <a:cubicBezTo>
                    <a:pt x="65" y="240"/>
                    <a:pt x="64" y="241"/>
                    <a:pt x="64" y="243"/>
                  </a:cubicBezTo>
                  <a:cubicBezTo>
                    <a:pt x="64" y="244"/>
                    <a:pt x="64" y="245"/>
                    <a:pt x="64" y="247"/>
                  </a:cubicBezTo>
                  <a:cubicBezTo>
                    <a:pt x="64" y="249"/>
                    <a:pt x="64" y="250"/>
                    <a:pt x="65" y="251"/>
                  </a:cubicBezTo>
                  <a:cubicBezTo>
                    <a:pt x="66" y="251"/>
                    <a:pt x="66" y="251"/>
                    <a:pt x="67" y="251"/>
                  </a:cubicBezTo>
                  <a:cubicBezTo>
                    <a:pt x="68" y="251"/>
                    <a:pt x="69" y="251"/>
                    <a:pt x="70" y="251"/>
                  </a:cubicBezTo>
                  <a:cubicBezTo>
                    <a:pt x="71" y="251"/>
                    <a:pt x="71" y="251"/>
                    <a:pt x="71" y="251"/>
                  </a:cubicBezTo>
                  <a:cubicBezTo>
                    <a:pt x="71" y="249"/>
                    <a:pt x="71" y="249"/>
                    <a:pt x="71" y="249"/>
                  </a:cubicBezTo>
                  <a:cubicBezTo>
                    <a:pt x="71" y="245"/>
                    <a:pt x="71" y="242"/>
                    <a:pt x="70" y="239"/>
                  </a:cubicBezTo>
                  <a:cubicBezTo>
                    <a:pt x="69" y="237"/>
                    <a:pt x="69" y="236"/>
                    <a:pt x="68" y="234"/>
                  </a:cubicBezTo>
                  <a:cubicBezTo>
                    <a:pt x="68" y="231"/>
                    <a:pt x="69" y="228"/>
                    <a:pt x="71" y="225"/>
                  </a:cubicBezTo>
                  <a:cubicBezTo>
                    <a:pt x="71" y="225"/>
                    <a:pt x="72" y="223"/>
                    <a:pt x="72" y="222"/>
                  </a:cubicBezTo>
                  <a:cubicBezTo>
                    <a:pt x="74" y="219"/>
                    <a:pt x="76" y="219"/>
                    <a:pt x="78" y="218"/>
                  </a:cubicBezTo>
                  <a:cubicBezTo>
                    <a:pt x="79" y="218"/>
                    <a:pt x="81" y="218"/>
                    <a:pt x="83" y="217"/>
                  </a:cubicBezTo>
                  <a:cubicBezTo>
                    <a:pt x="87" y="216"/>
                    <a:pt x="88" y="212"/>
                    <a:pt x="89" y="206"/>
                  </a:cubicBezTo>
                  <a:cubicBezTo>
                    <a:pt x="89" y="204"/>
                    <a:pt x="89" y="202"/>
                    <a:pt x="88" y="199"/>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55" name="Freeform 55">
              <a:extLst>
                <a:ext uri="{FF2B5EF4-FFF2-40B4-BE49-F238E27FC236}">
                  <a16:creationId xmlns:a16="http://schemas.microsoft.com/office/drawing/2014/main" id="{C7733DBE-CF9F-439C-AD54-B0131CB56A5B}"/>
                </a:ext>
              </a:extLst>
            </p:cNvPr>
            <p:cNvSpPr>
              <a:spLocks/>
            </p:cNvSpPr>
            <p:nvPr/>
          </p:nvSpPr>
          <p:spPr bwMode="auto">
            <a:xfrm>
              <a:off x="3262235" y="3029197"/>
              <a:ext cx="689702" cy="605109"/>
            </a:xfrm>
            <a:custGeom>
              <a:avLst/>
              <a:gdLst>
                <a:gd name="T0" fmla="*/ 329 w 341"/>
                <a:gd name="T1" fmla="*/ 59 h 325"/>
                <a:gd name="T2" fmla="*/ 322 w 341"/>
                <a:gd name="T3" fmla="*/ 42 h 325"/>
                <a:gd name="T4" fmla="*/ 309 w 341"/>
                <a:gd name="T5" fmla="*/ 35 h 325"/>
                <a:gd name="T6" fmla="*/ 296 w 341"/>
                <a:gd name="T7" fmla="*/ 29 h 325"/>
                <a:gd name="T8" fmla="*/ 292 w 341"/>
                <a:gd name="T9" fmla="*/ 27 h 325"/>
                <a:gd name="T10" fmla="*/ 279 w 341"/>
                <a:gd name="T11" fmla="*/ 18 h 325"/>
                <a:gd name="T12" fmla="*/ 265 w 341"/>
                <a:gd name="T13" fmla="*/ 15 h 325"/>
                <a:gd name="T14" fmla="*/ 254 w 341"/>
                <a:gd name="T15" fmla="*/ 8 h 325"/>
                <a:gd name="T16" fmla="*/ 252 w 341"/>
                <a:gd name="T17" fmla="*/ 0 h 325"/>
                <a:gd name="T18" fmla="*/ 187 w 341"/>
                <a:gd name="T19" fmla="*/ 35 h 325"/>
                <a:gd name="T20" fmla="*/ 195 w 341"/>
                <a:gd name="T21" fmla="*/ 53 h 325"/>
                <a:gd name="T22" fmla="*/ 189 w 341"/>
                <a:gd name="T23" fmla="*/ 95 h 325"/>
                <a:gd name="T24" fmla="*/ 201 w 341"/>
                <a:gd name="T25" fmla="*/ 129 h 325"/>
                <a:gd name="T26" fmla="*/ 218 w 341"/>
                <a:gd name="T27" fmla="*/ 134 h 325"/>
                <a:gd name="T28" fmla="*/ 227 w 341"/>
                <a:gd name="T29" fmla="*/ 157 h 325"/>
                <a:gd name="T30" fmla="*/ 219 w 341"/>
                <a:gd name="T31" fmla="*/ 165 h 325"/>
                <a:gd name="T32" fmla="*/ 203 w 341"/>
                <a:gd name="T33" fmla="*/ 169 h 325"/>
                <a:gd name="T34" fmla="*/ 186 w 341"/>
                <a:gd name="T35" fmla="*/ 141 h 325"/>
                <a:gd name="T36" fmla="*/ 170 w 341"/>
                <a:gd name="T37" fmla="*/ 133 h 325"/>
                <a:gd name="T38" fmla="*/ 162 w 341"/>
                <a:gd name="T39" fmla="*/ 131 h 325"/>
                <a:gd name="T40" fmla="*/ 153 w 341"/>
                <a:gd name="T41" fmla="*/ 118 h 325"/>
                <a:gd name="T42" fmla="*/ 145 w 341"/>
                <a:gd name="T43" fmla="*/ 117 h 325"/>
                <a:gd name="T44" fmla="*/ 109 w 341"/>
                <a:gd name="T45" fmla="*/ 117 h 325"/>
                <a:gd name="T46" fmla="*/ 97 w 341"/>
                <a:gd name="T47" fmla="*/ 98 h 325"/>
                <a:gd name="T48" fmla="*/ 76 w 341"/>
                <a:gd name="T49" fmla="*/ 105 h 325"/>
                <a:gd name="T50" fmla="*/ 68 w 341"/>
                <a:gd name="T51" fmla="*/ 92 h 325"/>
                <a:gd name="T52" fmla="*/ 59 w 341"/>
                <a:gd name="T53" fmla="*/ 91 h 325"/>
                <a:gd name="T54" fmla="*/ 58 w 341"/>
                <a:gd name="T55" fmla="*/ 110 h 325"/>
                <a:gd name="T56" fmla="*/ 59 w 341"/>
                <a:gd name="T57" fmla="*/ 133 h 325"/>
                <a:gd name="T58" fmla="*/ 58 w 341"/>
                <a:gd name="T59" fmla="*/ 156 h 325"/>
                <a:gd name="T60" fmla="*/ 0 w 341"/>
                <a:gd name="T61" fmla="*/ 262 h 325"/>
                <a:gd name="T62" fmla="*/ 40 w 341"/>
                <a:gd name="T63" fmla="*/ 308 h 325"/>
                <a:gd name="T64" fmla="*/ 59 w 341"/>
                <a:gd name="T65" fmla="*/ 306 h 325"/>
                <a:gd name="T66" fmla="*/ 76 w 341"/>
                <a:gd name="T67" fmla="*/ 306 h 325"/>
                <a:gd name="T68" fmla="*/ 83 w 341"/>
                <a:gd name="T69" fmla="*/ 308 h 325"/>
                <a:gd name="T70" fmla="*/ 91 w 341"/>
                <a:gd name="T71" fmla="*/ 313 h 325"/>
                <a:gd name="T72" fmla="*/ 101 w 341"/>
                <a:gd name="T73" fmla="*/ 318 h 325"/>
                <a:gd name="T74" fmla="*/ 109 w 341"/>
                <a:gd name="T75" fmla="*/ 319 h 325"/>
                <a:gd name="T76" fmla="*/ 128 w 341"/>
                <a:gd name="T77" fmla="*/ 322 h 325"/>
                <a:gd name="T78" fmla="*/ 142 w 341"/>
                <a:gd name="T79" fmla="*/ 321 h 325"/>
                <a:gd name="T80" fmla="*/ 162 w 341"/>
                <a:gd name="T81" fmla="*/ 296 h 325"/>
                <a:gd name="T82" fmla="*/ 177 w 341"/>
                <a:gd name="T83" fmla="*/ 282 h 325"/>
                <a:gd name="T84" fmla="*/ 202 w 341"/>
                <a:gd name="T85" fmla="*/ 255 h 325"/>
                <a:gd name="T86" fmla="*/ 224 w 341"/>
                <a:gd name="T87" fmla="*/ 245 h 325"/>
                <a:gd name="T88" fmla="*/ 237 w 341"/>
                <a:gd name="T89" fmla="*/ 244 h 325"/>
                <a:gd name="T90" fmla="*/ 237 w 341"/>
                <a:gd name="T91" fmla="*/ 224 h 325"/>
                <a:gd name="T92" fmla="*/ 314 w 341"/>
                <a:gd name="T93" fmla="*/ 187 h 325"/>
                <a:gd name="T94" fmla="*/ 317 w 341"/>
                <a:gd name="T95" fmla="*/ 169 h 325"/>
                <a:gd name="T96" fmla="*/ 336 w 341"/>
                <a:gd name="T97" fmla="*/ 136 h 325"/>
                <a:gd name="T98" fmla="*/ 329 w 341"/>
                <a:gd name="T99" fmla="*/ 111 h 325"/>
                <a:gd name="T100" fmla="*/ 329 w 341"/>
                <a:gd name="T101" fmla="*/ 91 h 325"/>
                <a:gd name="T102" fmla="*/ 341 w 341"/>
                <a:gd name="T103" fmla="*/ 7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1" h="325">
                  <a:moveTo>
                    <a:pt x="339" y="74"/>
                  </a:moveTo>
                  <a:cubicBezTo>
                    <a:pt x="337" y="73"/>
                    <a:pt x="337" y="71"/>
                    <a:pt x="337" y="69"/>
                  </a:cubicBezTo>
                  <a:cubicBezTo>
                    <a:pt x="337" y="68"/>
                    <a:pt x="337" y="66"/>
                    <a:pt x="336" y="65"/>
                  </a:cubicBezTo>
                  <a:cubicBezTo>
                    <a:pt x="335" y="64"/>
                    <a:pt x="334" y="63"/>
                    <a:pt x="333" y="63"/>
                  </a:cubicBezTo>
                  <a:cubicBezTo>
                    <a:pt x="331" y="63"/>
                    <a:pt x="329" y="62"/>
                    <a:pt x="329" y="59"/>
                  </a:cubicBezTo>
                  <a:cubicBezTo>
                    <a:pt x="329" y="57"/>
                    <a:pt x="330" y="56"/>
                    <a:pt x="330" y="56"/>
                  </a:cubicBezTo>
                  <a:cubicBezTo>
                    <a:pt x="331" y="54"/>
                    <a:pt x="330" y="53"/>
                    <a:pt x="329" y="51"/>
                  </a:cubicBezTo>
                  <a:cubicBezTo>
                    <a:pt x="328" y="50"/>
                    <a:pt x="327" y="49"/>
                    <a:pt x="327" y="48"/>
                  </a:cubicBezTo>
                  <a:cubicBezTo>
                    <a:pt x="325" y="47"/>
                    <a:pt x="324" y="45"/>
                    <a:pt x="323" y="43"/>
                  </a:cubicBezTo>
                  <a:cubicBezTo>
                    <a:pt x="322" y="42"/>
                    <a:pt x="322" y="42"/>
                    <a:pt x="322" y="42"/>
                  </a:cubicBezTo>
                  <a:cubicBezTo>
                    <a:pt x="322" y="42"/>
                    <a:pt x="322" y="42"/>
                    <a:pt x="322" y="42"/>
                  </a:cubicBezTo>
                  <a:cubicBezTo>
                    <a:pt x="322" y="42"/>
                    <a:pt x="321" y="41"/>
                    <a:pt x="321" y="40"/>
                  </a:cubicBezTo>
                  <a:cubicBezTo>
                    <a:pt x="321" y="40"/>
                    <a:pt x="320" y="39"/>
                    <a:pt x="320" y="38"/>
                  </a:cubicBezTo>
                  <a:cubicBezTo>
                    <a:pt x="318" y="37"/>
                    <a:pt x="316" y="37"/>
                    <a:pt x="314" y="37"/>
                  </a:cubicBezTo>
                  <a:cubicBezTo>
                    <a:pt x="313" y="37"/>
                    <a:pt x="311" y="36"/>
                    <a:pt x="309" y="35"/>
                  </a:cubicBezTo>
                  <a:cubicBezTo>
                    <a:pt x="309" y="35"/>
                    <a:pt x="308" y="34"/>
                    <a:pt x="308" y="34"/>
                  </a:cubicBezTo>
                  <a:cubicBezTo>
                    <a:pt x="307" y="33"/>
                    <a:pt x="306" y="33"/>
                    <a:pt x="305" y="32"/>
                  </a:cubicBezTo>
                  <a:cubicBezTo>
                    <a:pt x="304" y="32"/>
                    <a:pt x="304" y="32"/>
                    <a:pt x="303" y="31"/>
                  </a:cubicBezTo>
                  <a:cubicBezTo>
                    <a:pt x="302" y="31"/>
                    <a:pt x="301" y="31"/>
                    <a:pt x="301" y="31"/>
                  </a:cubicBezTo>
                  <a:cubicBezTo>
                    <a:pt x="299" y="30"/>
                    <a:pt x="298" y="29"/>
                    <a:pt x="296" y="29"/>
                  </a:cubicBezTo>
                  <a:cubicBezTo>
                    <a:pt x="295" y="28"/>
                    <a:pt x="295" y="28"/>
                    <a:pt x="295" y="28"/>
                  </a:cubicBezTo>
                  <a:cubicBezTo>
                    <a:pt x="294" y="28"/>
                    <a:pt x="294" y="28"/>
                    <a:pt x="294" y="28"/>
                  </a:cubicBezTo>
                  <a:cubicBezTo>
                    <a:pt x="294" y="28"/>
                    <a:pt x="294" y="28"/>
                    <a:pt x="294" y="28"/>
                  </a:cubicBezTo>
                  <a:cubicBezTo>
                    <a:pt x="293" y="28"/>
                    <a:pt x="293" y="28"/>
                    <a:pt x="293" y="28"/>
                  </a:cubicBezTo>
                  <a:cubicBezTo>
                    <a:pt x="292" y="28"/>
                    <a:pt x="292" y="27"/>
                    <a:pt x="292" y="27"/>
                  </a:cubicBezTo>
                  <a:cubicBezTo>
                    <a:pt x="292" y="26"/>
                    <a:pt x="292" y="26"/>
                    <a:pt x="292" y="26"/>
                  </a:cubicBezTo>
                  <a:cubicBezTo>
                    <a:pt x="291" y="26"/>
                    <a:pt x="291" y="26"/>
                    <a:pt x="291" y="26"/>
                  </a:cubicBezTo>
                  <a:cubicBezTo>
                    <a:pt x="290" y="25"/>
                    <a:pt x="289" y="25"/>
                    <a:pt x="287" y="25"/>
                  </a:cubicBezTo>
                  <a:cubicBezTo>
                    <a:pt x="286" y="24"/>
                    <a:pt x="284" y="24"/>
                    <a:pt x="282" y="23"/>
                  </a:cubicBezTo>
                  <a:cubicBezTo>
                    <a:pt x="281" y="22"/>
                    <a:pt x="280" y="20"/>
                    <a:pt x="279" y="18"/>
                  </a:cubicBezTo>
                  <a:cubicBezTo>
                    <a:pt x="278" y="17"/>
                    <a:pt x="277" y="15"/>
                    <a:pt x="276" y="14"/>
                  </a:cubicBezTo>
                  <a:cubicBezTo>
                    <a:pt x="274" y="13"/>
                    <a:pt x="272" y="13"/>
                    <a:pt x="269" y="13"/>
                  </a:cubicBezTo>
                  <a:cubicBezTo>
                    <a:pt x="267" y="13"/>
                    <a:pt x="267" y="13"/>
                    <a:pt x="267" y="13"/>
                  </a:cubicBezTo>
                  <a:cubicBezTo>
                    <a:pt x="265" y="13"/>
                    <a:pt x="265" y="13"/>
                    <a:pt x="265" y="13"/>
                  </a:cubicBezTo>
                  <a:cubicBezTo>
                    <a:pt x="265" y="13"/>
                    <a:pt x="265" y="15"/>
                    <a:pt x="265" y="15"/>
                  </a:cubicBezTo>
                  <a:cubicBezTo>
                    <a:pt x="265" y="15"/>
                    <a:pt x="265" y="15"/>
                    <a:pt x="265" y="15"/>
                  </a:cubicBezTo>
                  <a:cubicBezTo>
                    <a:pt x="263" y="15"/>
                    <a:pt x="261" y="15"/>
                    <a:pt x="260" y="13"/>
                  </a:cubicBezTo>
                  <a:cubicBezTo>
                    <a:pt x="259" y="13"/>
                    <a:pt x="259" y="12"/>
                    <a:pt x="259" y="11"/>
                  </a:cubicBezTo>
                  <a:cubicBezTo>
                    <a:pt x="258" y="10"/>
                    <a:pt x="257" y="9"/>
                    <a:pt x="256" y="8"/>
                  </a:cubicBezTo>
                  <a:cubicBezTo>
                    <a:pt x="255" y="8"/>
                    <a:pt x="255" y="8"/>
                    <a:pt x="254" y="8"/>
                  </a:cubicBezTo>
                  <a:cubicBezTo>
                    <a:pt x="253" y="8"/>
                    <a:pt x="252" y="8"/>
                    <a:pt x="252" y="8"/>
                  </a:cubicBezTo>
                  <a:cubicBezTo>
                    <a:pt x="251" y="8"/>
                    <a:pt x="251" y="8"/>
                    <a:pt x="251" y="8"/>
                  </a:cubicBezTo>
                  <a:cubicBezTo>
                    <a:pt x="250" y="8"/>
                    <a:pt x="250" y="8"/>
                    <a:pt x="249" y="7"/>
                  </a:cubicBezTo>
                  <a:cubicBezTo>
                    <a:pt x="249" y="7"/>
                    <a:pt x="250" y="5"/>
                    <a:pt x="250" y="4"/>
                  </a:cubicBezTo>
                  <a:cubicBezTo>
                    <a:pt x="252" y="0"/>
                    <a:pt x="252" y="0"/>
                    <a:pt x="252" y="0"/>
                  </a:cubicBezTo>
                  <a:cubicBezTo>
                    <a:pt x="203" y="9"/>
                    <a:pt x="203" y="9"/>
                    <a:pt x="203" y="9"/>
                  </a:cubicBezTo>
                  <a:cubicBezTo>
                    <a:pt x="203" y="10"/>
                    <a:pt x="203" y="10"/>
                    <a:pt x="203" y="10"/>
                  </a:cubicBezTo>
                  <a:cubicBezTo>
                    <a:pt x="203" y="14"/>
                    <a:pt x="203" y="17"/>
                    <a:pt x="201" y="20"/>
                  </a:cubicBezTo>
                  <a:cubicBezTo>
                    <a:pt x="198" y="25"/>
                    <a:pt x="195" y="29"/>
                    <a:pt x="189" y="33"/>
                  </a:cubicBezTo>
                  <a:cubicBezTo>
                    <a:pt x="188" y="33"/>
                    <a:pt x="188" y="34"/>
                    <a:pt x="187" y="35"/>
                  </a:cubicBezTo>
                  <a:cubicBezTo>
                    <a:pt x="187" y="36"/>
                    <a:pt x="187" y="36"/>
                    <a:pt x="187" y="36"/>
                  </a:cubicBezTo>
                  <a:cubicBezTo>
                    <a:pt x="188" y="37"/>
                    <a:pt x="188" y="37"/>
                    <a:pt x="188" y="37"/>
                  </a:cubicBezTo>
                  <a:cubicBezTo>
                    <a:pt x="188" y="37"/>
                    <a:pt x="188" y="37"/>
                    <a:pt x="189" y="38"/>
                  </a:cubicBezTo>
                  <a:cubicBezTo>
                    <a:pt x="189" y="38"/>
                    <a:pt x="190" y="39"/>
                    <a:pt x="190" y="39"/>
                  </a:cubicBezTo>
                  <a:cubicBezTo>
                    <a:pt x="192" y="43"/>
                    <a:pt x="195" y="48"/>
                    <a:pt x="195" y="53"/>
                  </a:cubicBezTo>
                  <a:cubicBezTo>
                    <a:pt x="195" y="55"/>
                    <a:pt x="194" y="57"/>
                    <a:pt x="194" y="59"/>
                  </a:cubicBezTo>
                  <a:cubicBezTo>
                    <a:pt x="193" y="62"/>
                    <a:pt x="192" y="65"/>
                    <a:pt x="193" y="68"/>
                  </a:cubicBezTo>
                  <a:cubicBezTo>
                    <a:pt x="193" y="70"/>
                    <a:pt x="193" y="72"/>
                    <a:pt x="194" y="74"/>
                  </a:cubicBezTo>
                  <a:cubicBezTo>
                    <a:pt x="194" y="78"/>
                    <a:pt x="195" y="81"/>
                    <a:pt x="192" y="86"/>
                  </a:cubicBezTo>
                  <a:cubicBezTo>
                    <a:pt x="190" y="89"/>
                    <a:pt x="190" y="91"/>
                    <a:pt x="189" y="95"/>
                  </a:cubicBezTo>
                  <a:cubicBezTo>
                    <a:pt x="189" y="97"/>
                    <a:pt x="188" y="99"/>
                    <a:pt x="187" y="101"/>
                  </a:cubicBezTo>
                  <a:cubicBezTo>
                    <a:pt x="187" y="102"/>
                    <a:pt x="186" y="102"/>
                    <a:pt x="186" y="103"/>
                  </a:cubicBezTo>
                  <a:cubicBezTo>
                    <a:pt x="184" y="107"/>
                    <a:pt x="186" y="116"/>
                    <a:pt x="188" y="119"/>
                  </a:cubicBezTo>
                  <a:cubicBezTo>
                    <a:pt x="190" y="121"/>
                    <a:pt x="192" y="122"/>
                    <a:pt x="194" y="123"/>
                  </a:cubicBezTo>
                  <a:cubicBezTo>
                    <a:pt x="197" y="125"/>
                    <a:pt x="199" y="126"/>
                    <a:pt x="201" y="129"/>
                  </a:cubicBezTo>
                  <a:cubicBezTo>
                    <a:pt x="202" y="130"/>
                    <a:pt x="202" y="131"/>
                    <a:pt x="203" y="132"/>
                  </a:cubicBezTo>
                  <a:cubicBezTo>
                    <a:pt x="203" y="134"/>
                    <a:pt x="204" y="135"/>
                    <a:pt x="205" y="136"/>
                  </a:cubicBezTo>
                  <a:cubicBezTo>
                    <a:pt x="207" y="138"/>
                    <a:pt x="212" y="139"/>
                    <a:pt x="214" y="139"/>
                  </a:cubicBezTo>
                  <a:cubicBezTo>
                    <a:pt x="217" y="139"/>
                    <a:pt x="217" y="137"/>
                    <a:pt x="218" y="136"/>
                  </a:cubicBezTo>
                  <a:cubicBezTo>
                    <a:pt x="218" y="135"/>
                    <a:pt x="218" y="134"/>
                    <a:pt x="218" y="134"/>
                  </a:cubicBezTo>
                  <a:cubicBezTo>
                    <a:pt x="219" y="132"/>
                    <a:pt x="221" y="132"/>
                    <a:pt x="223" y="132"/>
                  </a:cubicBezTo>
                  <a:cubicBezTo>
                    <a:pt x="223" y="132"/>
                    <a:pt x="224" y="132"/>
                    <a:pt x="224" y="132"/>
                  </a:cubicBezTo>
                  <a:cubicBezTo>
                    <a:pt x="226" y="132"/>
                    <a:pt x="226" y="134"/>
                    <a:pt x="226" y="136"/>
                  </a:cubicBezTo>
                  <a:cubicBezTo>
                    <a:pt x="226" y="136"/>
                    <a:pt x="226" y="137"/>
                    <a:pt x="226" y="137"/>
                  </a:cubicBezTo>
                  <a:cubicBezTo>
                    <a:pt x="226" y="144"/>
                    <a:pt x="227" y="151"/>
                    <a:pt x="227" y="157"/>
                  </a:cubicBezTo>
                  <a:cubicBezTo>
                    <a:pt x="227" y="157"/>
                    <a:pt x="227" y="158"/>
                    <a:pt x="227" y="159"/>
                  </a:cubicBezTo>
                  <a:cubicBezTo>
                    <a:pt x="227" y="161"/>
                    <a:pt x="228" y="164"/>
                    <a:pt x="226" y="165"/>
                  </a:cubicBezTo>
                  <a:cubicBezTo>
                    <a:pt x="226" y="166"/>
                    <a:pt x="225" y="166"/>
                    <a:pt x="224" y="166"/>
                  </a:cubicBezTo>
                  <a:cubicBezTo>
                    <a:pt x="223" y="166"/>
                    <a:pt x="222" y="166"/>
                    <a:pt x="221" y="166"/>
                  </a:cubicBezTo>
                  <a:cubicBezTo>
                    <a:pt x="221" y="166"/>
                    <a:pt x="220" y="165"/>
                    <a:pt x="219" y="165"/>
                  </a:cubicBezTo>
                  <a:cubicBezTo>
                    <a:pt x="219" y="165"/>
                    <a:pt x="219" y="165"/>
                    <a:pt x="219" y="165"/>
                  </a:cubicBezTo>
                  <a:cubicBezTo>
                    <a:pt x="215" y="166"/>
                    <a:pt x="213" y="169"/>
                    <a:pt x="213" y="170"/>
                  </a:cubicBezTo>
                  <a:cubicBezTo>
                    <a:pt x="212" y="170"/>
                    <a:pt x="211" y="170"/>
                    <a:pt x="210" y="170"/>
                  </a:cubicBezTo>
                  <a:cubicBezTo>
                    <a:pt x="208" y="170"/>
                    <a:pt x="208" y="170"/>
                    <a:pt x="208" y="170"/>
                  </a:cubicBezTo>
                  <a:cubicBezTo>
                    <a:pt x="206" y="170"/>
                    <a:pt x="204" y="170"/>
                    <a:pt x="203" y="169"/>
                  </a:cubicBezTo>
                  <a:cubicBezTo>
                    <a:pt x="202" y="167"/>
                    <a:pt x="202" y="165"/>
                    <a:pt x="201" y="163"/>
                  </a:cubicBezTo>
                  <a:cubicBezTo>
                    <a:pt x="201" y="161"/>
                    <a:pt x="201" y="160"/>
                    <a:pt x="200" y="159"/>
                  </a:cubicBezTo>
                  <a:cubicBezTo>
                    <a:pt x="199" y="156"/>
                    <a:pt x="197" y="154"/>
                    <a:pt x="194" y="153"/>
                  </a:cubicBezTo>
                  <a:cubicBezTo>
                    <a:pt x="191" y="151"/>
                    <a:pt x="191" y="150"/>
                    <a:pt x="190" y="146"/>
                  </a:cubicBezTo>
                  <a:cubicBezTo>
                    <a:pt x="189" y="143"/>
                    <a:pt x="189" y="142"/>
                    <a:pt x="186" y="141"/>
                  </a:cubicBezTo>
                  <a:cubicBezTo>
                    <a:pt x="186" y="140"/>
                    <a:pt x="185" y="140"/>
                    <a:pt x="185" y="140"/>
                  </a:cubicBezTo>
                  <a:cubicBezTo>
                    <a:pt x="184" y="139"/>
                    <a:pt x="183" y="139"/>
                    <a:pt x="182" y="138"/>
                  </a:cubicBezTo>
                  <a:cubicBezTo>
                    <a:pt x="181" y="137"/>
                    <a:pt x="180" y="136"/>
                    <a:pt x="177" y="136"/>
                  </a:cubicBezTo>
                  <a:cubicBezTo>
                    <a:pt x="175" y="136"/>
                    <a:pt x="174" y="135"/>
                    <a:pt x="173" y="134"/>
                  </a:cubicBezTo>
                  <a:cubicBezTo>
                    <a:pt x="172" y="134"/>
                    <a:pt x="171" y="133"/>
                    <a:pt x="170" y="133"/>
                  </a:cubicBezTo>
                  <a:cubicBezTo>
                    <a:pt x="169" y="133"/>
                    <a:pt x="169" y="133"/>
                    <a:pt x="169" y="133"/>
                  </a:cubicBezTo>
                  <a:cubicBezTo>
                    <a:pt x="168" y="133"/>
                    <a:pt x="168" y="133"/>
                    <a:pt x="167" y="134"/>
                  </a:cubicBezTo>
                  <a:cubicBezTo>
                    <a:pt x="167" y="134"/>
                    <a:pt x="167" y="134"/>
                    <a:pt x="167" y="134"/>
                  </a:cubicBezTo>
                  <a:cubicBezTo>
                    <a:pt x="166" y="134"/>
                    <a:pt x="166" y="134"/>
                    <a:pt x="166" y="134"/>
                  </a:cubicBezTo>
                  <a:cubicBezTo>
                    <a:pt x="165" y="133"/>
                    <a:pt x="162" y="132"/>
                    <a:pt x="162" y="131"/>
                  </a:cubicBezTo>
                  <a:cubicBezTo>
                    <a:pt x="161" y="130"/>
                    <a:pt x="161" y="128"/>
                    <a:pt x="160" y="127"/>
                  </a:cubicBezTo>
                  <a:cubicBezTo>
                    <a:pt x="160" y="125"/>
                    <a:pt x="160" y="124"/>
                    <a:pt x="159" y="123"/>
                  </a:cubicBezTo>
                  <a:cubicBezTo>
                    <a:pt x="158" y="121"/>
                    <a:pt x="156" y="120"/>
                    <a:pt x="154" y="119"/>
                  </a:cubicBezTo>
                  <a:cubicBezTo>
                    <a:pt x="154" y="119"/>
                    <a:pt x="153" y="118"/>
                    <a:pt x="153" y="118"/>
                  </a:cubicBezTo>
                  <a:cubicBezTo>
                    <a:pt x="153" y="118"/>
                    <a:pt x="153" y="118"/>
                    <a:pt x="153" y="118"/>
                  </a:cubicBezTo>
                  <a:cubicBezTo>
                    <a:pt x="154" y="114"/>
                    <a:pt x="154" y="112"/>
                    <a:pt x="153" y="111"/>
                  </a:cubicBezTo>
                  <a:cubicBezTo>
                    <a:pt x="152" y="111"/>
                    <a:pt x="151" y="110"/>
                    <a:pt x="151" y="110"/>
                  </a:cubicBezTo>
                  <a:cubicBezTo>
                    <a:pt x="150" y="110"/>
                    <a:pt x="150" y="110"/>
                    <a:pt x="150" y="110"/>
                  </a:cubicBezTo>
                  <a:cubicBezTo>
                    <a:pt x="148" y="111"/>
                    <a:pt x="147" y="113"/>
                    <a:pt x="146" y="116"/>
                  </a:cubicBezTo>
                  <a:cubicBezTo>
                    <a:pt x="146" y="116"/>
                    <a:pt x="145" y="117"/>
                    <a:pt x="145" y="117"/>
                  </a:cubicBezTo>
                  <a:cubicBezTo>
                    <a:pt x="144" y="120"/>
                    <a:pt x="141" y="124"/>
                    <a:pt x="136" y="124"/>
                  </a:cubicBezTo>
                  <a:cubicBezTo>
                    <a:pt x="135" y="124"/>
                    <a:pt x="134" y="124"/>
                    <a:pt x="132" y="123"/>
                  </a:cubicBezTo>
                  <a:cubicBezTo>
                    <a:pt x="130" y="122"/>
                    <a:pt x="128" y="122"/>
                    <a:pt x="125" y="122"/>
                  </a:cubicBezTo>
                  <a:cubicBezTo>
                    <a:pt x="122" y="122"/>
                    <a:pt x="119" y="121"/>
                    <a:pt x="116" y="120"/>
                  </a:cubicBezTo>
                  <a:cubicBezTo>
                    <a:pt x="114" y="118"/>
                    <a:pt x="112" y="118"/>
                    <a:pt x="109" y="117"/>
                  </a:cubicBezTo>
                  <a:cubicBezTo>
                    <a:pt x="108" y="117"/>
                    <a:pt x="108" y="117"/>
                    <a:pt x="108" y="117"/>
                  </a:cubicBezTo>
                  <a:cubicBezTo>
                    <a:pt x="106" y="116"/>
                    <a:pt x="103" y="116"/>
                    <a:pt x="101" y="114"/>
                  </a:cubicBezTo>
                  <a:cubicBezTo>
                    <a:pt x="97" y="111"/>
                    <a:pt x="97" y="107"/>
                    <a:pt x="98" y="102"/>
                  </a:cubicBezTo>
                  <a:cubicBezTo>
                    <a:pt x="98" y="100"/>
                    <a:pt x="98" y="100"/>
                    <a:pt x="98" y="100"/>
                  </a:cubicBezTo>
                  <a:cubicBezTo>
                    <a:pt x="97" y="98"/>
                    <a:pt x="97" y="98"/>
                    <a:pt x="97" y="98"/>
                  </a:cubicBezTo>
                  <a:cubicBezTo>
                    <a:pt x="95" y="98"/>
                    <a:pt x="95" y="98"/>
                    <a:pt x="95" y="98"/>
                  </a:cubicBezTo>
                  <a:cubicBezTo>
                    <a:pt x="92" y="98"/>
                    <a:pt x="89" y="99"/>
                    <a:pt x="86" y="100"/>
                  </a:cubicBezTo>
                  <a:cubicBezTo>
                    <a:pt x="85" y="100"/>
                    <a:pt x="84" y="101"/>
                    <a:pt x="83" y="101"/>
                  </a:cubicBezTo>
                  <a:cubicBezTo>
                    <a:pt x="81" y="102"/>
                    <a:pt x="79" y="102"/>
                    <a:pt x="77" y="103"/>
                  </a:cubicBezTo>
                  <a:cubicBezTo>
                    <a:pt x="77" y="104"/>
                    <a:pt x="76" y="104"/>
                    <a:pt x="76" y="105"/>
                  </a:cubicBezTo>
                  <a:cubicBezTo>
                    <a:pt x="75" y="106"/>
                    <a:pt x="74" y="107"/>
                    <a:pt x="73" y="107"/>
                  </a:cubicBezTo>
                  <a:cubicBezTo>
                    <a:pt x="71" y="107"/>
                    <a:pt x="71" y="105"/>
                    <a:pt x="71" y="104"/>
                  </a:cubicBezTo>
                  <a:cubicBezTo>
                    <a:pt x="70" y="102"/>
                    <a:pt x="71" y="101"/>
                    <a:pt x="71" y="100"/>
                  </a:cubicBezTo>
                  <a:cubicBezTo>
                    <a:pt x="71" y="98"/>
                    <a:pt x="72" y="95"/>
                    <a:pt x="70" y="93"/>
                  </a:cubicBezTo>
                  <a:cubicBezTo>
                    <a:pt x="69" y="93"/>
                    <a:pt x="69" y="93"/>
                    <a:pt x="68" y="92"/>
                  </a:cubicBezTo>
                  <a:cubicBezTo>
                    <a:pt x="67" y="92"/>
                    <a:pt x="66" y="92"/>
                    <a:pt x="66" y="91"/>
                  </a:cubicBezTo>
                  <a:cubicBezTo>
                    <a:pt x="65" y="91"/>
                    <a:pt x="65" y="91"/>
                    <a:pt x="64" y="90"/>
                  </a:cubicBezTo>
                  <a:cubicBezTo>
                    <a:pt x="63" y="88"/>
                    <a:pt x="61" y="87"/>
                    <a:pt x="60" y="87"/>
                  </a:cubicBezTo>
                  <a:cubicBezTo>
                    <a:pt x="60" y="87"/>
                    <a:pt x="58" y="88"/>
                    <a:pt x="58" y="88"/>
                  </a:cubicBezTo>
                  <a:cubicBezTo>
                    <a:pt x="59" y="91"/>
                    <a:pt x="59" y="91"/>
                    <a:pt x="59" y="91"/>
                  </a:cubicBezTo>
                  <a:cubicBezTo>
                    <a:pt x="59" y="93"/>
                    <a:pt x="59" y="95"/>
                    <a:pt x="59" y="97"/>
                  </a:cubicBezTo>
                  <a:cubicBezTo>
                    <a:pt x="59" y="99"/>
                    <a:pt x="60" y="100"/>
                    <a:pt x="60" y="101"/>
                  </a:cubicBezTo>
                  <a:cubicBezTo>
                    <a:pt x="60" y="103"/>
                    <a:pt x="61" y="104"/>
                    <a:pt x="60" y="106"/>
                  </a:cubicBezTo>
                  <a:cubicBezTo>
                    <a:pt x="60" y="107"/>
                    <a:pt x="59" y="107"/>
                    <a:pt x="59" y="108"/>
                  </a:cubicBezTo>
                  <a:cubicBezTo>
                    <a:pt x="59" y="109"/>
                    <a:pt x="58" y="109"/>
                    <a:pt x="58" y="110"/>
                  </a:cubicBezTo>
                  <a:cubicBezTo>
                    <a:pt x="58" y="111"/>
                    <a:pt x="58" y="112"/>
                    <a:pt x="58" y="113"/>
                  </a:cubicBezTo>
                  <a:cubicBezTo>
                    <a:pt x="58" y="114"/>
                    <a:pt x="58" y="114"/>
                    <a:pt x="58" y="115"/>
                  </a:cubicBezTo>
                  <a:cubicBezTo>
                    <a:pt x="58" y="116"/>
                    <a:pt x="58" y="117"/>
                    <a:pt x="58" y="118"/>
                  </a:cubicBezTo>
                  <a:cubicBezTo>
                    <a:pt x="58" y="122"/>
                    <a:pt x="57" y="126"/>
                    <a:pt x="58" y="130"/>
                  </a:cubicBezTo>
                  <a:cubicBezTo>
                    <a:pt x="58" y="131"/>
                    <a:pt x="59" y="132"/>
                    <a:pt x="59" y="133"/>
                  </a:cubicBezTo>
                  <a:cubicBezTo>
                    <a:pt x="59" y="133"/>
                    <a:pt x="59" y="133"/>
                    <a:pt x="60" y="134"/>
                  </a:cubicBezTo>
                  <a:cubicBezTo>
                    <a:pt x="61" y="137"/>
                    <a:pt x="60" y="139"/>
                    <a:pt x="58" y="141"/>
                  </a:cubicBezTo>
                  <a:cubicBezTo>
                    <a:pt x="56" y="144"/>
                    <a:pt x="56" y="147"/>
                    <a:pt x="56" y="149"/>
                  </a:cubicBezTo>
                  <a:cubicBezTo>
                    <a:pt x="56" y="151"/>
                    <a:pt x="56" y="152"/>
                    <a:pt x="57" y="153"/>
                  </a:cubicBezTo>
                  <a:cubicBezTo>
                    <a:pt x="57" y="154"/>
                    <a:pt x="58" y="156"/>
                    <a:pt x="58" y="156"/>
                  </a:cubicBezTo>
                  <a:cubicBezTo>
                    <a:pt x="57" y="157"/>
                    <a:pt x="56" y="157"/>
                    <a:pt x="55" y="157"/>
                  </a:cubicBezTo>
                  <a:cubicBezTo>
                    <a:pt x="49" y="157"/>
                    <a:pt x="49" y="157"/>
                    <a:pt x="49" y="157"/>
                  </a:cubicBezTo>
                  <a:cubicBezTo>
                    <a:pt x="43" y="157"/>
                    <a:pt x="38" y="157"/>
                    <a:pt x="32" y="157"/>
                  </a:cubicBezTo>
                  <a:cubicBezTo>
                    <a:pt x="1" y="157"/>
                    <a:pt x="1" y="157"/>
                    <a:pt x="1" y="157"/>
                  </a:cubicBezTo>
                  <a:cubicBezTo>
                    <a:pt x="0" y="262"/>
                    <a:pt x="0" y="262"/>
                    <a:pt x="0" y="262"/>
                  </a:cubicBezTo>
                  <a:cubicBezTo>
                    <a:pt x="1" y="262"/>
                    <a:pt x="1" y="262"/>
                    <a:pt x="1" y="262"/>
                  </a:cubicBezTo>
                  <a:cubicBezTo>
                    <a:pt x="4" y="265"/>
                    <a:pt x="4" y="269"/>
                    <a:pt x="4" y="271"/>
                  </a:cubicBezTo>
                  <a:cubicBezTo>
                    <a:pt x="4" y="272"/>
                    <a:pt x="4" y="272"/>
                    <a:pt x="4" y="272"/>
                  </a:cubicBezTo>
                  <a:cubicBezTo>
                    <a:pt x="38" y="309"/>
                    <a:pt x="38" y="309"/>
                    <a:pt x="38" y="309"/>
                  </a:cubicBezTo>
                  <a:cubicBezTo>
                    <a:pt x="40" y="308"/>
                    <a:pt x="40" y="308"/>
                    <a:pt x="40" y="308"/>
                  </a:cubicBezTo>
                  <a:cubicBezTo>
                    <a:pt x="41" y="308"/>
                    <a:pt x="42" y="308"/>
                    <a:pt x="43" y="308"/>
                  </a:cubicBezTo>
                  <a:cubicBezTo>
                    <a:pt x="45" y="307"/>
                    <a:pt x="47" y="307"/>
                    <a:pt x="50" y="307"/>
                  </a:cubicBezTo>
                  <a:cubicBezTo>
                    <a:pt x="50" y="307"/>
                    <a:pt x="50" y="307"/>
                    <a:pt x="50" y="307"/>
                  </a:cubicBezTo>
                  <a:cubicBezTo>
                    <a:pt x="52" y="307"/>
                    <a:pt x="54" y="307"/>
                    <a:pt x="55" y="306"/>
                  </a:cubicBezTo>
                  <a:cubicBezTo>
                    <a:pt x="57" y="306"/>
                    <a:pt x="58" y="306"/>
                    <a:pt x="59" y="306"/>
                  </a:cubicBezTo>
                  <a:cubicBezTo>
                    <a:pt x="61" y="306"/>
                    <a:pt x="63" y="306"/>
                    <a:pt x="65" y="305"/>
                  </a:cubicBezTo>
                  <a:cubicBezTo>
                    <a:pt x="66" y="305"/>
                    <a:pt x="68" y="305"/>
                    <a:pt x="69" y="305"/>
                  </a:cubicBezTo>
                  <a:cubicBezTo>
                    <a:pt x="71" y="305"/>
                    <a:pt x="72" y="305"/>
                    <a:pt x="74" y="305"/>
                  </a:cubicBezTo>
                  <a:cubicBezTo>
                    <a:pt x="75" y="306"/>
                    <a:pt x="75" y="306"/>
                    <a:pt x="75" y="306"/>
                  </a:cubicBezTo>
                  <a:cubicBezTo>
                    <a:pt x="75" y="306"/>
                    <a:pt x="76" y="306"/>
                    <a:pt x="76" y="306"/>
                  </a:cubicBezTo>
                  <a:cubicBezTo>
                    <a:pt x="77" y="306"/>
                    <a:pt x="77" y="306"/>
                    <a:pt x="77" y="306"/>
                  </a:cubicBezTo>
                  <a:cubicBezTo>
                    <a:pt x="78" y="306"/>
                    <a:pt x="78" y="306"/>
                    <a:pt x="79" y="306"/>
                  </a:cubicBezTo>
                  <a:cubicBezTo>
                    <a:pt x="79" y="306"/>
                    <a:pt x="80" y="306"/>
                    <a:pt x="80" y="306"/>
                  </a:cubicBezTo>
                  <a:cubicBezTo>
                    <a:pt x="81" y="306"/>
                    <a:pt x="81" y="306"/>
                    <a:pt x="82" y="307"/>
                  </a:cubicBezTo>
                  <a:cubicBezTo>
                    <a:pt x="82" y="307"/>
                    <a:pt x="83" y="308"/>
                    <a:pt x="83" y="308"/>
                  </a:cubicBezTo>
                  <a:cubicBezTo>
                    <a:pt x="84" y="308"/>
                    <a:pt x="85" y="308"/>
                    <a:pt x="85" y="309"/>
                  </a:cubicBezTo>
                  <a:cubicBezTo>
                    <a:pt x="86" y="309"/>
                    <a:pt x="87" y="309"/>
                    <a:pt x="87" y="309"/>
                  </a:cubicBezTo>
                  <a:cubicBezTo>
                    <a:pt x="89" y="310"/>
                    <a:pt x="90" y="311"/>
                    <a:pt x="90" y="312"/>
                  </a:cubicBezTo>
                  <a:cubicBezTo>
                    <a:pt x="90" y="313"/>
                    <a:pt x="90" y="313"/>
                    <a:pt x="90" y="313"/>
                  </a:cubicBezTo>
                  <a:cubicBezTo>
                    <a:pt x="91" y="313"/>
                    <a:pt x="91" y="313"/>
                    <a:pt x="91" y="313"/>
                  </a:cubicBezTo>
                  <a:cubicBezTo>
                    <a:pt x="93" y="314"/>
                    <a:pt x="94" y="315"/>
                    <a:pt x="96" y="316"/>
                  </a:cubicBezTo>
                  <a:cubicBezTo>
                    <a:pt x="97" y="317"/>
                    <a:pt x="97" y="317"/>
                    <a:pt x="97" y="317"/>
                  </a:cubicBezTo>
                  <a:cubicBezTo>
                    <a:pt x="98" y="317"/>
                    <a:pt x="99" y="318"/>
                    <a:pt x="100" y="318"/>
                  </a:cubicBezTo>
                  <a:cubicBezTo>
                    <a:pt x="100" y="318"/>
                    <a:pt x="100" y="318"/>
                    <a:pt x="100" y="318"/>
                  </a:cubicBezTo>
                  <a:cubicBezTo>
                    <a:pt x="101" y="318"/>
                    <a:pt x="101" y="318"/>
                    <a:pt x="101" y="318"/>
                  </a:cubicBezTo>
                  <a:cubicBezTo>
                    <a:pt x="101" y="318"/>
                    <a:pt x="101" y="318"/>
                    <a:pt x="101" y="318"/>
                  </a:cubicBezTo>
                  <a:cubicBezTo>
                    <a:pt x="101" y="318"/>
                    <a:pt x="101" y="317"/>
                    <a:pt x="101" y="317"/>
                  </a:cubicBezTo>
                  <a:cubicBezTo>
                    <a:pt x="102" y="317"/>
                    <a:pt x="102" y="316"/>
                    <a:pt x="103" y="316"/>
                  </a:cubicBezTo>
                  <a:cubicBezTo>
                    <a:pt x="103" y="316"/>
                    <a:pt x="104" y="316"/>
                    <a:pt x="104" y="316"/>
                  </a:cubicBezTo>
                  <a:cubicBezTo>
                    <a:pt x="106" y="316"/>
                    <a:pt x="107" y="318"/>
                    <a:pt x="109" y="319"/>
                  </a:cubicBezTo>
                  <a:cubicBezTo>
                    <a:pt x="110" y="321"/>
                    <a:pt x="111" y="323"/>
                    <a:pt x="114" y="323"/>
                  </a:cubicBezTo>
                  <a:cubicBezTo>
                    <a:pt x="115" y="323"/>
                    <a:pt x="117" y="322"/>
                    <a:pt x="118" y="321"/>
                  </a:cubicBezTo>
                  <a:cubicBezTo>
                    <a:pt x="119" y="320"/>
                    <a:pt x="121" y="319"/>
                    <a:pt x="122" y="319"/>
                  </a:cubicBezTo>
                  <a:cubicBezTo>
                    <a:pt x="123" y="319"/>
                    <a:pt x="123" y="319"/>
                    <a:pt x="123" y="319"/>
                  </a:cubicBezTo>
                  <a:cubicBezTo>
                    <a:pt x="125" y="319"/>
                    <a:pt x="127" y="320"/>
                    <a:pt x="128" y="322"/>
                  </a:cubicBezTo>
                  <a:cubicBezTo>
                    <a:pt x="130" y="323"/>
                    <a:pt x="131" y="325"/>
                    <a:pt x="134" y="325"/>
                  </a:cubicBezTo>
                  <a:cubicBezTo>
                    <a:pt x="134" y="325"/>
                    <a:pt x="134" y="325"/>
                    <a:pt x="134" y="325"/>
                  </a:cubicBezTo>
                  <a:cubicBezTo>
                    <a:pt x="135" y="325"/>
                    <a:pt x="136" y="324"/>
                    <a:pt x="137" y="323"/>
                  </a:cubicBezTo>
                  <a:cubicBezTo>
                    <a:pt x="138" y="323"/>
                    <a:pt x="138" y="323"/>
                    <a:pt x="138" y="322"/>
                  </a:cubicBezTo>
                  <a:cubicBezTo>
                    <a:pt x="139" y="322"/>
                    <a:pt x="141" y="321"/>
                    <a:pt x="142" y="321"/>
                  </a:cubicBezTo>
                  <a:cubicBezTo>
                    <a:pt x="143" y="320"/>
                    <a:pt x="144" y="320"/>
                    <a:pt x="145" y="320"/>
                  </a:cubicBezTo>
                  <a:cubicBezTo>
                    <a:pt x="148" y="318"/>
                    <a:pt x="150" y="314"/>
                    <a:pt x="152" y="311"/>
                  </a:cubicBezTo>
                  <a:cubicBezTo>
                    <a:pt x="152" y="310"/>
                    <a:pt x="153" y="309"/>
                    <a:pt x="153" y="309"/>
                  </a:cubicBezTo>
                  <a:cubicBezTo>
                    <a:pt x="154" y="307"/>
                    <a:pt x="156" y="306"/>
                    <a:pt x="157" y="304"/>
                  </a:cubicBezTo>
                  <a:cubicBezTo>
                    <a:pt x="159" y="302"/>
                    <a:pt x="161" y="299"/>
                    <a:pt x="162" y="296"/>
                  </a:cubicBezTo>
                  <a:cubicBezTo>
                    <a:pt x="162" y="296"/>
                    <a:pt x="163" y="295"/>
                    <a:pt x="163" y="294"/>
                  </a:cubicBezTo>
                  <a:cubicBezTo>
                    <a:pt x="164" y="293"/>
                    <a:pt x="164" y="291"/>
                    <a:pt x="165" y="290"/>
                  </a:cubicBezTo>
                  <a:cubicBezTo>
                    <a:pt x="167" y="288"/>
                    <a:pt x="168" y="287"/>
                    <a:pt x="170" y="286"/>
                  </a:cubicBezTo>
                  <a:cubicBezTo>
                    <a:pt x="170" y="286"/>
                    <a:pt x="171" y="286"/>
                    <a:pt x="172" y="285"/>
                  </a:cubicBezTo>
                  <a:cubicBezTo>
                    <a:pt x="173" y="284"/>
                    <a:pt x="175" y="283"/>
                    <a:pt x="177" y="282"/>
                  </a:cubicBezTo>
                  <a:cubicBezTo>
                    <a:pt x="178" y="281"/>
                    <a:pt x="181" y="279"/>
                    <a:pt x="183" y="278"/>
                  </a:cubicBezTo>
                  <a:cubicBezTo>
                    <a:pt x="187" y="276"/>
                    <a:pt x="191" y="274"/>
                    <a:pt x="194" y="273"/>
                  </a:cubicBezTo>
                  <a:cubicBezTo>
                    <a:pt x="199" y="271"/>
                    <a:pt x="199" y="268"/>
                    <a:pt x="198" y="264"/>
                  </a:cubicBezTo>
                  <a:cubicBezTo>
                    <a:pt x="198" y="262"/>
                    <a:pt x="198" y="261"/>
                    <a:pt x="198" y="259"/>
                  </a:cubicBezTo>
                  <a:cubicBezTo>
                    <a:pt x="199" y="257"/>
                    <a:pt x="200" y="256"/>
                    <a:pt x="202" y="255"/>
                  </a:cubicBezTo>
                  <a:cubicBezTo>
                    <a:pt x="202" y="255"/>
                    <a:pt x="203" y="254"/>
                    <a:pt x="203" y="254"/>
                  </a:cubicBezTo>
                  <a:cubicBezTo>
                    <a:pt x="204" y="253"/>
                    <a:pt x="205" y="252"/>
                    <a:pt x="206" y="251"/>
                  </a:cubicBezTo>
                  <a:cubicBezTo>
                    <a:pt x="209" y="248"/>
                    <a:pt x="212" y="246"/>
                    <a:pt x="216" y="246"/>
                  </a:cubicBezTo>
                  <a:cubicBezTo>
                    <a:pt x="218" y="246"/>
                    <a:pt x="218" y="246"/>
                    <a:pt x="218" y="246"/>
                  </a:cubicBezTo>
                  <a:cubicBezTo>
                    <a:pt x="220" y="246"/>
                    <a:pt x="222" y="245"/>
                    <a:pt x="224" y="245"/>
                  </a:cubicBezTo>
                  <a:cubicBezTo>
                    <a:pt x="226" y="244"/>
                    <a:pt x="227" y="244"/>
                    <a:pt x="229" y="244"/>
                  </a:cubicBezTo>
                  <a:cubicBezTo>
                    <a:pt x="230" y="244"/>
                    <a:pt x="231" y="244"/>
                    <a:pt x="233" y="244"/>
                  </a:cubicBezTo>
                  <a:cubicBezTo>
                    <a:pt x="233" y="244"/>
                    <a:pt x="233" y="244"/>
                    <a:pt x="234" y="244"/>
                  </a:cubicBezTo>
                  <a:cubicBezTo>
                    <a:pt x="234" y="244"/>
                    <a:pt x="235" y="244"/>
                    <a:pt x="236" y="244"/>
                  </a:cubicBezTo>
                  <a:cubicBezTo>
                    <a:pt x="236" y="244"/>
                    <a:pt x="237" y="244"/>
                    <a:pt x="237" y="244"/>
                  </a:cubicBezTo>
                  <a:cubicBezTo>
                    <a:pt x="238" y="244"/>
                    <a:pt x="239" y="244"/>
                    <a:pt x="240" y="244"/>
                  </a:cubicBezTo>
                  <a:cubicBezTo>
                    <a:pt x="242" y="245"/>
                    <a:pt x="242" y="245"/>
                    <a:pt x="242" y="245"/>
                  </a:cubicBezTo>
                  <a:cubicBezTo>
                    <a:pt x="242" y="240"/>
                    <a:pt x="242" y="240"/>
                    <a:pt x="242" y="240"/>
                  </a:cubicBezTo>
                  <a:cubicBezTo>
                    <a:pt x="242" y="237"/>
                    <a:pt x="241" y="234"/>
                    <a:pt x="239" y="231"/>
                  </a:cubicBezTo>
                  <a:cubicBezTo>
                    <a:pt x="238" y="230"/>
                    <a:pt x="236" y="225"/>
                    <a:pt x="237" y="224"/>
                  </a:cubicBezTo>
                  <a:cubicBezTo>
                    <a:pt x="237" y="224"/>
                    <a:pt x="238" y="224"/>
                    <a:pt x="238" y="224"/>
                  </a:cubicBezTo>
                  <a:cubicBezTo>
                    <a:pt x="239" y="224"/>
                    <a:pt x="239" y="224"/>
                    <a:pt x="239" y="224"/>
                  </a:cubicBezTo>
                  <a:cubicBezTo>
                    <a:pt x="318" y="192"/>
                    <a:pt x="318" y="192"/>
                    <a:pt x="318" y="192"/>
                  </a:cubicBezTo>
                  <a:cubicBezTo>
                    <a:pt x="316" y="190"/>
                    <a:pt x="316" y="190"/>
                    <a:pt x="316" y="190"/>
                  </a:cubicBezTo>
                  <a:cubicBezTo>
                    <a:pt x="315" y="189"/>
                    <a:pt x="315" y="188"/>
                    <a:pt x="314" y="187"/>
                  </a:cubicBezTo>
                  <a:cubicBezTo>
                    <a:pt x="314" y="186"/>
                    <a:pt x="314" y="186"/>
                    <a:pt x="313" y="185"/>
                  </a:cubicBezTo>
                  <a:cubicBezTo>
                    <a:pt x="313" y="184"/>
                    <a:pt x="313" y="183"/>
                    <a:pt x="312" y="183"/>
                  </a:cubicBezTo>
                  <a:cubicBezTo>
                    <a:pt x="311" y="181"/>
                    <a:pt x="310" y="179"/>
                    <a:pt x="311" y="176"/>
                  </a:cubicBezTo>
                  <a:cubicBezTo>
                    <a:pt x="311" y="175"/>
                    <a:pt x="313" y="174"/>
                    <a:pt x="314" y="173"/>
                  </a:cubicBezTo>
                  <a:cubicBezTo>
                    <a:pt x="315" y="172"/>
                    <a:pt x="316" y="170"/>
                    <a:pt x="317" y="169"/>
                  </a:cubicBezTo>
                  <a:cubicBezTo>
                    <a:pt x="320" y="163"/>
                    <a:pt x="319" y="159"/>
                    <a:pt x="319" y="154"/>
                  </a:cubicBezTo>
                  <a:cubicBezTo>
                    <a:pt x="319" y="152"/>
                    <a:pt x="318" y="149"/>
                    <a:pt x="318" y="147"/>
                  </a:cubicBezTo>
                  <a:cubicBezTo>
                    <a:pt x="320" y="145"/>
                    <a:pt x="323" y="145"/>
                    <a:pt x="325" y="144"/>
                  </a:cubicBezTo>
                  <a:cubicBezTo>
                    <a:pt x="330" y="143"/>
                    <a:pt x="334" y="142"/>
                    <a:pt x="335" y="137"/>
                  </a:cubicBezTo>
                  <a:cubicBezTo>
                    <a:pt x="336" y="136"/>
                    <a:pt x="336" y="136"/>
                    <a:pt x="336" y="136"/>
                  </a:cubicBezTo>
                  <a:cubicBezTo>
                    <a:pt x="335" y="135"/>
                    <a:pt x="335" y="135"/>
                    <a:pt x="335" y="135"/>
                  </a:cubicBezTo>
                  <a:cubicBezTo>
                    <a:pt x="334" y="134"/>
                    <a:pt x="332" y="134"/>
                    <a:pt x="331" y="133"/>
                  </a:cubicBezTo>
                  <a:cubicBezTo>
                    <a:pt x="329" y="132"/>
                    <a:pt x="327" y="131"/>
                    <a:pt x="327" y="127"/>
                  </a:cubicBezTo>
                  <a:cubicBezTo>
                    <a:pt x="327" y="125"/>
                    <a:pt x="328" y="122"/>
                    <a:pt x="328" y="120"/>
                  </a:cubicBezTo>
                  <a:cubicBezTo>
                    <a:pt x="329" y="117"/>
                    <a:pt x="329" y="114"/>
                    <a:pt x="329" y="111"/>
                  </a:cubicBezTo>
                  <a:cubicBezTo>
                    <a:pt x="329" y="110"/>
                    <a:pt x="329" y="109"/>
                    <a:pt x="329" y="108"/>
                  </a:cubicBezTo>
                  <a:cubicBezTo>
                    <a:pt x="328" y="107"/>
                    <a:pt x="328" y="105"/>
                    <a:pt x="329" y="103"/>
                  </a:cubicBezTo>
                  <a:cubicBezTo>
                    <a:pt x="329" y="102"/>
                    <a:pt x="329" y="101"/>
                    <a:pt x="330" y="101"/>
                  </a:cubicBezTo>
                  <a:cubicBezTo>
                    <a:pt x="330" y="99"/>
                    <a:pt x="331" y="98"/>
                    <a:pt x="331" y="96"/>
                  </a:cubicBezTo>
                  <a:cubicBezTo>
                    <a:pt x="331" y="94"/>
                    <a:pt x="329" y="93"/>
                    <a:pt x="329" y="91"/>
                  </a:cubicBezTo>
                  <a:cubicBezTo>
                    <a:pt x="328" y="90"/>
                    <a:pt x="327" y="89"/>
                    <a:pt x="327" y="88"/>
                  </a:cubicBezTo>
                  <a:cubicBezTo>
                    <a:pt x="328" y="88"/>
                    <a:pt x="328" y="87"/>
                    <a:pt x="330" y="86"/>
                  </a:cubicBezTo>
                  <a:cubicBezTo>
                    <a:pt x="331" y="85"/>
                    <a:pt x="332" y="84"/>
                    <a:pt x="333" y="84"/>
                  </a:cubicBezTo>
                  <a:cubicBezTo>
                    <a:pt x="337" y="82"/>
                    <a:pt x="340" y="81"/>
                    <a:pt x="340" y="76"/>
                  </a:cubicBezTo>
                  <a:cubicBezTo>
                    <a:pt x="341" y="75"/>
                    <a:pt x="341" y="75"/>
                    <a:pt x="341" y="75"/>
                  </a:cubicBezTo>
                  <a:lnTo>
                    <a:pt x="339" y="74"/>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56" name="Freeform 56">
              <a:extLst>
                <a:ext uri="{FF2B5EF4-FFF2-40B4-BE49-F238E27FC236}">
                  <a16:creationId xmlns:a16="http://schemas.microsoft.com/office/drawing/2014/main" id="{C32AF89C-DA66-42E0-92EE-6B89688C5866}"/>
                </a:ext>
              </a:extLst>
            </p:cNvPr>
            <p:cNvSpPr>
              <a:spLocks/>
            </p:cNvSpPr>
            <p:nvPr/>
          </p:nvSpPr>
          <p:spPr bwMode="auto">
            <a:xfrm>
              <a:off x="3448610" y="3483286"/>
              <a:ext cx="453105" cy="419159"/>
            </a:xfrm>
            <a:custGeom>
              <a:avLst/>
              <a:gdLst>
                <a:gd name="T0" fmla="*/ 223 w 224"/>
                <a:gd name="T1" fmla="*/ 52 h 225"/>
                <a:gd name="T2" fmla="*/ 221 w 224"/>
                <a:gd name="T3" fmla="*/ 41 h 225"/>
                <a:gd name="T4" fmla="*/ 211 w 224"/>
                <a:gd name="T5" fmla="*/ 28 h 225"/>
                <a:gd name="T6" fmla="*/ 199 w 224"/>
                <a:gd name="T7" fmla="*/ 27 h 225"/>
                <a:gd name="T8" fmla="*/ 182 w 224"/>
                <a:gd name="T9" fmla="*/ 18 h 225"/>
                <a:gd name="T10" fmla="*/ 173 w 224"/>
                <a:gd name="T11" fmla="*/ 13 h 225"/>
                <a:gd name="T12" fmla="*/ 149 w 224"/>
                <a:gd name="T13" fmla="*/ 0 h 225"/>
                <a:gd name="T14" fmla="*/ 142 w 224"/>
                <a:gd name="T15" fmla="*/ 0 h 225"/>
                <a:gd name="T16" fmla="*/ 132 w 224"/>
                <a:gd name="T17" fmla="*/ 0 h 225"/>
                <a:gd name="T18" fmla="*/ 115 w 224"/>
                <a:gd name="T19" fmla="*/ 6 h 225"/>
                <a:gd name="T20" fmla="*/ 109 w 224"/>
                <a:gd name="T21" fmla="*/ 11 h 225"/>
                <a:gd name="T22" fmla="*/ 102 w 224"/>
                <a:gd name="T23" fmla="*/ 28 h 225"/>
                <a:gd name="T24" fmla="*/ 79 w 224"/>
                <a:gd name="T25" fmla="*/ 41 h 225"/>
                <a:gd name="T26" fmla="*/ 71 w 224"/>
                <a:gd name="T27" fmla="*/ 50 h 225"/>
                <a:gd name="T28" fmla="*/ 61 w 224"/>
                <a:gd name="T29" fmla="*/ 65 h 225"/>
                <a:gd name="T30" fmla="*/ 50 w 224"/>
                <a:gd name="T31" fmla="*/ 76 h 225"/>
                <a:gd name="T32" fmla="*/ 42 w 224"/>
                <a:gd name="T33" fmla="*/ 81 h 225"/>
                <a:gd name="T34" fmla="*/ 31 w 224"/>
                <a:gd name="T35" fmla="*/ 74 h 225"/>
                <a:gd name="T36" fmla="*/ 22 w 224"/>
                <a:gd name="T37" fmla="*/ 78 h 225"/>
                <a:gd name="T38" fmla="*/ 11 w 224"/>
                <a:gd name="T39" fmla="*/ 72 h 225"/>
                <a:gd name="T40" fmla="*/ 5 w 224"/>
                <a:gd name="T41" fmla="*/ 72 h 225"/>
                <a:gd name="T42" fmla="*/ 0 w 224"/>
                <a:gd name="T43" fmla="*/ 73 h 225"/>
                <a:gd name="T44" fmla="*/ 8 w 224"/>
                <a:gd name="T45" fmla="*/ 90 h 225"/>
                <a:gd name="T46" fmla="*/ 20 w 224"/>
                <a:gd name="T47" fmla="*/ 109 h 225"/>
                <a:gd name="T48" fmla="*/ 28 w 224"/>
                <a:gd name="T49" fmla="*/ 129 h 225"/>
                <a:gd name="T50" fmla="*/ 32 w 224"/>
                <a:gd name="T51" fmla="*/ 135 h 225"/>
                <a:gd name="T52" fmla="*/ 42 w 224"/>
                <a:gd name="T53" fmla="*/ 142 h 225"/>
                <a:gd name="T54" fmla="*/ 50 w 224"/>
                <a:gd name="T55" fmla="*/ 146 h 225"/>
                <a:gd name="T56" fmla="*/ 57 w 224"/>
                <a:gd name="T57" fmla="*/ 161 h 225"/>
                <a:gd name="T58" fmla="*/ 68 w 224"/>
                <a:gd name="T59" fmla="*/ 170 h 225"/>
                <a:gd name="T60" fmla="*/ 70 w 224"/>
                <a:gd name="T61" fmla="*/ 185 h 225"/>
                <a:gd name="T62" fmla="*/ 76 w 224"/>
                <a:gd name="T63" fmla="*/ 194 h 225"/>
                <a:gd name="T64" fmla="*/ 83 w 224"/>
                <a:gd name="T65" fmla="*/ 198 h 225"/>
                <a:gd name="T66" fmla="*/ 97 w 224"/>
                <a:gd name="T67" fmla="*/ 200 h 225"/>
                <a:gd name="T68" fmla="*/ 105 w 224"/>
                <a:gd name="T69" fmla="*/ 208 h 225"/>
                <a:gd name="T70" fmla="*/ 108 w 224"/>
                <a:gd name="T71" fmla="*/ 212 h 225"/>
                <a:gd name="T72" fmla="*/ 109 w 224"/>
                <a:gd name="T73" fmla="*/ 214 h 225"/>
                <a:gd name="T74" fmla="*/ 118 w 224"/>
                <a:gd name="T75" fmla="*/ 217 h 225"/>
                <a:gd name="T76" fmla="*/ 130 w 224"/>
                <a:gd name="T77" fmla="*/ 217 h 225"/>
                <a:gd name="T78" fmla="*/ 144 w 224"/>
                <a:gd name="T79" fmla="*/ 222 h 225"/>
                <a:gd name="T80" fmla="*/ 158 w 224"/>
                <a:gd name="T81" fmla="*/ 220 h 225"/>
                <a:gd name="T82" fmla="*/ 170 w 224"/>
                <a:gd name="T83" fmla="*/ 225 h 225"/>
                <a:gd name="T84" fmla="*/ 202 w 224"/>
                <a:gd name="T85" fmla="*/ 191 h 225"/>
                <a:gd name="T86" fmla="*/ 204 w 224"/>
                <a:gd name="T87" fmla="*/ 180 h 225"/>
                <a:gd name="T88" fmla="*/ 206 w 224"/>
                <a:gd name="T89" fmla="*/ 167 h 225"/>
                <a:gd name="T90" fmla="*/ 213 w 224"/>
                <a:gd name="T91" fmla="*/ 160 h 225"/>
                <a:gd name="T92" fmla="*/ 223 w 224"/>
                <a:gd name="T93" fmla="*/ 140 h 225"/>
                <a:gd name="T94" fmla="*/ 218 w 224"/>
                <a:gd name="T95" fmla="*/ 120 h 225"/>
                <a:gd name="T96" fmla="*/ 216 w 224"/>
                <a:gd name="T97" fmla="*/ 111 h 225"/>
                <a:gd name="T98" fmla="*/ 219 w 224"/>
                <a:gd name="T99" fmla="*/ 104 h 225"/>
                <a:gd name="T100" fmla="*/ 221 w 224"/>
                <a:gd name="T101" fmla="*/ 95 h 225"/>
                <a:gd name="T102" fmla="*/ 223 w 224"/>
                <a:gd name="T103" fmla="*/ 8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4" h="225">
                  <a:moveTo>
                    <a:pt x="223" y="62"/>
                  </a:moveTo>
                  <a:cubicBezTo>
                    <a:pt x="223" y="61"/>
                    <a:pt x="224" y="60"/>
                    <a:pt x="224" y="59"/>
                  </a:cubicBezTo>
                  <a:cubicBezTo>
                    <a:pt x="224" y="57"/>
                    <a:pt x="224" y="55"/>
                    <a:pt x="223" y="52"/>
                  </a:cubicBezTo>
                  <a:cubicBezTo>
                    <a:pt x="223" y="51"/>
                    <a:pt x="222" y="50"/>
                    <a:pt x="222" y="49"/>
                  </a:cubicBezTo>
                  <a:cubicBezTo>
                    <a:pt x="221" y="47"/>
                    <a:pt x="220" y="46"/>
                    <a:pt x="221" y="43"/>
                  </a:cubicBezTo>
                  <a:cubicBezTo>
                    <a:pt x="221" y="42"/>
                    <a:pt x="221" y="41"/>
                    <a:pt x="221" y="41"/>
                  </a:cubicBezTo>
                  <a:cubicBezTo>
                    <a:pt x="222" y="37"/>
                    <a:pt x="221" y="37"/>
                    <a:pt x="219" y="35"/>
                  </a:cubicBezTo>
                  <a:cubicBezTo>
                    <a:pt x="217" y="34"/>
                    <a:pt x="216" y="33"/>
                    <a:pt x="215" y="32"/>
                  </a:cubicBezTo>
                  <a:cubicBezTo>
                    <a:pt x="214" y="31"/>
                    <a:pt x="212" y="29"/>
                    <a:pt x="211" y="28"/>
                  </a:cubicBezTo>
                  <a:cubicBezTo>
                    <a:pt x="209" y="28"/>
                    <a:pt x="207" y="27"/>
                    <a:pt x="205" y="27"/>
                  </a:cubicBezTo>
                  <a:cubicBezTo>
                    <a:pt x="204" y="27"/>
                    <a:pt x="203" y="27"/>
                    <a:pt x="202" y="27"/>
                  </a:cubicBezTo>
                  <a:cubicBezTo>
                    <a:pt x="201" y="27"/>
                    <a:pt x="200" y="27"/>
                    <a:pt x="199" y="27"/>
                  </a:cubicBezTo>
                  <a:cubicBezTo>
                    <a:pt x="196" y="27"/>
                    <a:pt x="195" y="26"/>
                    <a:pt x="193" y="24"/>
                  </a:cubicBezTo>
                  <a:cubicBezTo>
                    <a:pt x="192" y="23"/>
                    <a:pt x="192" y="23"/>
                    <a:pt x="192" y="23"/>
                  </a:cubicBezTo>
                  <a:cubicBezTo>
                    <a:pt x="189" y="19"/>
                    <a:pt x="186" y="18"/>
                    <a:pt x="182" y="18"/>
                  </a:cubicBezTo>
                  <a:cubicBezTo>
                    <a:pt x="179" y="17"/>
                    <a:pt x="178" y="16"/>
                    <a:pt x="176" y="15"/>
                  </a:cubicBezTo>
                  <a:cubicBezTo>
                    <a:pt x="175" y="14"/>
                    <a:pt x="174" y="14"/>
                    <a:pt x="173" y="13"/>
                  </a:cubicBezTo>
                  <a:cubicBezTo>
                    <a:pt x="173" y="13"/>
                    <a:pt x="173" y="13"/>
                    <a:pt x="173" y="13"/>
                  </a:cubicBezTo>
                  <a:cubicBezTo>
                    <a:pt x="152" y="13"/>
                    <a:pt x="152" y="13"/>
                    <a:pt x="152" y="13"/>
                  </a:cubicBezTo>
                  <a:cubicBezTo>
                    <a:pt x="150" y="1"/>
                    <a:pt x="150" y="1"/>
                    <a:pt x="150" y="1"/>
                  </a:cubicBezTo>
                  <a:cubicBezTo>
                    <a:pt x="149" y="0"/>
                    <a:pt x="149" y="0"/>
                    <a:pt x="149" y="0"/>
                  </a:cubicBezTo>
                  <a:cubicBezTo>
                    <a:pt x="148" y="0"/>
                    <a:pt x="147" y="0"/>
                    <a:pt x="146" y="0"/>
                  </a:cubicBezTo>
                  <a:cubicBezTo>
                    <a:pt x="145" y="0"/>
                    <a:pt x="144" y="0"/>
                    <a:pt x="144" y="0"/>
                  </a:cubicBezTo>
                  <a:cubicBezTo>
                    <a:pt x="143" y="0"/>
                    <a:pt x="142" y="0"/>
                    <a:pt x="142" y="0"/>
                  </a:cubicBezTo>
                  <a:cubicBezTo>
                    <a:pt x="141" y="0"/>
                    <a:pt x="141" y="0"/>
                    <a:pt x="141" y="0"/>
                  </a:cubicBezTo>
                  <a:cubicBezTo>
                    <a:pt x="139" y="0"/>
                    <a:pt x="138" y="0"/>
                    <a:pt x="137" y="0"/>
                  </a:cubicBezTo>
                  <a:cubicBezTo>
                    <a:pt x="135" y="0"/>
                    <a:pt x="134" y="0"/>
                    <a:pt x="132" y="0"/>
                  </a:cubicBezTo>
                  <a:cubicBezTo>
                    <a:pt x="129" y="1"/>
                    <a:pt x="128" y="1"/>
                    <a:pt x="126" y="1"/>
                  </a:cubicBezTo>
                  <a:cubicBezTo>
                    <a:pt x="124" y="1"/>
                    <a:pt x="124" y="1"/>
                    <a:pt x="124" y="1"/>
                  </a:cubicBezTo>
                  <a:cubicBezTo>
                    <a:pt x="120" y="1"/>
                    <a:pt x="117" y="4"/>
                    <a:pt x="115" y="6"/>
                  </a:cubicBezTo>
                  <a:cubicBezTo>
                    <a:pt x="114" y="7"/>
                    <a:pt x="114" y="7"/>
                    <a:pt x="114" y="7"/>
                  </a:cubicBezTo>
                  <a:cubicBezTo>
                    <a:pt x="113" y="8"/>
                    <a:pt x="112" y="9"/>
                    <a:pt x="111" y="10"/>
                  </a:cubicBezTo>
                  <a:cubicBezTo>
                    <a:pt x="110" y="10"/>
                    <a:pt x="110" y="10"/>
                    <a:pt x="109" y="11"/>
                  </a:cubicBezTo>
                  <a:cubicBezTo>
                    <a:pt x="108" y="12"/>
                    <a:pt x="106" y="13"/>
                    <a:pt x="106" y="15"/>
                  </a:cubicBezTo>
                  <a:cubicBezTo>
                    <a:pt x="106" y="17"/>
                    <a:pt x="106" y="18"/>
                    <a:pt x="106" y="20"/>
                  </a:cubicBezTo>
                  <a:cubicBezTo>
                    <a:pt x="106" y="24"/>
                    <a:pt x="106" y="27"/>
                    <a:pt x="102" y="28"/>
                  </a:cubicBezTo>
                  <a:cubicBezTo>
                    <a:pt x="99" y="29"/>
                    <a:pt x="95" y="31"/>
                    <a:pt x="91" y="34"/>
                  </a:cubicBezTo>
                  <a:cubicBezTo>
                    <a:pt x="88" y="35"/>
                    <a:pt x="86" y="36"/>
                    <a:pt x="84" y="38"/>
                  </a:cubicBezTo>
                  <a:cubicBezTo>
                    <a:pt x="83" y="39"/>
                    <a:pt x="81" y="40"/>
                    <a:pt x="79" y="41"/>
                  </a:cubicBezTo>
                  <a:cubicBezTo>
                    <a:pt x="79" y="41"/>
                    <a:pt x="78" y="42"/>
                    <a:pt x="78" y="42"/>
                  </a:cubicBezTo>
                  <a:cubicBezTo>
                    <a:pt x="76" y="43"/>
                    <a:pt x="74" y="44"/>
                    <a:pt x="73" y="46"/>
                  </a:cubicBezTo>
                  <a:cubicBezTo>
                    <a:pt x="72" y="47"/>
                    <a:pt x="71" y="49"/>
                    <a:pt x="71" y="50"/>
                  </a:cubicBezTo>
                  <a:cubicBezTo>
                    <a:pt x="70" y="51"/>
                    <a:pt x="70" y="51"/>
                    <a:pt x="70" y="52"/>
                  </a:cubicBezTo>
                  <a:cubicBezTo>
                    <a:pt x="68" y="55"/>
                    <a:pt x="67" y="57"/>
                    <a:pt x="65" y="60"/>
                  </a:cubicBezTo>
                  <a:cubicBezTo>
                    <a:pt x="63" y="61"/>
                    <a:pt x="62" y="63"/>
                    <a:pt x="61" y="65"/>
                  </a:cubicBezTo>
                  <a:cubicBezTo>
                    <a:pt x="60" y="67"/>
                    <a:pt x="60" y="67"/>
                    <a:pt x="60" y="67"/>
                  </a:cubicBezTo>
                  <a:cubicBezTo>
                    <a:pt x="58" y="70"/>
                    <a:pt x="55" y="74"/>
                    <a:pt x="52" y="75"/>
                  </a:cubicBezTo>
                  <a:cubicBezTo>
                    <a:pt x="52" y="76"/>
                    <a:pt x="51" y="76"/>
                    <a:pt x="50" y="76"/>
                  </a:cubicBezTo>
                  <a:cubicBezTo>
                    <a:pt x="49" y="77"/>
                    <a:pt x="47" y="77"/>
                    <a:pt x="46" y="78"/>
                  </a:cubicBezTo>
                  <a:cubicBezTo>
                    <a:pt x="46" y="78"/>
                    <a:pt x="45" y="79"/>
                    <a:pt x="45" y="79"/>
                  </a:cubicBezTo>
                  <a:cubicBezTo>
                    <a:pt x="44" y="80"/>
                    <a:pt x="43" y="81"/>
                    <a:pt x="42" y="81"/>
                  </a:cubicBezTo>
                  <a:cubicBezTo>
                    <a:pt x="42" y="81"/>
                    <a:pt x="42" y="81"/>
                    <a:pt x="42" y="81"/>
                  </a:cubicBezTo>
                  <a:cubicBezTo>
                    <a:pt x="39" y="80"/>
                    <a:pt x="38" y="79"/>
                    <a:pt x="36" y="77"/>
                  </a:cubicBezTo>
                  <a:cubicBezTo>
                    <a:pt x="35" y="76"/>
                    <a:pt x="33" y="74"/>
                    <a:pt x="31" y="74"/>
                  </a:cubicBezTo>
                  <a:cubicBezTo>
                    <a:pt x="30" y="74"/>
                    <a:pt x="30" y="74"/>
                    <a:pt x="30" y="74"/>
                  </a:cubicBezTo>
                  <a:cubicBezTo>
                    <a:pt x="29" y="74"/>
                    <a:pt x="27" y="75"/>
                    <a:pt x="26" y="76"/>
                  </a:cubicBezTo>
                  <a:cubicBezTo>
                    <a:pt x="24" y="78"/>
                    <a:pt x="23" y="78"/>
                    <a:pt x="22" y="78"/>
                  </a:cubicBezTo>
                  <a:cubicBezTo>
                    <a:pt x="20" y="78"/>
                    <a:pt x="19" y="77"/>
                    <a:pt x="17" y="75"/>
                  </a:cubicBezTo>
                  <a:cubicBezTo>
                    <a:pt x="16" y="73"/>
                    <a:pt x="14" y="72"/>
                    <a:pt x="12" y="72"/>
                  </a:cubicBezTo>
                  <a:cubicBezTo>
                    <a:pt x="12" y="72"/>
                    <a:pt x="11" y="72"/>
                    <a:pt x="11" y="72"/>
                  </a:cubicBezTo>
                  <a:cubicBezTo>
                    <a:pt x="10" y="72"/>
                    <a:pt x="10" y="72"/>
                    <a:pt x="9" y="73"/>
                  </a:cubicBezTo>
                  <a:cubicBezTo>
                    <a:pt x="9" y="73"/>
                    <a:pt x="8" y="73"/>
                    <a:pt x="8" y="73"/>
                  </a:cubicBezTo>
                  <a:cubicBezTo>
                    <a:pt x="7" y="73"/>
                    <a:pt x="6" y="73"/>
                    <a:pt x="5" y="72"/>
                  </a:cubicBezTo>
                  <a:cubicBezTo>
                    <a:pt x="4" y="72"/>
                    <a:pt x="4" y="72"/>
                    <a:pt x="4" y="72"/>
                  </a:cubicBezTo>
                  <a:cubicBezTo>
                    <a:pt x="0" y="69"/>
                    <a:pt x="0" y="69"/>
                    <a:pt x="0" y="69"/>
                  </a:cubicBezTo>
                  <a:cubicBezTo>
                    <a:pt x="0" y="73"/>
                    <a:pt x="0" y="73"/>
                    <a:pt x="0" y="73"/>
                  </a:cubicBezTo>
                  <a:cubicBezTo>
                    <a:pt x="0" y="74"/>
                    <a:pt x="0" y="74"/>
                    <a:pt x="0" y="75"/>
                  </a:cubicBezTo>
                  <a:cubicBezTo>
                    <a:pt x="0" y="76"/>
                    <a:pt x="0" y="78"/>
                    <a:pt x="1" y="79"/>
                  </a:cubicBezTo>
                  <a:cubicBezTo>
                    <a:pt x="3" y="83"/>
                    <a:pt x="6" y="86"/>
                    <a:pt x="8" y="90"/>
                  </a:cubicBezTo>
                  <a:cubicBezTo>
                    <a:pt x="11" y="94"/>
                    <a:pt x="14" y="99"/>
                    <a:pt x="16" y="104"/>
                  </a:cubicBezTo>
                  <a:cubicBezTo>
                    <a:pt x="17" y="105"/>
                    <a:pt x="17" y="106"/>
                    <a:pt x="18" y="106"/>
                  </a:cubicBezTo>
                  <a:cubicBezTo>
                    <a:pt x="19" y="107"/>
                    <a:pt x="19" y="108"/>
                    <a:pt x="20" y="109"/>
                  </a:cubicBezTo>
                  <a:cubicBezTo>
                    <a:pt x="20" y="110"/>
                    <a:pt x="20" y="112"/>
                    <a:pt x="20" y="113"/>
                  </a:cubicBezTo>
                  <a:cubicBezTo>
                    <a:pt x="20" y="114"/>
                    <a:pt x="20" y="116"/>
                    <a:pt x="21" y="117"/>
                  </a:cubicBezTo>
                  <a:cubicBezTo>
                    <a:pt x="22" y="122"/>
                    <a:pt x="25" y="125"/>
                    <a:pt x="28" y="129"/>
                  </a:cubicBezTo>
                  <a:cubicBezTo>
                    <a:pt x="28" y="129"/>
                    <a:pt x="28" y="129"/>
                    <a:pt x="28" y="129"/>
                  </a:cubicBezTo>
                  <a:cubicBezTo>
                    <a:pt x="29" y="130"/>
                    <a:pt x="29" y="131"/>
                    <a:pt x="30" y="132"/>
                  </a:cubicBezTo>
                  <a:cubicBezTo>
                    <a:pt x="30" y="133"/>
                    <a:pt x="31" y="134"/>
                    <a:pt x="32" y="135"/>
                  </a:cubicBezTo>
                  <a:cubicBezTo>
                    <a:pt x="33" y="136"/>
                    <a:pt x="34" y="137"/>
                    <a:pt x="36" y="139"/>
                  </a:cubicBezTo>
                  <a:cubicBezTo>
                    <a:pt x="37" y="139"/>
                    <a:pt x="37" y="139"/>
                    <a:pt x="37" y="140"/>
                  </a:cubicBezTo>
                  <a:cubicBezTo>
                    <a:pt x="39" y="141"/>
                    <a:pt x="40" y="142"/>
                    <a:pt x="42" y="142"/>
                  </a:cubicBezTo>
                  <a:cubicBezTo>
                    <a:pt x="43" y="143"/>
                    <a:pt x="44" y="143"/>
                    <a:pt x="46" y="144"/>
                  </a:cubicBezTo>
                  <a:cubicBezTo>
                    <a:pt x="47" y="145"/>
                    <a:pt x="47" y="145"/>
                    <a:pt x="47" y="145"/>
                  </a:cubicBezTo>
                  <a:cubicBezTo>
                    <a:pt x="48" y="145"/>
                    <a:pt x="49" y="146"/>
                    <a:pt x="50" y="146"/>
                  </a:cubicBezTo>
                  <a:cubicBezTo>
                    <a:pt x="51" y="146"/>
                    <a:pt x="52" y="146"/>
                    <a:pt x="53" y="147"/>
                  </a:cubicBezTo>
                  <a:cubicBezTo>
                    <a:pt x="57" y="149"/>
                    <a:pt x="57" y="153"/>
                    <a:pt x="57" y="158"/>
                  </a:cubicBezTo>
                  <a:cubicBezTo>
                    <a:pt x="57" y="161"/>
                    <a:pt x="57" y="161"/>
                    <a:pt x="57" y="161"/>
                  </a:cubicBezTo>
                  <a:cubicBezTo>
                    <a:pt x="66" y="161"/>
                    <a:pt x="66" y="161"/>
                    <a:pt x="66" y="161"/>
                  </a:cubicBezTo>
                  <a:cubicBezTo>
                    <a:pt x="69" y="162"/>
                    <a:pt x="69" y="164"/>
                    <a:pt x="68" y="168"/>
                  </a:cubicBezTo>
                  <a:cubicBezTo>
                    <a:pt x="68" y="169"/>
                    <a:pt x="68" y="170"/>
                    <a:pt x="68" y="170"/>
                  </a:cubicBezTo>
                  <a:cubicBezTo>
                    <a:pt x="68" y="171"/>
                    <a:pt x="68" y="172"/>
                    <a:pt x="68" y="173"/>
                  </a:cubicBezTo>
                  <a:cubicBezTo>
                    <a:pt x="67" y="176"/>
                    <a:pt x="67" y="178"/>
                    <a:pt x="67" y="180"/>
                  </a:cubicBezTo>
                  <a:cubicBezTo>
                    <a:pt x="67" y="183"/>
                    <a:pt x="69" y="184"/>
                    <a:pt x="70" y="185"/>
                  </a:cubicBezTo>
                  <a:cubicBezTo>
                    <a:pt x="71" y="186"/>
                    <a:pt x="71" y="186"/>
                    <a:pt x="72" y="187"/>
                  </a:cubicBezTo>
                  <a:cubicBezTo>
                    <a:pt x="73" y="188"/>
                    <a:pt x="75" y="190"/>
                    <a:pt x="76" y="192"/>
                  </a:cubicBezTo>
                  <a:cubicBezTo>
                    <a:pt x="76" y="193"/>
                    <a:pt x="76" y="194"/>
                    <a:pt x="76" y="194"/>
                  </a:cubicBezTo>
                  <a:cubicBezTo>
                    <a:pt x="77" y="196"/>
                    <a:pt x="77" y="197"/>
                    <a:pt x="78" y="198"/>
                  </a:cubicBezTo>
                  <a:cubicBezTo>
                    <a:pt x="79" y="198"/>
                    <a:pt x="80" y="198"/>
                    <a:pt x="81" y="198"/>
                  </a:cubicBezTo>
                  <a:cubicBezTo>
                    <a:pt x="82" y="198"/>
                    <a:pt x="82" y="198"/>
                    <a:pt x="83" y="198"/>
                  </a:cubicBezTo>
                  <a:cubicBezTo>
                    <a:pt x="84" y="198"/>
                    <a:pt x="84" y="198"/>
                    <a:pt x="84" y="198"/>
                  </a:cubicBezTo>
                  <a:cubicBezTo>
                    <a:pt x="84" y="198"/>
                    <a:pt x="85" y="198"/>
                    <a:pt x="85" y="198"/>
                  </a:cubicBezTo>
                  <a:cubicBezTo>
                    <a:pt x="89" y="198"/>
                    <a:pt x="93" y="199"/>
                    <a:pt x="97" y="200"/>
                  </a:cubicBezTo>
                  <a:cubicBezTo>
                    <a:pt x="97" y="201"/>
                    <a:pt x="98" y="201"/>
                    <a:pt x="98" y="201"/>
                  </a:cubicBezTo>
                  <a:cubicBezTo>
                    <a:pt x="101" y="202"/>
                    <a:pt x="105" y="204"/>
                    <a:pt x="105" y="206"/>
                  </a:cubicBezTo>
                  <a:cubicBezTo>
                    <a:pt x="105" y="207"/>
                    <a:pt x="105" y="207"/>
                    <a:pt x="105" y="208"/>
                  </a:cubicBezTo>
                  <a:cubicBezTo>
                    <a:pt x="105" y="208"/>
                    <a:pt x="105" y="208"/>
                    <a:pt x="105" y="209"/>
                  </a:cubicBezTo>
                  <a:cubicBezTo>
                    <a:pt x="104" y="210"/>
                    <a:pt x="104" y="210"/>
                    <a:pt x="104" y="210"/>
                  </a:cubicBezTo>
                  <a:cubicBezTo>
                    <a:pt x="108" y="212"/>
                    <a:pt x="108" y="212"/>
                    <a:pt x="108" y="212"/>
                  </a:cubicBezTo>
                  <a:cubicBezTo>
                    <a:pt x="108" y="212"/>
                    <a:pt x="108" y="212"/>
                    <a:pt x="108" y="212"/>
                  </a:cubicBezTo>
                  <a:cubicBezTo>
                    <a:pt x="108" y="213"/>
                    <a:pt x="108" y="213"/>
                    <a:pt x="108" y="213"/>
                  </a:cubicBezTo>
                  <a:cubicBezTo>
                    <a:pt x="109" y="214"/>
                    <a:pt x="109" y="214"/>
                    <a:pt x="109" y="214"/>
                  </a:cubicBezTo>
                  <a:cubicBezTo>
                    <a:pt x="110" y="214"/>
                    <a:pt x="110" y="214"/>
                    <a:pt x="110" y="214"/>
                  </a:cubicBezTo>
                  <a:cubicBezTo>
                    <a:pt x="112" y="214"/>
                    <a:pt x="113" y="215"/>
                    <a:pt x="115" y="216"/>
                  </a:cubicBezTo>
                  <a:cubicBezTo>
                    <a:pt x="116" y="216"/>
                    <a:pt x="117" y="217"/>
                    <a:pt x="118" y="217"/>
                  </a:cubicBezTo>
                  <a:cubicBezTo>
                    <a:pt x="119" y="217"/>
                    <a:pt x="121" y="217"/>
                    <a:pt x="122" y="217"/>
                  </a:cubicBezTo>
                  <a:cubicBezTo>
                    <a:pt x="126" y="217"/>
                    <a:pt x="126" y="217"/>
                    <a:pt x="126" y="217"/>
                  </a:cubicBezTo>
                  <a:cubicBezTo>
                    <a:pt x="127" y="217"/>
                    <a:pt x="128" y="217"/>
                    <a:pt x="130" y="217"/>
                  </a:cubicBezTo>
                  <a:cubicBezTo>
                    <a:pt x="132" y="217"/>
                    <a:pt x="133" y="218"/>
                    <a:pt x="134" y="219"/>
                  </a:cubicBezTo>
                  <a:cubicBezTo>
                    <a:pt x="135" y="220"/>
                    <a:pt x="137" y="221"/>
                    <a:pt x="139" y="222"/>
                  </a:cubicBezTo>
                  <a:cubicBezTo>
                    <a:pt x="141" y="222"/>
                    <a:pt x="142" y="222"/>
                    <a:pt x="144" y="222"/>
                  </a:cubicBezTo>
                  <a:cubicBezTo>
                    <a:pt x="145" y="222"/>
                    <a:pt x="147" y="222"/>
                    <a:pt x="148" y="222"/>
                  </a:cubicBezTo>
                  <a:cubicBezTo>
                    <a:pt x="149" y="222"/>
                    <a:pt x="150" y="221"/>
                    <a:pt x="151" y="221"/>
                  </a:cubicBezTo>
                  <a:cubicBezTo>
                    <a:pt x="153" y="220"/>
                    <a:pt x="155" y="220"/>
                    <a:pt x="158" y="220"/>
                  </a:cubicBezTo>
                  <a:cubicBezTo>
                    <a:pt x="158" y="220"/>
                    <a:pt x="159" y="220"/>
                    <a:pt x="160" y="220"/>
                  </a:cubicBezTo>
                  <a:cubicBezTo>
                    <a:pt x="163" y="221"/>
                    <a:pt x="165" y="222"/>
                    <a:pt x="168" y="224"/>
                  </a:cubicBezTo>
                  <a:cubicBezTo>
                    <a:pt x="170" y="225"/>
                    <a:pt x="170" y="225"/>
                    <a:pt x="170" y="225"/>
                  </a:cubicBezTo>
                  <a:cubicBezTo>
                    <a:pt x="198" y="195"/>
                    <a:pt x="198" y="195"/>
                    <a:pt x="198" y="195"/>
                  </a:cubicBezTo>
                  <a:cubicBezTo>
                    <a:pt x="198" y="194"/>
                    <a:pt x="199" y="194"/>
                    <a:pt x="200" y="193"/>
                  </a:cubicBezTo>
                  <a:cubicBezTo>
                    <a:pt x="200" y="193"/>
                    <a:pt x="201" y="192"/>
                    <a:pt x="202" y="191"/>
                  </a:cubicBezTo>
                  <a:cubicBezTo>
                    <a:pt x="203" y="189"/>
                    <a:pt x="203" y="188"/>
                    <a:pt x="203" y="185"/>
                  </a:cubicBezTo>
                  <a:cubicBezTo>
                    <a:pt x="203" y="185"/>
                    <a:pt x="203" y="184"/>
                    <a:pt x="203" y="183"/>
                  </a:cubicBezTo>
                  <a:cubicBezTo>
                    <a:pt x="203" y="181"/>
                    <a:pt x="203" y="181"/>
                    <a:pt x="204" y="180"/>
                  </a:cubicBezTo>
                  <a:cubicBezTo>
                    <a:pt x="204" y="180"/>
                    <a:pt x="205" y="179"/>
                    <a:pt x="205" y="179"/>
                  </a:cubicBezTo>
                  <a:cubicBezTo>
                    <a:pt x="207" y="176"/>
                    <a:pt x="206" y="174"/>
                    <a:pt x="206" y="171"/>
                  </a:cubicBezTo>
                  <a:cubicBezTo>
                    <a:pt x="206" y="170"/>
                    <a:pt x="206" y="169"/>
                    <a:pt x="206" y="167"/>
                  </a:cubicBezTo>
                  <a:cubicBezTo>
                    <a:pt x="206" y="165"/>
                    <a:pt x="207" y="165"/>
                    <a:pt x="208" y="164"/>
                  </a:cubicBezTo>
                  <a:cubicBezTo>
                    <a:pt x="209" y="163"/>
                    <a:pt x="210" y="163"/>
                    <a:pt x="210" y="163"/>
                  </a:cubicBezTo>
                  <a:cubicBezTo>
                    <a:pt x="211" y="162"/>
                    <a:pt x="212" y="162"/>
                    <a:pt x="213" y="160"/>
                  </a:cubicBezTo>
                  <a:cubicBezTo>
                    <a:pt x="215" y="157"/>
                    <a:pt x="216" y="154"/>
                    <a:pt x="218" y="151"/>
                  </a:cubicBezTo>
                  <a:cubicBezTo>
                    <a:pt x="218" y="149"/>
                    <a:pt x="219" y="148"/>
                    <a:pt x="220" y="147"/>
                  </a:cubicBezTo>
                  <a:cubicBezTo>
                    <a:pt x="221" y="145"/>
                    <a:pt x="223" y="143"/>
                    <a:pt x="223" y="140"/>
                  </a:cubicBezTo>
                  <a:cubicBezTo>
                    <a:pt x="223" y="137"/>
                    <a:pt x="222" y="135"/>
                    <a:pt x="220" y="134"/>
                  </a:cubicBezTo>
                  <a:cubicBezTo>
                    <a:pt x="219" y="133"/>
                    <a:pt x="219" y="132"/>
                    <a:pt x="218" y="131"/>
                  </a:cubicBezTo>
                  <a:cubicBezTo>
                    <a:pt x="216" y="128"/>
                    <a:pt x="217" y="123"/>
                    <a:pt x="218" y="120"/>
                  </a:cubicBezTo>
                  <a:cubicBezTo>
                    <a:pt x="218" y="119"/>
                    <a:pt x="218" y="119"/>
                    <a:pt x="218" y="118"/>
                  </a:cubicBezTo>
                  <a:cubicBezTo>
                    <a:pt x="218" y="117"/>
                    <a:pt x="219" y="116"/>
                    <a:pt x="218" y="114"/>
                  </a:cubicBezTo>
                  <a:cubicBezTo>
                    <a:pt x="218" y="113"/>
                    <a:pt x="217" y="112"/>
                    <a:pt x="216" y="111"/>
                  </a:cubicBezTo>
                  <a:cubicBezTo>
                    <a:pt x="215" y="110"/>
                    <a:pt x="215" y="109"/>
                    <a:pt x="215" y="108"/>
                  </a:cubicBezTo>
                  <a:cubicBezTo>
                    <a:pt x="214" y="106"/>
                    <a:pt x="215" y="106"/>
                    <a:pt x="217" y="105"/>
                  </a:cubicBezTo>
                  <a:cubicBezTo>
                    <a:pt x="217" y="105"/>
                    <a:pt x="218" y="105"/>
                    <a:pt x="219" y="104"/>
                  </a:cubicBezTo>
                  <a:cubicBezTo>
                    <a:pt x="219" y="103"/>
                    <a:pt x="219" y="102"/>
                    <a:pt x="219" y="100"/>
                  </a:cubicBezTo>
                  <a:cubicBezTo>
                    <a:pt x="219" y="99"/>
                    <a:pt x="219" y="98"/>
                    <a:pt x="220" y="97"/>
                  </a:cubicBezTo>
                  <a:cubicBezTo>
                    <a:pt x="220" y="96"/>
                    <a:pt x="221" y="95"/>
                    <a:pt x="221" y="95"/>
                  </a:cubicBezTo>
                  <a:cubicBezTo>
                    <a:pt x="222" y="94"/>
                    <a:pt x="222" y="93"/>
                    <a:pt x="223" y="93"/>
                  </a:cubicBezTo>
                  <a:cubicBezTo>
                    <a:pt x="224" y="91"/>
                    <a:pt x="224" y="88"/>
                    <a:pt x="223" y="84"/>
                  </a:cubicBezTo>
                  <a:cubicBezTo>
                    <a:pt x="223" y="83"/>
                    <a:pt x="223" y="81"/>
                    <a:pt x="223" y="80"/>
                  </a:cubicBezTo>
                  <a:cubicBezTo>
                    <a:pt x="223" y="77"/>
                    <a:pt x="223" y="74"/>
                    <a:pt x="223" y="71"/>
                  </a:cubicBezTo>
                  <a:cubicBezTo>
                    <a:pt x="223" y="68"/>
                    <a:pt x="223" y="65"/>
                    <a:pt x="223" y="62"/>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57" name="Freeform 57">
              <a:extLst>
                <a:ext uri="{FF2B5EF4-FFF2-40B4-BE49-F238E27FC236}">
                  <a16:creationId xmlns:a16="http://schemas.microsoft.com/office/drawing/2014/main" id="{92FC7FF9-DCB3-42DC-9432-6843D2E6A209}"/>
                </a:ext>
              </a:extLst>
            </p:cNvPr>
            <p:cNvSpPr>
              <a:spLocks/>
            </p:cNvSpPr>
            <p:nvPr/>
          </p:nvSpPr>
          <p:spPr bwMode="auto">
            <a:xfrm>
              <a:off x="1984389" y="1078259"/>
              <a:ext cx="919602" cy="724282"/>
            </a:xfrm>
            <a:custGeom>
              <a:avLst/>
              <a:gdLst>
                <a:gd name="T0" fmla="*/ 424 w 454"/>
                <a:gd name="T1" fmla="*/ 22 h 389"/>
                <a:gd name="T2" fmla="*/ 383 w 454"/>
                <a:gd name="T3" fmla="*/ 13 h 389"/>
                <a:gd name="T4" fmla="*/ 164 w 454"/>
                <a:gd name="T5" fmla="*/ 134 h 389"/>
                <a:gd name="T6" fmla="*/ 117 w 454"/>
                <a:gd name="T7" fmla="*/ 155 h 389"/>
                <a:gd name="T8" fmla="*/ 116 w 454"/>
                <a:gd name="T9" fmla="*/ 224 h 389"/>
                <a:gd name="T10" fmla="*/ 104 w 454"/>
                <a:gd name="T11" fmla="*/ 259 h 389"/>
                <a:gd name="T12" fmla="*/ 94 w 454"/>
                <a:gd name="T13" fmla="*/ 267 h 389"/>
                <a:gd name="T14" fmla="*/ 82 w 454"/>
                <a:gd name="T15" fmla="*/ 268 h 389"/>
                <a:gd name="T16" fmla="*/ 72 w 454"/>
                <a:gd name="T17" fmla="*/ 270 h 389"/>
                <a:gd name="T18" fmla="*/ 56 w 454"/>
                <a:gd name="T19" fmla="*/ 270 h 389"/>
                <a:gd name="T20" fmla="*/ 28 w 454"/>
                <a:gd name="T21" fmla="*/ 277 h 389"/>
                <a:gd name="T22" fmla="*/ 9 w 454"/>
                <a:gd name="T23" fmla="*/ 281 h 389"/>
                <a:gd name="T24" fmla="*/ 1 w 454"/>
                <a:gd name="T25" fmla="*/ 293 h 389"/>
                <a:gd name="T26" fmla="*/ 3 w 454"/>
                <a:gd name="T27" fmla="*/ 301 h 389"/>
                <a:gd name="T28" fmla="*/ 7 w 454"/>
                <a:gd name="T29" fmla="*/ 310 h 389"/>
                <a:gd name="T30" fmla="*/ 24 w 454"/>
                <a:gd name="T31" fmla="*/ 328 h 389"/>
                <a:gd name="T32" fmla="*/ 23 w 454"/>
                <a:gd name="T33" fmla="*/ 337 h 389"/>
                <a:gd name="T34" fmla="*/ 25 w 454"/>
                <a:gd name="T35" fmla="*/ 345 h 389"/>
                <a:gd name="T36" fmla="*/ 48 w 454"/>
                <a:gd name="T37" fmla="*/ 359 h 389"/>
                <a:gd name="T38" fmla="*/ 60 w 454"/>
                <a:gd name="T39" fmla="*/ 363 h 389"/>
                <a:gd name="T40" fmla="*/ 60 w 454"/>
                <a:gd name="T41" fmla="*/ 377 h 389"/>
                <a:gd name="T42" fmla="*/ 66 w 454"/>
                <a:gd name="T43" fmla="*/ 379 h 389"/>
                <a:gd name="T44" fmla="*/ 68 w 454"/>
                <a:gd name="T45" fmla="*/ 369 h 389"/>
                <a:gd name="T46" fmla="*/ 76 w 454"/>
                <a:gd name="T47" fmla="*/ 366 h 389"/>
                <a:gd name="T48" fmla="*/ 87 w 454"/>
                <a:gd name="T49" fmla="*/ 377 h 389"/>
                <a:gd name="T50" fmla="*/ 97 w 454"/>
                <a:gd name="T51" fmla="*/ 387 h 389"/>
                <a:gd name="T52" fmla="*/ 100 w 454"/>
                <a:gd name="T53" fmla="*/ 386 h 389"/>
                <a:gd name="T54" fmla="*/ 104 w 454"/>
                <a:gd name="T55" fmla="*/ 358 h 389"/>
                <a:gd name="T56" fmla="*/ 114 w 454"/>
                <a:gd name="T57" fmla="*/ 340 h 389"/>
                <a:gd name="T58" fmla="*/ 121 w 454"/>
                <a:gd name="T59" fmla="*/ 325 h 389"/>
                <a:gd name="T60" fmla="*/ 139 w 454"/>
                <a:gd name="T61" fmla="*/ 323 h 389"/>
                <a:gd name="T62" fmla="*/ 154 w 454"/>
                <a:gd name="T63" fmla="*/ 318 h 389"/>
                <a:gd name="T64" fmla="*/ 170 w 454"/>
                <a:gd name="T65" fmla="*/ 325 h 389"/>
                <a:gd name="T66" fmla="*/ 176 w 454"/>
                <a:gd name="T67" fmla="*/ 325 h 389"/>
                <a:gd name="T68" fmla="*/ 199 w 454"/>
                <a:gd name="T69" fmla="*/ 346 h 389"/>
                <a:gd name="T70" fmla="*/ 225 w 454"/>
                <a:gd name="T71" fmla="*/ 336 h 389"/>
                <a:gd name="T72" fmla="*/ 254 w 454"/>
                <a:gd name="T73" fmla="*/ 352 h 389"/>
                <a:gd name="T74" fmla="*/ 267 w 454"/>
                <a:gd name="T75" fmla="*/ 352 h 389"/>
                <a:gd name="T76" fmla="*/ 271 w 454"/>
                <a:gd name="T77" fmla="*/ 350 h 389"/>
                <a:gd name="T78" fmla="*/ 276 w 454"/>
                <a:gd name="T79" fmla="*/ 348 h 389"/>
                <a:gd name="T80" fmla="*/ 321 w 454"/>
                <a:gd name="T81" fmla="*/ 335 h 389"/>
                <a:gd name="T82" fmla="*/ 341 w 454"/>
                <a:gd name="T83" fmla="*/ 342 h 389"/>
                <a:gd name="T84" fmla="*/ 359 w 454"/>
                <a:gd name="T85" fmla="*/ 339 h 389"/>
                <a:gd name="T86" fmla="*/ 374 w 454"/>
                <a:gd name="T87" fmla="*/ 328 h 389"/>
                <a:gd name="T88" fmla="*/ 385 w 454"/>
                <a:gd name="T89" fmla="*/ 324 h 389"/>
                <a:gd name="T90" fmla="*/ 383 w 454"/>
                <a:gd name="T91" fmla="*/ 297 h 389"/>
                <a:gd name="T92" fmla="*/ 400 w 454"/>
                <a:gd name="T93" fmla="*/ 271 h 389"/>
                <a:gd name="T94" fmla="*/ 434 w 454"/>
                <a:gd name="T95" fmla="*/ 225 h 389"/>
                <a:gd name="T96" fmla="*/ 454 w 454"/>
                <a:gd name="T97" fmla="*/ 10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4" h="389">
                  <a:moveTo>
                    <a:pt x="443" y="90"/>
                  </a:moveTo>
                  <a:cubicBezTo>
                    <a:pt x="440" y="82"/>
                    <a:pt x="440" y="82"/>
                    <a:pt x="440" y="82"/>
                  </a:cubicBezTo>
                  <a:cubicBezTo>
                    <a:pt x="429" y="65"/>
                    <a:pt x="429" y="65"/>
                    <a:pt x="429" y="65"/>
                  </a:cubicBezTo>
                  <a:cubicBezTo>
                    <a:pt x="429" y="64"/>
                    <a:pt x="429" y="41"/>
                    <a:pt x="424" y="22"/>
                  </a:cubicBezTo>
                  <a:cubicBezTo>
                    <a:pt x="423" y="19"/>
                    <a:pt x="423" y="19"/>
                    <a:pt x="423" y="19"/>
                  </a:cubicBezTo>
                  <a:cubicBezTo>
                    <a:pt x="421" y="20"/>
                    <a:pt x="421" y="20"/>
                    <a:pt x="421" y="20"/>
                  </a:cubicBezTo>
                  <a:cubicBezTo>
                    <a:pt x="402" y="31"/>
                    <a:pt x="402" y="31"/>
                    <a:pt x="402" y="31"/>
                  </a:cubicBezTo>
                  <a:cubicBezTo>
                    <a:pt x="383" y="13"/>
                    <a:pt x="383" y="13"/>
                    <a:pt x="383" y="13"/>
                  </a:cubicBezTo>
                  <a:cubicBezTo>
                    <a:pt x="379" y="9"/>
                    <a:pt x="338" y="1"/>
                    <a:pt x="337" y="1"/>
                  </a:cubicBezTo>
                  <a:cubicBezTo>
                    <a:pt x="336" y="0"/>
                    <a:pt x="336" y="0"/>
                    <a:pt x="336" y="0"/>
                  </a:cubicBezTo>
                  <a:cubicBezTo>
                    <a:pt x="218" y="81"/>
                    <a:pt x="218" y="81"/>
                    <a:pt x="218" y="81"/>
                  </a:cubicBezTo>
                  <a:cubicBezTo>
                    <a:pt x="203" y="90"/>
                    <a:pt x="164" y="134"/>
                    <a:pt x="164" y="134"/>
                  </a:cubicBezTo>
                  <a:cubicBezTo>
                    <a:pt x="116" y="144"/>
                    <a:pt x="116" y="144"/>
                    <a:pt x="116" y="144"/>
                  </a:cubicBezTo>
                  <a:cubicBezTo>
                    <a:pt x="117" y="146"/>
                    <a:pt x="117" y="146"/>
                    <a:pt x="117" y="146"/>
                  </a:cubicBezTo>
                  <a:cubicBezTo>
                    <a:pt x="118" y="148"/>
                    <a:pt x="117" y="150"/>
                    <a:pt x="117" y="152"/>
                  </a:cubicBezTo>
                  <a:cubicBezTo>
                    <a:pt x="117" y="153"/>
                    <a:pt x="117" y="154"/>
                    <a:pt x="117" y="155"/>
                  </a:cubicBezTo>
                  <a:cubicBezTo>
                    <a:pt x="116" y="159"/>
                    <a:pt x="117" y="162"/>
                    <a:pt x="117" y="166"/>
                  </a:cubicBezTo>
                  <a:cubicBezTo>
                    <a:pt x="117" y="169"/>
                    <a:pt x="117" y="172"/>
                    <a:pt x="117" y="176"/>
                  </a:cubicBezTo>
                  <a:cubicBezTo>
                    <a:pt x="116" y="190"/>
                    <a:pt x="116" y="204"/>
                    <a:pt x="116" y="218"/>
                  </a:cubicBezTo>
                  <a:cubicBezTo>
                    <a:pt x="116" y="224"/>
                    <a:pt x="116" y="224"/>
                    <a:pt x="116" y="224"/>
                  </a:cubicBezTo>
                  <a:cubicBezTo>
                    <a:pt x="116" y="230"/>
                    <a:pt x="114" y="235"/>
                    <a:pt x="111" y="240"/>
                  </a:cubicBezTo>
                  <a:cubicBezTo>
                    <a:pt x="110" y="242"/>
                    <a:pt x="110" y="245"/>
                    <a:pt x="109" y="248"/>
                  </a:cubicBezTo>
                  <a:cubicBezTo>
                    <a:pt x="109" y="251"/>
                    <a:pt x="109" y="254"/>
                    <a:pt x="107" y="256"/>
                  </a:cubicBezTo>
                  <a:cubicBezTo>
                    <a:pt x="106" y="258"/>
                    <a:pt x="105" y="258"/>
                    <a:pt x="104" y="259"/>
                  </a:cubicBezTo>
                  <a:cubicBezTo>
                    <a:pt x="103" y="259"/>
                    <a:pt x="102" y="259"/>
                    <a:pt x="102" y="260"/>
                  </a:cubicBezTo>
                  <a:cubicBezTo>
                    <a:pt x="100" y="261"/>
                    <a:pt x="100" y="262"/>
                    <a:pt x="99" y="263"/>
                  </a:cubicBezTo>
                  <a:cubicBezTo>
                    <a:pt x="99" y="264"/>
                    <a:pt x="98" y="265"/>
                    <a:pt x="98" y="265"/>
                  </a:cubicBezTo>
                  <a:cubicBezTo>
                    <a:pt x="97" y="267"/>
                    <a:pt x="96" y="267"/>
                    <a:pt x="94" y="267"/>
                  </a:cubicBezTo>
                  <a:cubicBezTo>
                    <a:pt x="93" y="267"/>
                    <a:pt x="92" y="267"/>
                    <a:pt x="91" y="267"/>
                  </a:cubicBezTo>
                  <a:cubicBezTo>
                    <a:pt x="90" y="267"/>
                    <a:pt x="88" y="266"/>
                    <a:pt x="87" y="266"/>
                  </a:cubicBezTo>
                  <a:cubicBezTo>
                    <a:pt x="86" y="266"/>
                    <a:pt x="86" y="266"/>
                    <a:pt x="85" y="267"/>
                  </a:cubicBezTo>
                  <a:cubicBezTo>
                    <a:pt x="84" y="267"/>
                    <a:pt x="83" y="268"/>
                    <a:pt x="82" y="268"/>
                  </a:cubicBezTo>
                  <a:cubicBezTo>
                    <a:pt x="81" y="269"/>
                    <a:pt x="80" y="269"/>
                    <a:pt x="79" y="270"/>
                  </a:cubicBezTo>
                  <a:cubicBezTo>
                    <a:pt x="78" y="270"/>
                    <a:pt x="77" y="270"/>
                    <a:pt x="75" y="270"/>
                  </a:cubicBezTo>
                  <a:cubicBezTo>
                    <a:pt x="75" y="270"/>
                    <a:pt x="74" y="270"/>
                    <a:pt x="73" y="270"/>
                  </a:cubicBezTo>
                  <a:cubicBezTo>
                    <a:pt x="72" y="270"/>
                    <a:pt x="72" y="270"/>
                    <a:pt x="72" y="270"/>
                  </a:cubicBezTo>
                  <a:cubicBezTo>
                    <a:pt x="71" y="270"/>
                    <a:pt x="70" y="270"/>
                    <a:pt x="70" y="270"/>
                  </a:cubicBezTo>
                  <a:cubicBezTo>
                    <a:pt x="67" y="270"/>
                    <a:pt x="65" y="270"/>
                    <a:pt x="63" y="270"/>
                  </a:cubicBezTo>
                  <a:cubicBezTo>
                    <a:pt x="61" y="270"/>
                    <a:pt x="59" y="270"/>
                    <a:pt x="57" y="270"/>
                  </a:cubicBezTo>
                  <a:cubicBezTo>
                    <a:pt x="56" y="270"/>
                    <a:pt x="56" y="270"/>
                    <a:pt x="56" y="270"/>
                  </a:cubicBezTo>
                  <a:cubicBezTo>
                    <a:pt x="54" y="270"/>
                    <a:pt x="53" y="270"/>
                    <a:pt x="51" y="270"/>
                  </a:cubicBezTo>
                  <a:cubicBezTo>
                    <a:pt x="49" y="270"/>
                    <a:pt x="47" y="270"/>
                    <a:pt x="45" y="270"/>
                  </a:cubicBezTo>
                  <a:cubicBezTo>
                    <a:pt x="44" y="270"/>
                    <a:pt x="42" y="270"/>
                    <a:pt x="40" y="270"/>
                  </a:cubicBezTo>
                  <a:cubicBezTo>
                    <a:pt x="34" y="271"/>
                    <a:pt x="32" y="273"/>
                    <a:pt x="28" y="277"/>
                  </a:cubicBezTo>
                  <a:cubicBezTo>
                    <a:pt x="26" y="280"/>
                    <a:pt x="23" y="281"/>
                    <a:pt x="19" y="281"/>
                  </a:cubicBezTo>
                  <a:cubicBezTo>
                    <a:pt x="16" y="281"/>
                    <a:pt x="16" y="281"/>
                    <a:pt x="16" y="281"/>
                  </a:cubicBezTo>
                  <a:cubicBezTo>
                    <a:pt x="15" y="281"/>
                    <a:pt x="14" y="281"/>
                    <a:pt x="13" y="281"/>
                  </a:cubicBezTo>
                  <a:cubicBezTo>
                    <a:pt x="12" y="281"/>
                    <a:pt x="11" y="281"/>
                    <a:pt x="9" y="281"/>
                  </a:cubicBezTo>
                  <a:cubicBezTo>
                    <a:pt x="8" y="281"/>
                    <a:pt x="6" y="281"/>
                    <a:pt x="4" y="280"/>
                  </a:cubicBezTo>
                  <a:cubicBezTo>
                    <a:pt x="1" y="280"/>
                    <a:pt x="1" y="280"/>
                    <a:pt x="1" y="280"/>
                  </a:cubicBezTo>
                  <a:cubicBezTo>
                    <a:pt x="2" y="283"/>
                    <a:pt x="2" y="283"/>
                    <a:pt x="2" y="283"/>
                  </a:cubicBezTo>
                  <a:cubicBezTo>
                    <a:pt x="2" y="286"/>
                    <a:pt x="1" y="290"/>
                    <a:pt x="1" y="293"/>
                  </a:cubicBezTo>
                  <a:cubicBezTo>
                    <a:pt x="1" y="294"/>
                    <a:pt x="1" y="294"/>
                    <a:pt x="1" y="294"/>
                  </a:cubicBezTo>
                  <a:cubicBezTo>
                    <a:pt x="1" y="294"/>
                    <a:pt x="0" y="295"/>
                    <a:pt x="0" y="295"/>
                  </a:cubicBezTo>
                  <a:cubicBezTo>
                    <a:pt x="0" y="297"/>
                    <a:pt x="0" y="298"/>
                    <a:pt x="1" y="299"/>
                  </a:cubicBezTo>
                  <a:cubicBezTo>
                    <a:pt x="2" y="300"/>
                    <a:pt x="2" y="300"/>
                    <a:pt x="3" y="301"/>
                  </a:cubicBezTo>
                  <a:cubicBezTo>
                    <a:pt x="4" y="301"/>
                    <a:pt x="5" y="301"/>
                    <a:pt x="5" y="302"/>
                  </a:cubicBezTo>
                  <a:cubicBezTo>
                    <a:pt x="6" y="303"/>
                    <a:pt x="6" y="304"/>
                    <a:pt x="6" y="306"/>
                  </a:cubicBezTo>
                  <a:cubicBezTo>
                    <a:pt x="6" y="306"/>
                    <a:pt x="6" y="306"/>
                    <a:pt x="6" y="306"/>
                  </a:cubicBezTo>
                  <a:cubicBezTo>
                    <a:pt x="7" y="308"/>
                    <a:pt x="7" y="309"/>
                    <a:pt x="7" y="310"/>
                  </a:cubicBezTo>
                  <a:cubicBezTo>
                    <a:pt x="7" y="313"/>
                    <a:pt x="7" y="315"/>
                    <a:pt x="10" y="318"/>
                  </a:cubicBezTo>
                  <a:cubicBezTo>
                    <a:pt x="12" y="319"/>
                    <a:pt x="12" y="319"/>
                    <a:pt x="12" y="319"/>
                  </a:cubicBezTo>
                  <a:cubicBezTo>
                    <a:pt x="15" y="322"/>
                    <a:pt x="18" y="324"/>
                    <a:pt x="21" y="326"/>
                  </a:cubicBezTo>
                  <a:cubicBezTo>
                    <a:pt x="22" y="327"/>
                    <a:pt x="23" y="328"/>
                    <a:pt x="24" y="328"/>
                  </a:cubicBezTo>
                  <a:cubicBezTo>
                    <a:pt x="26" y="329"/>
                    <a:pt x="28" y="330"/>
                    <a:pt x="30" y="332"/>
                  </a:cubicBezTo>
                  <a:cubicBezTo>
                    <a:pt x="31" y="334"/>
                    <a:pt x="32" y="335"/>
                    <a:pt x="32" y="335"/>
                  </a:cubicBezTo>
                  <a:cubicBezTo>
                    <a:pt x="31" y="337"/>
                    <a:pt x="27" y="337"/>
                    <a:pt x="26" y="337"/>
                  </a:cubicBezTo>
                  <a:cubicBezTo>
                    <a:pt x="23" y="337"/>
                    <a:pt x="23" y="337"/>
                    <a:pt x="23" y="337"/>
                  </a:cubicBezTo>
                  <a:cubicBezTo>
                    <a:pt x="23" y="339"/>
                    <a:pt x="23" y="339"/>
                    <a:pt x="23" y="339"/>
                  </a:cubicBezTo>
                  <a:cubicBezTo>
                    <a:pt x="23" y="341"/>
                    <a:pt x="24" y="342"/>
                    <a:pt x="24" y="344"/>
                  </a:cubicBezTo>
                  <a:cubicBezTo>
                    <a:pt x="24" y="345"/>
                    <a:pt x="24" y="345"/>
                    <a:pt x="24" y="345"/>
                  </a:cubicBezTo>
                  <a:cubicBezTo>
                    <a:pt x="25" y="345"/>
                    <a:pt x="25" y="345"/>
                    <a:pt x="25" y="345"/>
                  </a:cubicBezTo>
                  <a:cubicBezTo>
                    <a:pt x="30" y="346"/>
                    <a:pt x="32" y="350"/>
                    <a:pt x="35" y="353"/>
                  </a:cubicBezTo>
                  <a:cubicBezTo>
                    <a:pt x="37" y="355"/>
                    <a:pt x="38" y="356"/>
                    <a:pt x="39" y="357"/>
                  </a:cubicBezTo>
                  <a:cubicBezTo>
                    <a:pt x="41" y="359"/>
                    <a:pt x="43" y="360"/>
                    <a:pt x="45" y="360"/>
                  </a:cubicBezTo>
                  <a:cubicBezTo>
                    <a:pt x="46" y="360"/>
                    <a:pt x="47" y="360"/>
                    <a:pt x="48" y="359"/>
                  </a:cubicBezTo>
                  <a:cubicBezTo>
                    <a:pt x="48" y="359"/>
                    <a:pt x="49" y="358"/>
                    <a:pt x="50" y="358"/>
                  </a:cubicBezTo>
                  <a:cubicBezTo>
                    <a:pt x="51" y="357"/>
                    <a:pt x="53" y="355"/>
                    <a:pt x="54" y="355"/>
                  </a:cubicBezTo>
                  <a:cubicBezTo>
                    <a:pt x="55" y="355"/>
                    <a:pt x="55" y="355"/>
                    <a:pt x="55" y="355"/>
                  </a:cubicBezTo>
                  <a:cubicBezTo>
                    <a:pt x="57" y="356"/>
                    <a:pt x="60" y="361"/>
                    <a:pt x="60" y="363"/>
                  </a:cubicBezTo>
                  <a:cubicBezTo>
                    <a:pt x="60" y="364"/>
                    <a:pt x="59" y="365"/>
                    <a:pt x="57" y="366"/>
                  </a:cubicBezTo>
                  <a:cubicBezTo>
                    <a:pt x="56" y="367"/>
                    <a:pt x="55" y="367"/>
                    <a:pt x="55" y="369"/>
                  </a:cubicBezTo>
                  <a:cubicBezTo>
                    <a:pt x="55" y="371"/>
                    <a:pt x="56" y="372"/>
                    <a:pt x="59" y="375"/>
                  </a:cubicBezTo>
                  <a:cubicBezTo>
                    <a:pt x="59" y="376"/>
                    <a:pt x="60" y="376"/>
                    <a:pt x="60" y="377"/>
                  </a:cubicBezTo>
                  <a:cubicBezTo>
                    <a:pt x="61" y="378"/>
                    <a:pt x="61" y="378"/>
                    <a:pt x="61" y="378"/>
                  </a:cubicBezTo>
                  <a:cubicBezTo>
                    <a:pt x="62" y="378"/>
                    <a:pt x="62" y="379"/>
                    <a:pt x="63" y="380"/>
                  </a:cubicBezTo>
                  <a:cubicBezTo>
                    <a:pt x="67" y="386"/>
                    <a:pt x="67" y="386"/>
                    <a:pt x="67" y="386"/>
                  </a:cubicBezTo>
                  <a:cubicBezTo>
                    <a:pt x="66" y="379"/>
                    <a:pt x="66" y="379"/>
                    <a:pt x="66" y="379"/>
                  </a:cubicBezTo>
                  <a:cubicBezTo>
                    <a:pt x="66" y="378"/>
                    <a:pt x="66" y="377"/>
                    <a:pt x="66" y="376"/>
                  </a:cubicBezTo>
                  <a:cubicBezTo>
                    <a:pt x="66" y="376"/>
                    <a:pt x="66" y="375"/>
                    <a:pt x="65" y="375"/>
                  </a:cubicBezTo>
                  <a:cubicBezTo>
                    <a:pt x="64" y="373"/>
                    <a:pt x="64" y="372"/>
                    <a:pt x="64" y="371"/>
                  </a:cubicBezTo>
                  <a:cubicBezTo>
                    <a:pt x="65" y="371"/>
                    <a:pt x="67" y="370"/>
                    <a:pt x="68" y="369"/>
                  </a:cubicBezTo>
                  <a:cubicBezTo>
                    <a:pt x="68" y="369"/>
                    <a:pt x="69" y="369"/>
                    <a:pt x="69" y="369"/>
                  </a:cubicBezTo>
                  <a:cubicBezTo>
                    <a:pt x="70" y="368"/>
                    <a:pt x="70" y="368"/>
                    <a:pt x="70" y="368"/>
                  </a:cubicBezTo>
                  <a:cubicBezTo>
                    <a:pt x="72" y="367"/>
                    <a:pt x="74" y="366"/>
                    <a:pt x="75" y="366"/>
                  </a:cubicBezTo>
                  <a:cubicBezTo>
                    <a:pt x="76" y="366"/>
                    <a:pt x="76" y="366"/>
                    <a:pt x="76" y="366"/>
                  </a:cubicBezTo>
                  <a:cubicBezTo>
                    <a:pt x="77" y="366"/>
                    <a:pt x="79" y="368"/>
                    <a:pt x="80" y="369"/>
                  </a:cubicBezTo>
                  <a:cubicBezTo>
                    <a:pt x="80" y="370"/>
                    <a:pt x="81" y="370"/>
                    <a:pt x="81" y="371"/>
                  </a:cubicBezTo>
                  <a:cubicBezTo>
                    <a:pt x="83" y="372"/>
                    <a:pt x="84" y="373"/>
                    <a:pt x="85" y="375"/>
                  </a:cubicBezTo>
                  <a:cubicBezTo>
                    <a:pt x="87" y="377"/>
                    <a:pt x="87" y="377"/>
                    <a:pt x="87" y="377"/>
                  </a:cubicBezTo>
                  <a:cubicBezTo>
                    <a:pt x="88" y="378"/>
                    <a:pt x="89" y="379"/>
                    <a:pt x="90" y="380"/>
                  </a:cubicBezTo>
                  <a:cubicBezTo>
                    <a:pt x="91" y="381"/>
                    <a:pt x="92" y="382"/>
                    <a:pt x="93" y="383"/>
                  </a:cubicBezTo>
                  <a:cubicBezTo>
                    <a:pt x="94" y="384"/>
                    <a:pt x="94" y="384"/>
                    <a:pt x="94" y="384"/>
                  </a:cubicBezTo>
                  <a:cubicBezTo>
                    <a:pt x="95" y="385"/>
                    <a:pt x="96" y="386"/>
                    <a:pt x="97" y="387"/>
                  </a:cubicBezTo>
                  <a:cubicBezTo>
                    <a:pt x="98" y="385"/>
                    <a:pt x="98" y="385"/>
                    <a:pt x="98" y="385"/>
                  </a:cubicBezTo>
                  <a:cubicBezTo>
                    <a:pt x="97" y="387"/>
                    <a:pt x="97" y="387"/>
                    <a:pt x="97" y="387"/>
                  </a:cubicBezTo>
                  <a:cubicBezTo>
                    <a:pt x="99" y="389"/>
                    <a:pt x="99" y="389"/>
                    <a:pt x="99" y="389"/>
                  </a:cubicBezTo>
                  <a:cubicBezTo>
                    <a:pt x="100" y="386"/>
                    <a:pt x="100" y="386"/>
                    <a:pt x="100" y="386"/>
                  </a:cubicBezTo>
                  <a:cubicBezTo>
                    <a:pt x="102" y="382"/>
                    <a:pt x="101" y="377"/>
                    <a:pt x="100" y="373"/>
                  </a:cubicBezTo>
                  <a:cubicBezTo>
                    <a:pt x="100" y="372"/>
                    <a:pt x="100" y="370"/>
                    <a:pt x="99" y="369"/>
                  </a:cubicBezTo>
                  <a:cubicBezTo>
                    <a:pt x="99" y="365"/>
                    <a:pt x="99" y="362"/>
                    <a:pt x="101" y="360"/>
                  </a:cubicBezTo>
                  <a:cubicBezTo>
                    <a:pt x="102" y="359"/>
                    <a:pt x="103" y="359"/>
                    <a:pt x="104" y="358"/>
                  </a:cubicBezTo>
                  <a:cubicBezTo>
                    <a:pt x="105" y="357"/>
                    <a:pt x="106" y="356"/>
                    <a:pt x="107" y="355"/>
                  </a:cubicBezTo>
                  <a:cubicBezTo>
                    <a:pt x="108" y="354"/>
                    <a:pt x="108" y="353"/>
                    <a:pt x="109" y="352"/>
                  </a:cubicBezTo>
                  <a:cubicBezTo>
                    <a:pt x="110" y="351"/>
                    <a:pt x="112" y="349"/>
                    <a:pt x="113" y="348"/>
                  </a:cubicBezTo>
                  <a:cubicBezTo>
                    <a:pt x="114" y="345"/>
                    <a:pt x="114" y="343"/>
                    <a:pt x="114" y="340"/>
                  </a:cubicBezTo>
                  <a:cubicBezTo>
                    <a:pt x="114" y="340"/>
                    <a:pt x="114" y="339"/>
                    <a:pt x="114" y="339"/>
                  </a:cubicBezTo>
                  <a:cubicBezTo>
                    <a:pt x="114" y="338"/>
                    <a:pt x="114" y="337"/>
                    <a:pt x="114" y="337"/>
                  </a:cubicBezTo>
                  <a:cubicBezTo>
                    <a:pt x="114" y="334"/>
                    <a:pt x="114" y="331"/>
                    <a:pt x="115" y="330"/>
                  </a:cubicBezTo>
                  <a:cubicBezTo>
                    <a:pt x="116" y="328"/>
                    <a:pt x="118" y="326"/>
                    <a:pt x="121" y="325"/>
                  </a:cubicBezTo>
                  <a:cubicBezTo>
                    <a:pt x="122" y="325"/>
                    <a:pt x="122" y="324"/>
                    <a:pt x="123" y="324"/>
                  </a:cubicBezTo>
                  <a:cubicBezTo>
                    <a:pt x="125" y="323"/>
                    <a:pt x="127" y="322"/>
                    <a:pt x="130" y="322"/>
                  </a:cubicBezTo>
                  <a:cubicBezTo>
                    <a:pt x="132" y="322"/>
                    <a:pt x="133" y="322"/>
                    <a:pt x="135" y="323"/>
                  </a:cubicBezTo>
                  <a:cubicBezTo>
                    <a:pt x="136" y="323"/>
                    <a:pt x="138" y="323"/>
                    <a:pt x="139" y="323"/>
                  </a:cubicBezTo>
                  <a:cubicBezTo>
                    <a:pt x="140" y="323"/>
                    <a:pt x="141" y="323"/>
                    <a:pt x="142" y="323"/>
                  </a:cubicBezTo>
                  <a:cubicBezTo>
                    <a:pt x="144" y="322"/>
                    <a:pt x="146" y="321"/>
                    <a:pt x="147" y="320"/>
                  </a:cubicBezTo>
                  <a:cubicBezTo>
                    <a:pt x="149" y="319"/>
                    <a:pt x="150" y="317"/>
                    <a:pt x="152" y="317"/>
                  </a:cubicBezTo>
                  <a:cubicBezTo>
                    <a:pt x="153" y="317"/>
                    <a:pt x="153" y="317"/>
                    <a:pt x="154" y="318"/>
                  </a:cubicBezTo>
                  <a:cubicBezTo>
                    <a:pt x="155" y="318"/>
                    <a:pt x="155" y="318"/>
                    <a:pt x="156" y="318"/>
                  </a:cubicBezTo>
                  <a:cubicBezTo>
                    <a:pt x="159" y="319"/>
                    <a:pt x="163" y="320"/>
                    <a:pt x="165" y="322"/>
                  </a:cubicBezTo>
                  <a:cubicBezTo>
                    <a:pt x="166" y="322"/>
                    <a:pt x="166" y="323"/>
                    <a:pt x="167" y="323"/>
                  </a:cubicBezTo>
                  <a:cubicBezTo>
                    <a:pt x="168" y="324"/>
                    <a:pt x="168" y="325"/>
                    <a:pt x="170" y="325"/>
                  </a:cubicBezTo>
                  <a:cubicBezTo>
                    <a:pt x="170" y="325"/>
                    <a:pt x="170" y="325"/>
                    <a:pt x="171" y="325"/>
                  </a:cubicBezTo>
                  <a:cubicBezTo>
                    <a:pt x="171" y="325"/>
                    <a:pt x="172" y="325"/>
                    <a:pt x="173" y="325"/>
                  </a:cubicBezTo>
                  <a:cubicBezTo>
                    <a:pt x="173" y="325"/>
                    <a:pt x="174" y="324"/>
                    <a:pt x="175" y="324"/>
                  </a:cubicBezTo>
                  <a:cubicBezTo>
                    <a:pt x="175" y="324"/>
                    <a:pt x="176" y="324"/>
                    <a:pt x="176" y="325"/>
                  </a:cubicBezTo>
                  <a:cubicBezTo>
                    <a:pt x="180" y="326"/>
                    <a:pt x="184" y="330"/>
                    <a:pt x="185" y="332"/>
                  </a:cubicBezTo>
                  <a:cubicBezTo>
                    <a:pt x="186" y="333"/>
                    <a:pt x="187" y="335"/>
                    <a:pt x="188" y="337"/>
                  </a:cubicBezTo>
                  <a:cubicBezTo>
                    <a:pt x="190" y="342"/>
                    <a:pt x="192" y="346"/>
                    <a:pt x="196" y="346"/>
                  </a:cubicBezTo>
                  <a:cubicBezTo>
                    <a:pt x="197" y="346"/>
                    <a:pt x="198" y="346"/>
                    <a:pt x="199" y="346"/>
                  </a:cubicBezTo>
                  <a:cubicBezTo>
                    <a:pt x="202" y="344"/>
                    <a:pt x="205" y="343"/>
                    <a:pt x="208" y="341"/>
                  </a:cubicBezTo>
                  <a:cubicBezTo>
                    <a:pt x="209" y="341"/>
                    <a:pt x="210" y="340"/>
                    <a:pt x="212" y="339"/>
                  </a:cubicBezTo>
                  <a:cubicBezTo>
                    <a:pt x="215" y="337"/>
                    <a:pt x="217" y="335"/>
                    <a:pt x="221" y="335"/>
                  </a:cubicBezTo>
                  <a:cubicBezTo>
                    <a:pt x="222" y="335"/>
                    <a:pt x="223" y="336"/>
                    <a:pt x="225" y="336"/>
                  </a:cubicBezTo>
                  <a:cubicBezTo>
                    <a:pt x="229" y="337"/>
                    <a:pt x="232" y="340"/>
                    <a:pt x="236" y="343"/>
                  </a:cubicBezTo>
                  <a:cubicBezTo>
                    <a:pt x="237" y="344"/>
                    <a:pt x="237" y="344"/>
                    <a:pt x="237" y="344"/>
                  </a:cubicBezTo>
                  <a:cubicBezTo>
                    <a:pt x="241" y="348"/>
                    <a:pt x="248" y="351"/>
                    <a:pt x="253" y="352"/>
                  </a:cubicBezTo>
                  <a:cubicBezTo>
                    <a:pt x="253" y="352"/>
                    <a:pt x="253" y="352"/>
                    <a:pt x="254" y="352"/>
                  </a:cubicBezTo>
                  <a:cubicBezTo>
                    <a:pt x="255" y="352"/>
                    <a:pt x="257" y="352"/>
                    <a:pt x="259" y="351"/>
                  </a:cubicBezTo>
                  <a:cubicBezTo>
                    <a:pt x="260" y="351"/>
                    <a:pt x="261" y="351"/>
                    <a:pt x="263" y="351"/>
                  </a:cubicBezTo>
                  <a:cubicBezTo>
                    <a:pt x="263" y="351"/>
                    <a:pt x="263" y="351"/>
                    <a:pt x="263" y="351"/>
                  </a:cubicBezTo>
                  <a:cubicBezTo>
                    <a:pt x="264" y="351"/>
                    <a:pt x="265" y="351"/>
                    <a:pt x="267" y="352"/>
                  </a:cubicBezTo>
                  <a:cubicBezTo>
                    <a:pt x="267" y="352"/>
                    <a:pt x="268" y="352"/>
                    <a:pt x="269" y="352"/>
                  </a:cubicBezTo>
                  <a:cubicBezTo>
                    <a:pt x="270" y="352"/>
                    <a:pt x="270" y="352"/>
                    <a:pt x="271" y="352"/>
                  </a:cubicBezTo>
                  <a:cubicBezTo>
                    <a:pt x="271" y="352"/>
                    <a:pt x="271" y="352"/>
                    <a:pt x="271" y="352"/>
                  </a:cubicBezTo>
                  <a:cubicBezTo>
                    <a:pt x="271" y="350"/>
                    <a:pt x="271" y="350"/>
                    <a:pt x="271" y="350"/>
                  </a:cubicBezTo>
                  <a:cubicBezTo>
                    <a:pt x="271" y="350"/>
                    <a:pt x="271" y="350"/>
                    <a:pt x="271" y="350"/>
                  </a:cubicBezTo>
                  <a:cubicBezTo>
                    <a:pt x="273" y="352"/>
                    <a:pt x="273" y="352"/>
                    <a:pt x="273" y="352"/>
                  </a:cubicBezTo>
                  <a:cubicBezTo>
                    <a:pt x="273" y="351"/>
                    <a:pt x="273" y="351"/>
                    <a:pt x="273" y="351"/>
                  </a:cubicBezTo>
                  <a:cubicBezTo>
                    <a:pt x="274" y="350"/>
                    <a:pt x="275" y="349"/>
                    <a:pt x="276" y="348"/>
                  </a:cubicBezTo>
                  <a:cubicBezTo>
                    <a:pt x="278" y="347"/>
                    <a:pt x="280" y="345"/>
                    <a:pt x="282" y="344"/>
                  </a:cubicBezTo>
                  <a:cubicBezTo>
                    <a:pt x="290" y="337"/>
                    <a:pt x="300" y="334"/>
                    <a:pt x="310" y="333"/>
                  </a:cubicBezTo>
                  <a:cubicBezTo>
                    <a:pt x="310" y="333"/>
                    <a:pt x="310" y="333"/>
                    <a:pt x="310" y="333"/>
                  </a:cubicBezTo>
                  <a:cubicBezTo>
                    <a:pt x="314" y="333"/>
                    <a:pt x="317" y="334"/>
                    <a:pt x="321" y="335"/>
                  </a:cubicBezTo>
                  <a:cubicBezTo>
                    <a:pt x="322" y="335"/>
                    <a:pt x="323" y="336"/>
                    <a:pt x="324" y="336"/>
                  </a:cubicBezTo>
                  <a:cubicBezTo>
                    <a:pt x="326" y="336"/>
                    <a:pt x="327" y="336"/>
                    <a:pt x="328" y="336"/>
                  </a:cubicBezTo>
                  <a:cubicBezTo>
                    <a:pt x="331" y="337"/>
                    <a:pt x="334" y="338"/>
                    <a:pt x="338" y="339"/>
                  </a:cubicBezTo>
                  <a:cubicBezTo>
                    <a:pt x="339" y="340"/>
                    <a:pt x="340" y="341"/>
                    <a:pt x="341" y="342"/>
                  </a:cubicBezTo>
                  <a:cubicBezTo>
                    <a:pt x="343" y="343"/>
                    <a:pt x="344" y="345"/>
                    <a:pt x="348" y="345"/>
                  </a:cubicBezTo>
                  <a:cubicBezTo>
                    <a:pt x="348" y="345"/>
                    <a:pt x="349" y="345"/>
                    <a:pt x="350" y="345"/>
                  </a:cubicBezTo>
                  <a:cubicBezTo>
                    <a:pt x="352" y="345"/>
                    <a:pt x="355" y="344"/>
                    <a:pt x="357" y="342"/>
                  </a:cubicBezTo>
                  <a:cubicBezTo>
                    <a:pt x="357" y="341"/>
                    <a:pt x="358" y="340"/>
                    <a:pt x="359" y="339"/>
                  </a:cubicBezTo>
                  <a:cubicBezTo>
                    <a:pt x="360" y="337"/>
                    <a:pt x="361" y="335"/>
                    <a:pt x="362" y="334"/>
                  </a:cubicBezTo>
                  <a:cubicBezTo>
                    <a:pt x="364" y="332"/>
                    <a:pt x="365" y="332"/>
                    <a:pt x="367" y="331"/>
                  </a:cubicBezTo>
                  <a:cubicBezTo>
                    <a:pt x="368" y="331"/>
                    <a:pt x="369" y="331"/>
                    <a:pt x="370" y="330"/>
                  </a:cubicBezTo>
                  <a:cubicBezTo>
                    <a:pt x="371" y="330"/>
                    <a:pt x="373" y="329"/>
                    <a:pt x="374" y="328"/>
                  </a:cubicBezTo>
                  <a:cubicBezTo>
                    <a:pt x="375" y="327"/>
                    <a:pt x="376" y="326"/>
                    <a:pt x="377" y="325"/>
                  </a:cubicBezTo>
                  <a:cubicBezTo>
                    <a:pt x="379" y="324"/>
                    <a:pt x="381" y="324"/>
                    <a:pt x="383" y="324"/>
                  </a:cubicBezTo>
                  <a:cubicBezTo>
                    <a:pt x="383" y="324"/>
                    <a:pt x="383" y="324"/>
                    <a:pt x="383" y="324"/>
                  </a:cubicBezTo>
                  <a:cubicBezTo>
                    <a:pt x="385" y="324"/>
                    <a:pt x="385" y="324"/>
                    <a:pt x="385" y="324"/>
                  </a:cubicBezTo>
                  <a:cubicBezTo>
                    <a:pt x="386" y="322"/>
                    <a:pt x="386" y="322"/>
                    <a:pt x="386" y="322"/>
                  </a:cubicBezTo>
                  <a:cubicBezTo>
                    <a:pt x="387" y="318"/>
                    <a:pt x="385" y="314"/>
                    <a:pt x="383" y="309"/>
                  </a:cubicBezTo>
                  <a:cubicBezTo>
                    <a:pt x="382" y="305"/>
                    <a:pt x="380" y="301"/>
                    <a:pt x="381" y="298"/>
                  </a:cubicBezTo>
                  <a:cubicBezTo>
                    <a:pt x="382" y="297"/>
                    <a:pt x="383" y="297"/>
                    <a:pt x="383" y="297"/>
                  </a:cubicBezTo>
                  <a:cubicBezTo>
                    <a:pt x="387" y="297"/>
                    <a:pt x="388" y="297"/>
                    <a:pt x="389" y="293"/>
                  </a:cubicBezTo>
                  <a:cubicBezTo>
                    <a:pt x="389" y="292"/>
                    <a:pt x="390" y="291"/>
                    <a:pt x="390" y="289"/>
                  </a:cubicBezTo>
                  <a:cubicBezTo>
                    <a:pt x="391" y="285"/>
                    <a:pt x="392" y="282"/>
                    <a:pt x="395" y="278"/>
                  </a:cubicBezTo>
                  <a:cubicBezTo>
                    <a:pt x="397" y="276"/>
                    <a:pt x="398" y="273"/>
                    <a:pt x="400" y="271"/>
                  </a:cubicBezTo>
                  <a:cubicBezTo>
                    <a:pt x="402" y="268"/>
                    <a:pt x="404" y="265"/>
                    <a:pt x="406" y="262"/>
                  </a:cubicBezTo>
                  <a:cubicBezTo>
                    <a:pt x="411" y="256"/>
                    <a:pt x="416" y="249"/>
                    <a:pt x="421" y="241"/>
                  </a:cubicBezTo>
                  <a:cubicBezTo>
                    <a:pt x="423" y="239"/>
                    <a:pt x="425" y="236"/>
                    <a:pt x="427" y="233"/>
                  </a:cubicBezTo>
                  <a:cubicBezTo>
                    <a:pt x="428" y="230"/>
                    <a:pt x="431" y="228"/>
                    <a:pt x="434" y="225"/>
                  </a:cubicBezTo>
                  <a:cubicBezTo>
                    <a:pt x="436" y="224"/>
                    <a:pt x="438" y="222"/>
                    <a:pt x="440" y="220"/>
                  </a:cubicBezTo>
                  <a:cubicBezTo>
                    <a:pt x="440" y="220"/>
                    <a:pt x="440" y="220"/>
                    <a:pt x="440" y="220"/>
                  </a:cubicBezTo>
                  <a:cubicBezTo>
                    <a:pt x="449" y="120"/>
                    <a:pt x="449" y="120"/>
                    <a:pt x="449" y="120"/>
                  </a:cubicBezTo>
                  <a:cubicBezTo>
                    <a:pt x="454" y="105"/>
                    <a:pt x="454" y="105"/>
                    <a:pt x="454" y="105"/>
                  </a:cubicBezTo>
                  <a:lnTo>
                    <a:pt x="443" y="90"/>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58" name="Freeform 58">
              <a:extLst>
                <a:ext uri="{FF2B5EF4-FFF2-40B4-BE49-F238E27FC236}">
                  <a16:creationId xmlns:a16="http://schemas.microsoft.com/office/drawing/2014/main" id="{C4F2C37A-88DF-4DFB-BE24-92C353314A14}"/>
                </a:ext>
              </a:extLst>
            </p:cNvPr>
            <p:cNvSpPr>
              <a:spLocks/>
            </p:cNvSpPr>
            <p:nvPr/>
          </p:nvSpPr>
          <p:spPr bwMode="auto">
            <a:xfrm>
              <a:off x="2481019" y="2379912"/>
              <a:ext cx="345967" cy="388338"/>
            </a:xfrm>
            <a:custGeom>
              <a:avLst/>
              <a:gdLst>
                <a:gd name="T0" fmla="*/ 163 w 171"/>
                <a:gd name="T1" fmla="*/ 92 h 208"/>
                <a:gd name="T2" fmla="*/ 160 w 171"/>
                <a:gd name="T3" fmla="*/ 86 h 208"/>
                <a:gd name="T4" fmla="*/ 153 w 171"/>
                <a:gd name="T5" fmla="*/ 85 h 208"/>
                <a:gd name="T6" fmla="*/ 153 w 171"/>
                <a:gd name="T7" fmla="*/ 78 h 208"/>
                <a:gd name="T8" fmla="*/ 163 w 171"/>
                <a:gd name="T9" fmla="*/ 56 h 208"/>
                <a:gd name="T10" fmla="*/ 167 w 171"/>
                <a:gd name="T11" fmla="*/ 52 h 208"/>
                <a:gd name="T12" fmla="*/ 169 w 171"/>
                <a:gd name="T13" fmla="*/ 49 h 208"/>
                <a:gd name="T14" fmla="*/ 169 w 171"/>
                <a:gd name="T15" fmla="*/ 45 h 208"/>
                <a:gd name="T16" fmla="*/ 161 w 171"/>
                <a:gd name="T17" fmla="*/ 32 h 208"/>
                <a:gd name="T18" fmla="*/ 132 w 171"/>
                <a:gd name="T19" fmla="*/ 36 h 208"/>
                <a:gd name="T20" fmla="*/ 133 w 171"/>
                <a:gd name="T21" fmla="*/ 30 h 208"/>
                <a:gd name="T22" fmla="*/ 131 w 171"/>
                <a:gd name="T23" fmla="*/ 22 h 208"/>
                <a:gd name="T24" fmla="*/ 135 w 171"/>
                <a:gd name="T25" fmla="*/ 5 h 208"/>
                <a:gd name="T26" fmla="*/ 132 w 171"/>
                <a:gd name="T27" fmla="*/ 1 h 208"/>
                <a:gd name="T28" fmla="*/ 95 w 171"/>
                <a:gd name="T29" fmla="*/ 0 h 208"/>
                <a:gd name="T30" fmla="*/ 79 w 171"/>
                <a:gd name="T31" fmla="*/ 44 h 208"/>
                <a:gd name="T32" fmla="*/ 37 w 171"/>
                <a:gd name="T33" fmla="*/ 44 h 208"/>
                <a:gd name="T34" fmla="*/ 31 w 171"/>
                <a:gd name="T35" fmla="*/ 41 h 208"/>
                <a:gd name="T36" fmla="*/ 24 w 171"/>
                <a:gd name="T37" fmla="*/ 43 h 208"/>
                <a:gd name="T38" fmla="*/ 24 w 171"/>
                <a:gd name="T39" fmla="*/ 48 h 208"/>
                <a:gd name="T40" fmla="*/ 19 w 171"/>
                <a:gd name="T41" fmla="*/ 52 h 208"/>
                <a:gd name="T42" fmla="*/ 18 w 171"/>
                <a:gd name="T43" fmla="*/ 63 h 208"/>
                <a:gd name="T44" fmla="*/ 17 w 171"/>
                <a:gd name="T45" fmla="*/ 78 h 208"/>
                <a:gd name="T46" fmla="*/ 13 w 171"/>
                <a:gd name="T47" fmla="*/ 93 h 208"/>
                <a:gd name="T48" fmla="*/ 10 w 171"/>
                <a:gd name="T49" fmla="*/ 97 h 208"/>
                <a:gd name="T50" fmla="*/ 7 w 171"/>
                <a:gd name="T51" fmla="*/ 97 h 208"/>
                <a:gd name="T52" fmla="*/ 1 w 171"/>
                <a:gd name="T53" fmla="*/ 93 h 208"/>
                <a:gd name="T54" fmla="*/ 7 w 171"/>
                <a:gd name="T55" fmla="*/ 112 h 208"/>
                <a:gd name="T56" fmla="*/ 15 w 171"/>
                <a:gd name="T57" fmla="*/ 123 h 208"/>
                <a:gd name="T58" fmla="*/ 17 w 171"/>
                <a:gd name="T59" fmla="*/ 127 h 208"/>
                <a:gd name="T60" fmla="*/ 15 w 171"/>
                <a:gd name="T61" fmla="*/ 130 h 208"/>
                <a:gd name="T62" fmla="*/ 22 w 171"/>
                <a:gd name="T63" fmla="*/ 138 h 208"/>
                <a:gd name="T64" fmla="*/ 23 w 171"/>
                <a:gd name="T65" fmla="*/ 145 h 208"/>
                <a:gd name="T66" fmla="*/ 26 w 171"/>
                <a:gd name="T67" fmla="*/ 150 h 208"/>
                <a:gd name="T68" fmla="*/ 35 w 171"/>
                <a:gd name="T69" fmla="*/ 159 h 208"/>
                <a:gd name="T70" fmla="*/ 38 w 171"/>
                <a:gd name="T71" fmla="*/ 166 h 208"/>
                <a:gd name="T72" fmla="*/ 47 w 171"/>
                <a:gd name="T73" fmla="*/ 174 h 208"/>
                <a:gd name="T74" fmla="*/ 58 w 171"/>
                <a:gd name="T75" fmla="*/ 189 h 208"/>
                <a:gd name="T76" fmla="*/ 66 w 171"/>
                <a:gd name="T77" fmla="*/ 199 h 208"/>
                <a:gd name="T78" fmla="*/ 73 w 171"/>
                <a:gd name="T79" fmla="*/ 208 h 208"/>
                <a:gd name="T80" fmla="*/ 82 w 171"/>
                <a:gd name="T81" fmla="*/ 195 h 208"/>
                <a:gd name="T82" fmla="*/ 89 w 171"/>
                <a:gd name="T83" fmla="*/ 194 h 208"/>
                <a:gd name="T84" fmla="*/ 94 w 171"/>
                <a:gd name="T85" fmla="*/ 188 h 208"/>
                <a:gd name="T86" fmla="*/ 92 w 171"/>
                <a:gd name="T87" fmla="*/ 182 h 208"/>
                <a:gd name="T88" fmla="*/ 91 w 171"/>
                <a:gd name="T89" fmla="*/ 176 h 208"/>
                <a:gd name="T90" fmla="*/ 86 w 171"/>
                <a:gd name="T91" fmla="*/ 166 h 208"/>
                <a:gd name="T92" fmla="*/ 87 w 171"/>
                <a:gd name="T93" fmla="*/ 160 h 208"/>
                <a:gd name="T94" fmla="*/ 87 w 171"/>
                <a:gd name="T95" fmla="*/ 154 h 208"/>
                <a:gd name="T96" fmla="*/ 91 w 171"/>
                <a:gd name="T97" fmla="*/ 155 h 208"/>
                <a:gd name="T98" fmla="*/ 96 w 171"/>
                <a:gd name="T99" fmla="*/ 154 h 208"/>
                <a:gd name="T100" fmla="*/ 102 w 171"/>
                <a:gd name="T101" fmla="*/ 156 h 208"/>
                <a:gd name="T102" fmla="*/ 106 w 171"/>
                <a:gd name="T103" fmla="*/ 154 h 208"/>
                <a:gd name="T104" fmla="*/ 112 w 171"/>
                <a:gd name="T105" fmla="*/ 153 h 208"/>
                <a:gd name="T106" fmla="*/ 111 w 171"/>
                <a:gd name="T107" fmla="*/ 143 h 208"/>
                <a:gd name="T108" fmla="*/ 120 w 171"/>
                <a:gd name="T109" fmla="*/ 138 h 208"/>
                <a:gd name="T110" fmla="*/ 128 w 171"/>
                <a:gd name="T111" fmla="*/ 152 h 208"/>
                <a:gd name="T112" fmla="*/ 134 w 171"/>
                <a:gd name="T113" fmla="*/ 155 h 208"/>
                <a:gd name="T114" fmla="*/ 144 w 171"/>
                <a:gd name="T115" fmla="*/ 152 h 208"/>
                <a:gd name="T116" fmla="*/ 150 w 171"/>
                <a:gd name="T117" fmla="*/ 148 h 208"/>
                <a:gd name="T118" fmla="*/ 160 w 171"/>
                <a:gd name="T119" fmla="*/ 156 h 208"/>
                <a:gd name="T120" fmla="*/ 166 w 171"/>
                <a:gd name="T121" fmla="*/ 141 h 208"/>
                <a:gd name="T122" fmla="*/ 168 w 171"/>
                <a:gd name="T123" fmla="*/ 123 h 208"/>
                <a:gd name="T124" fmla="*/ 171 w 171"/>
                <a:gd name="T125" fmla="*/ 1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208">
                  <a:moveTo>
                    <a:pt x="171" y="100"/>
                  </a:moveTo>
                  <a:cubicBezTo>
                    <a:pt x="171" y="98"/>
                    <a:pt x="171" y="96"/>
                    <a:pt x="170" y="94"/>
                  </a:cubicBezTo>
                  <a:cubicBezTo>
                    <a:pt x="168" y="93"/>
                    <a:pt x="166" y="92"/>
                    <a:pt x="163" y="92"/>
                  </a:cubicBezTo>
                  <a:cubicBezTo>
                    <a:pt x="163" y="92"/>
                    <a:pt x="162" y="92"/>
                    <a:pt x="162" y="92"/>
                  </a:cubicBezTo>
                  <a:cubicBezTo>
                    <a:pt x="162" y="92"/>
                    <a:pt x="162" y="91"/>
                    <a:pt x="162" y="90"/>
                  </a:cubicBezTo>
                  <a:cubicBezTo>
                    <a:pt x="161" y="88"/>
                    <a:pt x="160" y="86"/>
                    <a:pt x="160" y="86"/>
                  </a:cubicBezTo>
                  <a:cubicBezTo>
                    <a:pt x="159" y="85"/>
                    <a:pt x="157" y="85"/>
                    <a:pt x="156" y="85"/>
                  </a:cubicBezTo>
                  <a:cubicBezTo>
                    <a:pt x="156" y="85"/>
                    <a:pt x="155" y="85"/>
                    <a:pt x="154" y="85"/>
                  </a:cubicBezTo>
                  <a:cubicBezTo>
                    <a:pt x="154" y="85"/>
                    <a:pt x="153" y="85"/>
                    <a:pt x="153" y="85"/>
                  </a:cubicBezTo>
                  <a:cubicBezTo>
                    <a:pt x="153" y="85"/>
                    <a:pt x="153" y="85"/>
                    <a:pt x="153" y="85"/>
                  </a:cubicBezTo>
                  <a:cubicBezTo>
                    <a:pt x="153" y="85"/>
                    <a:pt x="152" y="85"/>
                    <a:pt x="152" y="85"/>
                  </a:cubicBezTo>
                  <a:cubicBezTo>
                    <a:pt x="152" y="82"/>
                    <a:pt x="152" y="81"/>
                    <a:pt x="153" y="78"/>
                  </a:cubicBezTo>
                  <a:cubicBezTo>
                    <a:pt x="154" y="76"/>
                    <a:pt x="154" y="74"/>
                    <a:pt x="154" y="71"/>
                  </a:cubicBezTo>
                  <a:cubicBezTo>
                    <a:pt x="155" y="67"/>
                    <a:pt x="155" y="63"/>
                    <a:pt x="160" y="60"/>
                  </a:cubicBezTo>
                  <a:cubicBezTo>
                    <a:pt x="161" y="59"/>
                    <a:pt x="162" y="58"/>
                    <a:pt x="163" y="56"/>
                  </a:cubicBezTo>
                  <a:cubicBezTo>
                    <a:pt x="163" y="56"/>
                    <a:pt x="163" y="55"/>
                    <a:pt x="164" y="55"/>
                  </a:cubicBezTo>
                  <a:cubicBezTo>
                    <a:pt x="164" y="54"/>
                    <a:pt x="165" y="54"/>
                    <a:pt x="165" y="54"/>
                  </a:cubicBezTo>
                  <a:cubicBezTo>
                    <a:pt x="166" y="53"/>
                    <a:pt x="166" y="53"/>
                    <a:pt x="167" y="52"/>
                  </a:cubicBezTo>
                  <a:cubicBezTo>
                    <a:pt x="167" y="52"/>
                    <a:pt x="167" y="52"/>
                    <a:pt x="167" y="51"/>
                  </a:cubicBezTo>
                  <a:cubicBezTo>
                    <a:pt x="167" y="50"/>
                    <a:pt x="168" y="50"/>
                    <a:pt x="168" y="50"/>
                  </a:cubicBezTo>
                  <a:cubicBezTo>
                    <a:pt x="169" y="49"/>
                    <a:pt x="169" y="49"/>
                    <a:pt x="169" y="49"/>
                  </a:cubicBezTo>
                  <a:cubicBezTo>
                    <a:pt x="169" y="48"/>
                    <a:pt x="169" y="48"/>
                    <a:pt x="169" y="48"/>
                  </a:cubicBezTo>
                  <a:cubicBezTo>
                    <a:pt x="169" y="48"/>
                    <a:pt x="169" y="47"/>
                    <a:pt x="169" y="46"/>
                  </a:cubicBezTo>
                  <a:cubicBezTo>
                    <a:pt x="169" y="45"/>
                    <a:pt x="169" y="45"/>
                    <a:pt x="169" y="45"/>
                  </a:cubicBezTo>
                  <a:cubicBezTo>
                    <a:pt x="168" y="45"/>
                    <a:pt x="168" y="45"/>
                    <a:pt x="168" y="45"/>
                  </a:cubicBezTo>
                  <a:cubicBezTo>
                    <a:pt x="167" y="43"/>
                    <a:pt x="166" y="41"/>
                    <a:pt x="165" y="38"/>
                  </a:cubicBezTo>
                  <a:cubicBezTo>
                    <a:pt x="164" y="36"/>
                    <a:pt x="163" y="33"/>
                    <a:pt x="161" y="32"/>
                  </a:cubicBezTo>
                  <a:cubicBezTo>
                    <a:pt x="159" y="30"/>
                    <a:pt x="157" y="29"/>
                    <a:pt x="153" y="29"/>
                  </a:cubicBezTo>
                  <a:cubicBezTo>
                    <a:pt x="151" y="29"/>
                    <a:pt x="148" y="30"/>
                    <a:pt x="146" y="31"/>
                  </a:cubicBezTo>
                  <a:cubicBezTo>
                    <a:pt x="144" y="32"/>
                    <a:pt x="136" y="36"/>
                    <a:pt x="132" y="36"/>
                  </a:cubicBezTo>
                  <a:cubicBezTo>
                    <a:pt x="131" y="36"/>
                    <a:pt x="130" y="36"/>
                    <a:pt x="130" y="35"/>
                  </a:cubicBezTo>
                  <a:cubicBezTo>
                    <a:pt x="130" y="35"/>
                    <a:pt x="129" y="34"/>
                    <a:pt x="131" y="33"/>
                  </a:cubicBezTo>
                  <a:cubicBezTo>
                    <a:pt x="132" y="32"/>
                    <a:pt x="133" y="31"/>
                    <a:pt x="133" y="30"/>
                  </a:cubicBezTo>
                  <a:cubicBezTo>
                    <a:pt x="133" y="29"/>
                    <a:pt x="133" y="29"/>
                    <a:pt x="132" y="28"/>
                  </a:cubicBezTo>
                  <a:cubicBezTo>
                    <a:pt x="132" y="27"/>
                    <a:pt x="131" y="27"/>
                    <a:pt x="131" y="26"/>
                  </a:cubicBezTo>
                  <a:cubicBezTo>
                    <a:pt x="131" y="25"/>
                    <a:pt x="131" y="24"/>
                    <a:pt x="131" y="22"/>
                  </a:cubicBezTo>
                  <a:cubicBezTo>
                    <a:pt x="130" y="22"/>
                    <a:pt x="130" y="22"/>
                    <a:pt x="130" y="22"/>
                  </a:cubicBezTo>
                  <a:cubicBezTo>
                    <a:pt x="130" y="18"/>
                    <a:pt x="130" y="14"/>
                    <a:pt x="132" y="11"/>
                  </a:cubicBezTo>
                  <a:cubicBezTo>
                    <a:pt x="132" y="9"/>
                    <a:pt x="133" y="7"/>
                    <a:pt x="135" y="5"/>
                  </a:cubicBezTo>
                  <a:cubicBezTo>
                    <a:pt x="136" y="3"/>
                    <a:pt x="136" y="3"/>
                    <a:pt x="136" y="3"/>
                  </a:cubicBezTo>
                  <a:cubicBezTo>
                    <a:pt x="134" y="2"/>
                    <a:pt x="134" y="2"/>
                    <a:pt x="134" y="2"/>
                  </a:cubicBezTo>
                  <a:cubicBezTo>
                    <a:pt x="134" y="2"/>
                    <a:pt x="133" y="2"/>
                    <a:pt x="132" y="1"/>
                  </a:cubicBezTo>
                  <a:cubicBezTo>
                    <a:pt x="131" y="1"/>
                    <a:pt x="130" y="1"/>
                    <a:pt x="128" y="1"/>
                  </a:cubicBezTo>
                  <a:cubicBezTo>
                    <a:pt x="127" y="1"/>
                    <a:pt x="127" y="1"/>
                    <a:pt x="127" y="1"/>
                  </a:cubicBezTo>
                  <a:cubicBezTo>
                    <a:pt x="116" y="1"/>
                    <a:pt x="106" y="1"/>
                    <a:pt x="95" y="0"/>
                  </a:cubicBezTo>
                  <a:cubicBezTo>
                    <a:pt x="79" y="0"/>
                    <a:pt x="79" y="0"/>
                    <a:pt x="79" y="0"/>
                  </a:cubicBezTo>
                  <a:cubicBezTo>
                    <a:pt x="79" y="4"/>
                    <a:pt x="79" y="4"/>
                    <a:pt x="79" y="4"/>
                  </a:cubicBezTo>
                  <a:cubicBezTo>
                    <a:pt x="79" y="44"/>
                    <a:pt x="79" y="44"/>
                    <a:pt x="79" y="44"/>
                  </a:cubicBezTo>
                  <a:cubicBezTo>
                    <a:pt x="39" y="43"/>
                    <a:pt x="39" y="43"/>
                    <a:pt x="39" y="43"/>
                  </a:cubicBezTo>
                  <a:cubicBezTo>
                    <a:pt x="39" y="44"/>
                    <a:pt x="39" y="44"/>
                    <a:pt x="39" y="44"/>
                  </a:cubicBezTo>
                  <a:cubicBezTo>
                    <a:pt x="38" y="44"/>
                    <a:pt x="38" y="44"/>
                    <a:pt x="37" y="44"/>
                  </a:cubicBezTo>
                  <a:cubicBezTo>
                    <a:pt x="36" y="44"/>
                    <a:pt x="35" y="43"/>
                    <a:pt x="34" y="42"/>
                  </a:cubicBezTo>
                  <a:cubicBezTo>
                    <a:pt x="33" y="42"/>
                    <a:pt x="32" y="41"/>
                    <a:pt x="32" y="41"/>
                  </a:cubicBezTo>
                  <a:cubicBezTo>
                    <a:pt x="31" y="41"/>
                    <a:pt x="31" y="41"/>
                    <a:pt x="31" y="41"/>
                  </a:cubicBezTo>
                  <a:cubicBezTo>
                    <a:pt x="31" y="41"/>
                    <a:pt x="31" y="41"/>
                    <a:pt x="31" y="41"/>
                  </a:cubicBezTo>
                  <a:cubicBezTo>
                    <a:pt x="29" y="41"/>
                    <a:pt x="27" y="42"/>
                    <a:pt x="25" y="43"/>
                  </a:cubicBezTo>
                  <a:cubicBezTo>
                    <a:pt x="24" y="43"/>
                    <a:pt x="24" y="43"/>
                    <a:pt x="24" y="43"/>
                  </a:cubicBezTo>
                  <a:cubicBezTo>
                    <a:pt x="24" y="44"/>
                    <a:pt x="24" y="44"/>
                    <a:pt x="24" y="44"/>
                  </a:cubicBezTo>
                  <a:cubicBezTo>
                    <a:pt x="24" y="45"/>
                    <a:pt x="24" y="46"/>
                    <a:pt x="24" y="47"/>
                  </a:cubicBezTo>
                  <a:cubicBezTo>
                    <a:pt x="24" y="47"/>
                    <a:pt x="24" y="48"/>
                    <a:pt x="24" y="48"/>
                  </a:cubicBezTo>
                  <a:cubicBezTo>
                    <a:pt x="25" y="49"/>
                    <a:pt x="25" y="51"/>
                    <a:pt x="25" y="51"/>
                  </a:cubicBezTo>
                  <a:cubicBezTo>
                    <a:pt x="25" y="51"/>
                    <a:pt x="22" y="52"/>
                    <a:pt x="20" y="52"/>
                  </a:cubicBezTo>
                  <a:cubicBezTo>
                    <a:pt x="20" y="52"/>
                    <a:pt x="19" y="52"/>
                    <a:pt x="19" y="52"/>
                  </a:cubicBezTo>
                  <a:cubicBezTo>
                    <a:pt x="19" y="53"/>
                    <a:pt x="19" y="53"/>
                    <a:pt x="19" y="53"/>
                  </a:cubicBezTo>
                  <a:cubicBezTo>
                    <a:pt x="17" y="56"/>
                    <a:pt x="16" y="58"/>
                    <a:pt x="17" y="60"/>
                  </a:cubicBezTo>
                  <a:cubicBezTo>
                    <a:pt x="17" y="61"/>
                    <a:pt x="18" y="62"/>
                    <a:pt x="18" y="63"/>
                  </a:cubicBezTo>
                  <a:cubicBezTo>
                    <a:pt x="19" y="64"/>
                    <a:pt x="19" y="64"/>
                    <a:pt x="18" y="65"/>
                  </a:cubicBezTo>
                  <a:cubicBezTo>
                    <a:pt x="17" y="69"/>
                    <a:pt x="17" y="73"/>
                    <a:pt x="17" y="77"/>
                  </a:cubicBezTo>
                  <a:cubicBezTo>
                    <a:pt x="17" y="78"/>
                    <a:pt x="17" y="78"/>
                    <a:pt x="17" y="78"/>
                  </a:cubicBezTo>
                  <a:cubicBezTo>
                    <a:pt x="17" y="82"/>
                    <a:pt x="17" y="86"/>
                    <a:pt x="16" y="89"/>
                  </a:cubicBezTo>
                  <a:cubicBezTo>
                    <a:pt x="15" y="89"/>
                    <a:pt x="15" y="90"/>
                    <a:pt x="14" y="91"/>
                  </a:cubicBezTo>
                  <a:cubicBezTo>
                    <a:pt x="14" y="91"/>
                    <a:pt x="13" y="92"/>
                    <a:pt x="13" y="93"/>
                  </a:cubicBezTo>
                  <a:cubicBezTo>
                    <a:pt x="12" y="93"/>
                    <a:pt x="12" y="94"/>
                    <a:pt x="12" y="94"/>
                  </a:cubicBezTo>
                  <a:cubicBezTo>
                    <a:pt x="11" y="94"/>
                    <a:pt x="11" y="95"/>
                    <a:pt x="11" y="95"/>
                  </a:cubicBezTo>
                  <a:cubicBezTo>
                    <a:pt x="10" y="96"/>
                    <a:pt x="10" y="96"/>
                    <a:pt x="10" y="97"/>
                  </a:cubicBezTo>
                  <a:cubicBezTo>
                    <a:pt x="10" y="97"/>
                    <a:pt x="10" y="98"/>
                    <a:pt x="10" y="98"/>
                  </a:cubicBezTo>
                  <a:cubicBezTo>
                    <a:pt x="9" y="98"/>
                    <a:pt x="8" y="97"/>
                    <a:pt x="8" y="97"/>
                  </a:cubicBezTo>
                  <a:cubicBezTo>
                    <a:pt x="7" y="97"/>
                    <a:pt x="7" y="97"/>
                    <a:pt x="7" y="97"/>
                  </a:cubicBezTo>
                  <a:cubicBezTo>
                    <a:pt x="6" y="97"/>
                    <a:pt x="6" y="96"/>
                    <a:pt x="6" y="96"/>
                  </a:cubicBezTo>
                  <a:cubicBezTo>
                    <a:pt x="5" y="95"/>
                    <a:pt x="4" y="94"/>
                    <a:pt x="3" y="94"/>
                  </a:cubicBezTo>
                  <a:cubicBezTo>
                    <a:pt x="1" y="93"/>
                    <a:pt x="1" y="93"/>
                    <a:pt x="1" y="93"/>
                  </a:cubicBezTo>
                  <a:cubicBezTo>
                    <a:pt x="0" y="95"/>
                    <a:pt x="0" y="95"/>
                    <a:pt x="0" y="95"/>
                  </a:cubicBezTo>
                  <a:cubicBezTo>
                    <a:pt x="0" y="99"/>
                    <a:pt x="2" y="104"/>
                    <a:pt x="5" y="108"/>
                  </a:cubicBezTo>
                  <a:cubicBezTo>
                    <a:pt x="6" y="109"/>
                    <a:pt x="6" y="110"/>
                    <a:pt x="7" y="112"/>
                  </a:cubicBezTo>
                  <a:cubicBezTo>
                    <a:pt x="7" y="113"/>
                    <a:pt x="8" y="115"/>
                    <a:pt x="9" y="117"/>
                  </a:cubicBezTo>
                  <a:cubicBezTo>
                    <a:pt x="10" y="117"/>
                    <a:pt x="10" y="117"/>
                    <a:pt x="10" y="117"/>
                  </a:cubicBezTo>
                  <a:cubicBezTo>
                    <a:pt x="11" y="119"/>
                    <a:pt x="13" y="122"/>
                    <a:pt x="15" y="123"/>
                  </a:cubicBezTo>
                  <a:cubicBezTo>
                    <a:pt x="16" y="123"/>
                    <a:pt x="16" y="123"/>
                    <a:pt x="16" y="123"/>
                  </a:cubicBezTo>
                  <a:cubicBezTo>
                    <a:pt x="17" y="123"/>
                    <a:pt x="17" y="123"/>
                    <a:pt x="18" y="123"/>
                  </a:cubicBezTo>
                  <a:cubicBezTo>
                    <a:pt x="17" y="124"/>
                    <a:pt x="16" y="125"/>
                    <a:pt x="17" y="127"/>
                  </a:cubicBezTo>
                  <a:cubicBezTo>
                    <a:pt x="17" y="128"/>
                    <a:pt x="17" y="128"/>
                    <a:pt x="17" y="128"/>
                  </a:cubicBezTo>
                  <a:cubicBezTo>
                    <a:pt x="15" y="128"/>
                    <a:pt x="15" y="128"/>
                    <a:pt x="15" y="128"/>
                  </a:cubicBezTo>
                  <a:cubicBezTo>
                    <a:pt x="15" y="130"/>
                    <a:pt x="15" y="130"/>
                    <a:pt x="15" y="130"/>
                  </a:cubicBezTo>
                  <a:cubicBezTo>
                    <a:pt x="15" y="132"/>
                    <a:pt x="15" y="135"/>
                    <a:pt x="17" y="137"/>
                  </a:cubicBezTo>
                  <a:cubicBezTo>
                    <a:pt x="18" y="138"/>
                    <a:pt x="19" y="138"/>
                    <a:pt x="21" y="138"/>
                  </a:cubicBezTo>
                  <a:cubicBezTo>
                    <a:pt x="21" y="138"/>
                    <a:pt x="22" y="138"/>
                    <a:pt x="22" y="138"/>
                  </a:cubicBezTo>
                  <a:cubicBezTo>
                    <a:pt x="23" y="139"/>
                    <a:pt x="24" y="140"/>
                    <a:pt x="24" y="141"/>
                  </a:cubicBezTo>
                  <a:cubicBezTo>
                    <a:pt x="24" y="141"/>
                    <a:pt x="24" y="142"/>
                    <a:pt x="24" y="142"/>
                  </a:cubicBezTo>
                  <a:cubicBezTo>
                    <a:pt x="23" y="143"/>
                    <a:pt x="23" y="143"/>
                    <a:pt x="23" y="145"/>
                  </a:cubicBezTo>
                  <a:cubicBezTo>
                    <a:pt x="23" y="146"/>
                    <a:pt x="24" y="147"/>
                    <a:pt x="25" y="148"/>
                  </a:cubicBezTo>
                  <a:cubicBezTo>
                    <a:pt x="25" y="148"/>
                    <a:pt x="25" y="149"/>
                    <a:pt x="25" y="149"/>
                  </a:cubicBezTo>
                  <a:cubicBezTo>
                    <a:pt x="26" y="149"/>
                    <a:pt x="26" y="150"/>
                    <a:pt x="26" y="150"/>
                  </a:cubicBezTo>
                  <a:cubicBezTo>
                    <a:pt x="26" y="151"/>
                    <a:pt x="26" y="152"/>
                    <a:pt x="27" y="154"/>
                  </a:cubicBezTo>
                  <a:cubicBezTo>
                    <a:pt x="29" y="155"/>
                    <a:pt x="31" y="156"/>
                    <a:pt x="33" y="158"/>
                  </a:cubicBezTo>
                  <a:cubicBezTo>
                    <a:pt x="34" y="158"/>
                    <a:pt x="34" y="158"/>
                    <a:pt x="35" y="159"/>
                  </a:cubicBezTo>
                  <a:cubicBezTo>
                    <a:pt x="36" y="159"/>
                    <a:pt x="36" y="159"/>
                    <a:pt x="37" y="160"/>
                  </a:cubicBezTo>
                  <a:cubicBezTo>
                    <a:pt x="36" y="160"/>
                    <a:pt x="35" y="161"/>
                    <a:pt x="35" y="162"/>
                  </a:cubicBezTo>
                  <a:cubicBezTo>
                    <a:pt x="35" y="164"/>
                    <a:pt x="37" y="165"/>
                    <a:pt x="38" y="166"/>
                  </a:cubicBezTo>
                  <a:cubicBezTo>
                    <a:pt x="39" y="167"/>
                    <a:pt x="39" y="167"/>
                    <a:pt x="39" y="167"/>
                  </a:cubicBezTo>
                  <a:cubicBezTo>
                    <a:pt x="41" y="168"/>
                    <a:pt x="42" y="169"/>
                    <a:pt x="43" y="170"/>
                  </a:cubicBezTo>
                  <a:cubicBezTo>
                    <a:pt x="44" y="172"/>
                    <a:pt x="46" y="173"/>
                    <a:pt x="47" y="174"/>
                  </a:cubicBezTo>
                  <a:cubicBezTo>
                    <a:pt x="49" y="177"/>
                    <a:pt x="51" y="180"/>
                    <a:pt x="53" y="183"/>
                  </a:cubicBezTo>
                  <a:cubicBezTo>
                    <a:pt x="54" y="184"/>
                    <a:pt x="55" y="185"/>
                    <a:pt x="56" y="186"/>
                  </a:cubicBezTo>
                  <a:cubicBezTo>
                    <a:pt x="57" y="187"/>
                    <a:pt x="57" y="188"/>
                    <a:pt x="58" y="189"/>
                  </a:cubicBezTo>
                  <a:cubicBezTo>
                    <a:pt x="59" y="191"/>
                    <a:pt x="60" y="192"/>
                    <a:pt x="61" y="193"/>
                  </a:cubicBezTo>
                  <a:cubicBezTo>
                    <a:pt x="63" y="195"/>
                    <a:pt x="64" y="196"/>
                    <a:pt x="65" y="198"/>
                  </a:cubicBezTo>
                  <a:cubicBezTo>
                    <a:pt x="65" y="198"/>
                    <a:pt x="66" y="199"/>
                    <a:pt x="66" y="199"/>
                  </a:cubicBezTo>
                  <a:cubicBezTo>
                    <a:pt x="67" y="200"/>
                    <a:pt x="68" y="202"/>
                    <a:pt x="69" y="203"/>
                  </a:cubicBezTo>
                  <a:cubicBezTo>
                    <a:pt x="70" y="203"/>
                    <a:pt x="70" y="204"/>
                    <a:pt x="70" y="204"/>
                  </a:cubicBezTo>
                  <a:cubicBezTo>
                    <a:pt x="73" y="208"/>
                    <a:pt x="73" y="208"/>
                    <a:pt x="73" y="208"/>
                  </a:cubicBezTo>
                  <a:cubicBezTo>
                    <a:pt x="74" y="204"/>
                    <a:pt x="74" y="204"/>
                    <a:pt x="74" y="204"/>
                  </a:cubicBezTo>
                  <a:cubicBezTo>
                    <a:pt x="74" y="202"/>
                    <a:pt x="75" y="201"/>
                    <a:pt x="75" y="200"/>
                  </a:cubicBezTo>
                  <a:cubicBezTo>
                    <a:pt x="77" y="196"/>
                    <a:pt x="79" y="196"/>
                    <a:pt x="82" y="195"/>
                  </a:cubicBezTo>
                  <a:cubicBezTo>
                    <a:pt x="83" y="195"/>
                    <a:pt x="83" y="195"/>
                    <a:pt x="83" y="195"/>
                  </a:cubicBezTo>
                  <a:cubicBezTo>
                    <a:pt x="84" y="195"/>
                    <a:pt x="84" y="195"/>
                    <a:pt x="85" y="195"/>
                  </a:cubicBezTo>
                  <a:cubicBezTo>
                    <a:pt x="87" y="195"/>
                    <a:pt x="88" y="194"/>
                    <a:pt x="89" y="194"/>
                  </a:cubicBezTo>
                  <a:cubicBezTo>
                    <a:pt x="90" y="193"/>
                    <a:pt x="91" y="193"/>
                    <a:pt x="91" y="192"/>
                  </a:cubicBezTo>
                  <a:cubicBezTo>
                    <a:pt x="91" y="191"/>
                    <a:pt x="92" y="191"/>
                    <a:pt x="92" y="190"/>
                  </a:cubicBezTo>
                  <a:cubicBezTo>
                    <a:pt x="93" y="190"/>
                    <a:pt x="93" y="189"/>
                    <a:pt x="94" y="188"/>
                  </a:cubicBezTo>
                  <a:cubicBezTo>
                    <a:pt x="95" y="187"/>
                    <a:pt x="96" y="186"/>
                    <a:pt x="96" y="185"/>
                  </a:cubicBezTo>
                  <a:cubicBezTo>
                    <a:pt x="96" y="184"/>
                    <a:pt x="95" y="183"/>
                    <a:pt x="94" y="183"/>
                  </a:cubicBezTo>
                  <a:cubicBezTo>
                    <a:pt x="94" y="182"/>
                    <a:pt x="93" y="182"/>
                    <a:pt x="92" y="182"/>
                  </a:cubicBezTo>
                  <a:cubicBezTo>
                    <a:pt x="91" y="181"/>
                    <a:pt x="90" y="181"/>
                    <a:pt x="90" y="180"/>
                  </a:cubicBezTo>
                  <a:cubicBezTo>
                    <a:pt x="89" y="179"/>
                    <a:pt x="90" y="178"/>
                    <a:pt x="90" y="177"/>
                  </a:cubicBezTo>
                  <a:cubicBezTo>
                    <a:pt x="90" y="177"/>
                    <a:pt x="91" y="176"/>
                    <a:pt x="91" y="176"/>
                  </a:cubicBezTo>
                  <a:cubicBezTo>
                    <a:pt x="92" y="172"/>
                    <a:pt x="90" y="172"/>
                    <a:pt x="88" y="171"/>
                  </a:cubicBezTo>
                  <a:cubicBezTo>
                    <a:pt x="87" y="170"/>
                    <a:pt x="86" y="170"/>
                    <a:pt x="85" y="169"/>
                  </a:cubicBezTo>
                  <a:cubicBezTo>
                    <a:pt x="85" y="168"/>
                    <a:pt x="85" y="167"/>
                    <a:pt x="86" y="166"/>
                  </a:cubicBezTo>
                  <a:cubicBezTo>
                    <a:pt x="86" y="166"/>
                    <a:pt x="87" y="165"/>
                    <a:pt x="87" y="165"/>
                  </a:cubicBezTo>
                  <a:cubicBezTo>
                    <a:pt x="88" y="163"/>
                    <a:pt x="87" y="162"/>
                    <a:pt x="87" y="160"/>
                  </a:cubicBezTo>
                  <a:cubicBezTo>
                    <a:pt x="87" y="160"/>
                    <a:pt x="87" y="160"/>
                    <a:pt x="87" y="160"/>
                  </a:cubicBezTo>
                  <a:cubicBezTo>
                    <a:pt x="87" y="159"/>
                    <a:pt x="87" y="159"/>
                    <a:pt x="86" y="158"/>
                  </a:cubicBezTo>
                  <a:cubicBezTo>
                    <a:pt x="86" y="157"/>
                    <a:pt x="85" y="155"/>
                    <a:pt x="86" y="155"/>
                  </a:cubicBezTo>
                  <a:cubicBezTo>
                    <a:pt x="87" y="154"/>
                    <a:pt x="87" y="154"/>
                    <a:pt x="87" y="154"/>
                  </a:cubicBezTo>
                  <a:cubicBezTo>
                    <a:pt x="88" y="154"/>
                    <a:pt x="88" y="154"/>
                    <a:pt x="89" y="155"/>
                  </a:cubicBezTo>
                  <a:cubicBezTo>
                    <a:pt x="89" y="155"/>
                    <a:pt x="90" y="155"/>
                    <a:pt x="91" y="155"/>
                  </a:cubicBezTo>
                  <a:cubicBezTo>
                    <a:pt x="91" y="155"/>
                    <a:pt x="91" y="155"/>
                    <a:pt x="91" y="155"/>
                  </a:cubicBezTo>
                  <a:cubicBezTo>
                    <a:pt x="92" y="155"/>
                    <a:pt x="93" y="155"/>
                    <a:pt x="93" y="154"/>
                  </a:cubicBezTo>
                  <a:cubicBezTo>
                    <a:pt x="94" y="154"/>
                    <a:pt x="95" y="154"/>
                    <a:pt x="96" y="154"/>
                  </a:cubicBezTo>
                  <a:cubicBezTo>
                    <a:pt x="96" y="154"/>
                    <a:pt x="96" y="154"/>
                    <a:pt x="96" y="154"/>
                  </a:cubicBezTo>
                  <a:cubicBezTo>
                    <a:pt x="97" y="154"/>
                    <a:pt x="98" y="154"/>
                    <a:pt x="99" y="155"/>
                  </a:cubicBezTo>
                  <a:cubicBezTo>
                    <a:pt x="99" y="155"/>
                    <a:pt x="100" y="156"/>
                    <a:pt x="101" y="156"/>
                  </a:cubicBezTo>
                  <a:cubicBezTo>
                    <a:pt x="102" y="156"/>
                    <a:pt x="102" y="156"/>
                    <a:pt x="102" y="156"/>
                  </a:cubicBezTo>
                  <a:cubicBezTo>
                    <a:pt x="102" y="156"/>
                    <a:pt x="102" y="156"/>
                    <a:pt x="102" y="156"/>
                  </a:cubicBezTo>
                  <a:cubicBezTo>
                    <a:pt x="103" y="156"/>
                    <a:pt x="103" y="156"/>
                    <a:pt x="104" y="155"/>
                  </a:cubicBezTo>
                  <a:cubicBezTo>
                    <a:pt x="104" y="155"/>
                    <a:pt x="105" y="154"/>
                    <a:pt x="106" y="154"/>
                  </a:cubicBezTo>
                  <a:cubicBezTo>
                    <a:pt x="106" y="153"/>
                    <a:pt x="108" y="153"/>
                    <a:pt x="109" y="153"/>
                  </a:cubicBezTo>
                  <a:cubicBezTo>
                    <a:pt x="109" y="153"/>
                    <a:pt x="110" y="153"/>
                    <a:pt x="110" y="153"/>
                  </a:cubicBezTo>
                  <a:cubicBezTo>
                    <a:pt x="112" y="153"/>
                    <a:pt x="112" y="153"/>
                    <a:pt x="112" y="153"/>
                  </a:cubicBezTo>
                  <a:cubicBezTo>
                    <a:pt x="112" y="151"/>
                    <a:pt x="112" y="151"/>
                    <a:pt x="112" y="151"/>
                  </a:cubicBezTo>
                  <a:cubicBezTo>
                    <a:pt x="112" y="148"/>
                    <a:pt x="113" y="146"/>
                    <a:pt x="112" y="144"/>
                  </a:cubicBezTo>
                  <a:cubicBezTo>
                    <a:pt x="111" y="143"/>
                    <a:pt x="111" y="143"/>
                    <a:pt x="111" y="143"/>
                  </a:cubicBezTo>
                  <a:cubicBezTo>
                    <a:pt x="110" y="140"/>
                    <a:pt x="110" y="140"/>
                    <a:pt x="113" y="138"/>
                  </a:cubicBezTo>
                  <a:cubicBezTo>
                    <a:pt x="115" y="137"/>
                    <a:pt x="116" y="136"/>
                    <a:pt x="117" y="136"/>
                  </a:cubicBezTo>
                  <a:cubicBezTo>
                    <a:pt x="117" y="136"/>
                    <a:pt x="118" y="137"/>
                    <a:pt x="120" y="138"/>
                  </a:cubicBezTo>
                  <a:cubicBezTo>
                    <a:pt x="122" y="139"/>
                    <a:pt x="123" y="141"/>
                    <a:pt x="124" y="143"/>
                  </a:cubicBezTo>
                  <a:cubicBezTo>
                    <a:pt x="124" y="144"/>
                    <a:pt x="124" y="144"/>
                    <a:pt x="124" y="144"/>
                  </a:cubicBezTo>
                  <a:cubicBezTo>
                    <a:pt x="126" y="147"/>
                    <a:pt x="127" y="149"/>
                    <a:pt x="128" y="152"/>
                  </a:cubicBezTo>
                  <a:cubicBezTo>
                    <a:pt x="128" y="153"/>
                    <a:pt x="128" y="153"/>
                    <a:pt x="128" y="153"/>
                  </a:cubicBezTo>
                  <a:cubicBezTo>
                    <a:pt x="129" y="153"/>
                    <a:pt x="129" y="153"/>
                    <a:pt x="129" y="153"/>
                  </a:cubicBezTo>
                  <a:cubicBezTo>
                    <a:pt x="131" y="154"/>
                    <a:pt x="133" y="154"/>
                    <a:pt x="134" y="155"/>
                  </a:cubicBezTo>
                  <a:cubicBezTo>
                    <a:pt x="136" y="155"/>
                    <a:pt x="137" y="156"/>
                    <a:pt x="139" y="156"/>
                  </a:cubicBezTo>
                  <a:cubicBezTo>
                    <a:pt x="139" y="156"/>
                    <a:pt x="140" y="156"/>
                    <a:pt x="140" y="156"/>
                  </a:cubicBezTo>
                  <a:cubicBezTo>
                    <a:pt x="143" y="155"/>
                    <a:pt x="143" y="154"/>
                    <a:pt x="144" y="152"/>
                  </a:cubicBezTo>
                  <a:cubicBezTo>
                    <a:pt x="145" y="150"/>
                    <a:pt x="145" y="149"/>
                    <a:pt x="147" y="148"/>
                  </a:cubicBezTo>
                  <a:cubicBezTo>
                    <a:pt x="148" y="148"/>
                    <a:pt x="148" y="148"/>
                    <a:pt x="149" y="148"/>
                  </a:cubicBezTo>
                  <a:cubicBezTo>
                    <a:pt x="149" y="148"/>
                    <a:pt x="149" y="148"/>
                    <a:pt x="150" y="148"/>
                  </a:cubicBezTo>
                  <a:cubicBezTo>
                    <a:pt x="152" y="149"/>
                    <a:pt x="153" y="152"/>
                    <a:pt x="153" y="154"/>
                  </a:cubicBezTo>
                  <a:cubicBezTo>
                    <a:pt x="154" y="156"/>
                    <a:pt x="155" y="158"/>
                    <a:pt x="157" y="158"/>
                  </a:cubicBezTo>
                  <a:cubicBezTo>
                    <a:pt x="159" y="158"/>
                    <a:pt x="160" y="157"/>
                    <a:pt x="160" y="156"/>
                  </a:cubicBezTo>
                  <a:cubicBezTo>
                    <a:pt x="162" y="154"/>
                    <a:pt x="162" y="152"/>
                    <a:pt x="162" y="149"/>
                  </a:cubicBezTo>
                  <a:cubicBezTo>
                    <a:pt x="163" y="147"/>
                    <a:pt x="163" y="146"/>
                    <a:pt x="164" y="144"/>
                  </a:cubicBezTo>
                  <a:cubicBezTo>
                    <a:pt x="164" y="143"/>
                    <a:pt x="165" y="142"/>
                    <a:pt x="166" y="141"/>
                  </a:cubicBezTo>
                  <a:cubicBezTo>
                    <a:pt x="167" y="139"/>
                    <a:pt x="168" y="137"/>
                    <a:pt x="168" y="135"/>
                  </a:cubicBezTo>
                  <a:cubicBezTo>
                    <a:pt x="168" y="133"/>
                    <a:pt x="168" y="132"/>
                    <a:pt x="168" y="130"/>
                  </a:cubicBezTo>
                  <a:cubicBezTo>
                    <a:pt x="168" y="128"/>
                    <a:pt x="168" y="125"/>
                    <a:pt x="168" y="123"/>
                  </a:cubicBezTo>
                  <a:cubicBezTo>
                    <a:pt x="170" y="118"/>
                    <a:pt x="170" y="115"/>
                    <a:pt x="168" y="111"/>
                  </a:cubicBezTo>
                  <a:cubicBezTo>
                    <a:pt x="167" y="108"/>
                    <a:pt x="168" y="106"/>
                    <a:pt x="169" y="104"/>
                  </a:cubicBezTo>
                  <a:cubicBezTo>
                    <a:pt x="170" y="103"/>
                    <a:pt x="170" y="101"/>
                    <a:pt x="171" y="10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59" name="Freeform 59">
              <a:extLst>
                <a:ext uri="{FF2B5EF4-FFF2-40B4-BE49-F238E27FC236}">
                  <a16:creationId xmlns:a16="http://schemas.microsoft.com/office/drawing/2014/main" id="{5AE5A474-325C-443D-9A23-7FD5300A2A26}"/>
                </a:ext>
              </a:extLst>
            </p:cNvPr>
            <p:cNvSpPr>
              <a:spLocks/>
            </p:cNvSpPr>
            <p:nvPr/>
          </p:nvSpPr>
          <p:spPr bwMode="auto">
            <a:xfrm>
              <a:off x="3533428" y="4282565"/>
              <a:ext cx="131691" cy="123282"/>
            </a:xfrm>
            <a:custGeom>
              <a:avLst/>
              <a:gdLst>
                <a:gd name="T0" fmla="*/ 63 w 65"/>
                <a:gd name="T1" fmla="*/ 18 h 66"/>
                <a:gd name="T2" fmla="*/ 56 w 65"/>
                <a:gd name="T3" fmla="*/ 10 h 66"/>
                <a:gd name="T4" fmla="*/ 52 w 65"/>
                <a:gd name="T5" fmla="*/ 5 h 66"/>
                <a:gd name="T6" fmla="*/ 42 w 65"/>
                <a:gd name="T7" fmla="*/ 0 h 66"/>
                <a:gd name="T8" fmla="*/ 28 w 65"/>
                <a:gd name="T9" fmla="*/ 6 h 66"/>
                <a:gd name="T10" fmla="*/ 25 w 65"/>
                <a:gd name="T11" fmla="*/ 7 h 66"/>
                <a:gd name="T12" fmla="*/ 15 w 65"/>
                <a:gd name="T13" fmla="*/ 18 h 66"/>
                <a:gd name="T14" fmla="*/ 10 w 65"/>
                <a:gd name="T15" fmla="*/ 26 h 66"/>
                <a:gd name="T16" fmla="*/ 6 w 65"/>
                <a:gd name="T17" fmla="*/ 29 h 66"/>
                <a:gd name="T18" fmla="*/ 1 w 65"/>
                <a:gd name="T19" fmla="*/ 32 h 66"/>
                <a:gd name="T20" fmla="*/ 0 w 65"/>
                <a:gd name="T21" fmla="*/ 35 h 66"/>
                <a:gd name="T22" fmla="*/ 1 w 65"/>
                <a:gd name="T23" fmla="*/ 38 h 66"/>
                <a:gd name="T24" fmla="*/ 3 w 65"/>
                <a:gd name="T25" fmla="*/ 40 h 66"/>
                <a:gd name="T26" fmla="*/ 4 w 65"/>
                <a:gd name="T27" fmla="*/ 44 h 66"/>
                <a:gd name="T28" fmla="*/ 5 w 65"/>
                <a:gd name="T29" fmla="*/ 46 h 66"/>
                <a:gd name="T30" fmla="*/ 5 w 65"/>
                <a:gd name="T31" fmla="*/ 47 h 66"/>
                <a:gd name="T32" fmla="*/ 6 w 65"/>
                <a:gd name="T33" fmla="*/ 48 h 66"/>
                <a:gd name="T34" fmla="*/ 10 w 65"/>
                <a:gd name="T35" fmla="*/ 53 h 66"/>
                <a:gd name="T36" fmla="*/ 12 w 65"/>
                <a:gd name="T37" fmla="*/ 56 h 66"/>
                <a:gd name="T38" fmla="*/ 13 w 65"/>
                <a:gd name="T39" fmla="*/ 57 h 66"/>
                <a:gd name="T40" fmla="*/ 15 w 65"/>
                <a:gd name="T41" fmla="*/ 58 h 66"/>
                <a:gd name="T42" fmla="*/ 15 w 65"/>
                <a:gd name="T43" fmla="*/ 60 h 66"/>
                <a:gd name="T44" fmla="*/ 15 w 65"/>
                <a:gd name="T45" fmla="*/ 62 h 66"/>
                <a:gd name="T46" fmla="*/ 22 w 65"/>
                <a:gd name="T47" fmla="*/ 66 h 66"/>
                <a:gd name="T48" fmla="*/ 30 w 65"/>
                <a:gd name="T49" fmla="*/ 60 h 66"/>
                <a:gd name="T50" fmla="*/ 42 w 65"/>
                <a:gd name="T51" fmla="*/ 49 h 66"/>
                <a:gd name="T52" fmla="*/ 45 w 65"/>
                <a:gd name="T53" fmla="*/ 48 h 66"/>
                <a:gd name="T54" fmla="*/ 56 w 65"/>
                <a:gd name="T55" fmla="*/ 45 h 66"/>
                <a:gd name="T56" fmla="*/ 58 w 65"/>
                <a:gd name="T57" fmla="*/ 37 h 66"/>
                <a:gd name="T58" fmla="*/ 58 w 65"/>
                <a:gd name="T59" fmla="*/ 32 h 66"/>
                <a:gd name="T60" fmla="*/ 63 w 65"/>
                <a:gd name="T61" fmla="*/ 28 h 66"/>
                <a:gd name="T62" fmla="*/ 63 w 65"/>
                <a:gd name="T63"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5" h="66">
                  <a:moveTo>
                    <a:pt x="63" y="18"/>
                  </a:moveTo>
                  <a:cubicBezTo>
                    <a:pt x="61" y="15"/>
                    <a:pt x="59" y="12"/>
                    <a:pt x="56" y="10"/>
                  </a:cubicBezTo>
                  <a:cubicBezTo>
                    <a:pt x="55" y="8"/>
                    <a:pt x="53" y="7"/>
                    <a:pt x="52" y="5"/>
                  </a:cubicBezTo>
                  <a:cubicBezTo>
                    <a:pt x="49" y="1"/>
                    <a:pt x="46" y="0"/>
                    <a:pt x="42" y="0"/>
                  </a:cubicBezTo>
                  <a:cubicBezTo>
                    <a:pt x="38" y="0"/>
                    <a:pt x="33" y="2"/>
                    <a:pt x="28" y="6"/>
                  </a:cubicBezTo>
                  <a:cubicBezTo>
                    <a:pt x="25" y="7"/>
                    <a:pt x="25" y="7"/>
                    <a:pt x="25" y="7"/>
                  </a:cubicBezTo>
                  <a:cubicBezTo>
                    <a:pt x="21" y="10"/>
                    <a:pt x="18" y="14"/>
                    <a:pt x="15" y="18"/>
                  </a:cubicBezTo>
                  <a:cubicBezTo>
                    <a:pt x="14" y="21"/>
                    <a:pt x="12" y="23"/>
                    <a:pt x="10" y="26"/>
                  </a:cubicBezTo>
                  <a:cubicBezTo>
                    <a:pt x="9" y="27"/>
                    <a:pt x="7" y="28"/>
                    <a:pt x="6" y="29"/>
                  </a:cubicBezTo>
                  <a:cubicBezTo>
                    <a:pt x="4" y="30"/>
                    <a:pt x="2" y="31"/>
                    <a:pt x="1" y="32"/>
                  </a:cubicBezTo>
                  <a:cubicBezTo>
                    <a:pt x="0" y="34"/>
                    <a:pt x="0" y="34"/>
                    <a:pt x="0" y="35"/>
                  </a:cubicBezTo>
                  <a:cubicBezTo>
                    <a:pt x="0" y="36"/>
                    <a:pt x="0" y="37"/>
                    <a:pt x="1" y="38"/>
                  </a:cubicBezTo>
                  <a:cubicBezTo>
                    <a:pt x="2" y="38"/>
                    <a:pt x="2" y="39"/>
                    <a:pt x="3" y="40"/>
                  </a:cubicBezTo>
                  <a:cubicBezTo>
                    <a:pt x="4" y="41"/>
                    <a:pt x="4" y="43"/>
                    <a:pt x="4" y="44"/>
                  </a:cubicBezTo>
                  <a:cubicBezTo>
                    <a:pt x="5" y="45"/>
                    <a:pt x="5" y="46"/>
                    <a:pt x="5" y="46"/>
                  </a:cubicBezTo>
                  <a:cubicBezTo>
                    <a:pt x="5" y="47"/>
                    <a:pt x="5" y="47"/>
                    <a:pt x="5" y="47"/>
                  </a:cubicBezTo>
                  <a:cubicBezTo>
                    <a:pt x="6" y="48"/>
                    <a:pt x="6" y="48"/>
                    <a:pt x="6" y="48"/>
                  </a:cubicBezTo>
                  <a:cubicBezTo>
                    <a:pt x="8" y="48"/>
                    <a:pt x="9" y="51"/>
                    <a:pt x="10" y="53"/>
                  </a:cubicBezTo>
                  <a:cubicBezTo>
                    <a:pt x="11" y="54"/>
                    <a:pt x="11" y="55"/>
                    <a:pt x="12" y="56"/>
                  </a:cubicBezTo>
                  <a:cubicBezTo>
                    <a:pt x="12" y="57"/>
                    <a:pt x="13" y="57"/>
                    <a:pt x="13" y="57"/>
                  </a:cubicBezTo>
                  <a:cubicBezTo>
                    <a:pt x="14" y="57"/>
                    <a:pt x="14" y="58"/>
                    <a:pt x="15" y="58"/>
                  </a:cubicBezTo>
                  <a:cubicBezTo>
                    <a:pt x="15" y="59"/>
                    <a:pt x="15" y="59"/>
                    <a:pt x="15" y="60"/>
                  </a:cubicBezTo>
                  <a:cubicBezTo>
                    <a:pt x="15" y="61"/>
                    <a:pt x="15" y="61"/>
                    <a:pt x="15" y="62"/>
                  </a:cubicBezTo>
                  <a:cubicBezTo>
                    <a:pt x="17" y="64"/>
                    <a:pt x="19" y="66"/>
                    <a:pt x="22" y="66"/>
                  </a:cubicBezTo>
                  <a:cubicBezTo>
                    <a:pt x="25" y="66"/>
                    <a:pt x="29" y="63"/>
                    <a:pt x="30" y="60"/>
                  </a:cubicBezTo>
                  <a:cubicBezTo>
                    <a:pt x="32" y="54"/>
                    <a:pt x="36" y="50"/>
                    <a:pt x="42" y="49"/>
                  </a:cubicBezTo>
                  <a:cubicBezTo>
                    <a:pt x="43" y="49"/>
                    <a:pt x="44" y="48"/>
                    <a:pt x="45" y="48"/>
                  </a:cubicBezTo>
                  <a:cubicBezTo>
                    <a:pt x="49" y="47"/>
                    <a:pt x="53" y="47"/>
                    <a:pt x="56" y="45"/>
                  </a:cubicBezTo>
                  <a:cubicBezTo>
                    <a:pt x="59" y="43"/>
                    <a:pt x="59" y="40"/>
                    <a:pt x="58" y="37"/>
                  </a:cubicBezTo>
                  <a:cubicBezTo>
                    <a:pt x="58" y="35"/>
                    <a:pt x="57" y="34"/>
                    <a:pt x="58" y="32"/>
                  </a:cubicBezTo>
                  <a:cubicBezTo>
                    <a:pt x="60" y="32"/>
                    <a:pt x="62" y="30"/>
                    <a:pt x="63" y="28"/>
                  </a:cubicBezTo>
                  <a:cubicBezTo>
                    <a:pt x="65" y="25"/>
                    <a:pt x="65" y="21"/>
                    <a:pt x="63" y="18"/>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60" name="Freeform 60">
              <a:extLst>
                <a:ext uri="{FF2B5EF4-FFF2-40B4-BE49-F238E27FC236}">
                  <a16:creationId xmlns:a16="http://schemas.microsoft.com/office/drawing/2014/main" id="{85A5E28F-CD3A-431C-82D2-02AE32573B39}"/>
                </a:ext>
              </a:extLst>
            </p:cNvPr>
            <p:cNvSpPr>
              <a:spLocks/>
            </p:cNvSpPr>
            <p:nvPr/>
          </p:nvSpPr>
          <p:spPr bwMode="auto">
            <a:xfrm>
              <a:off x="2660699" y="3563420"/>
              <a:ext cx="785680" cy="737637"/>
            </a:xfrm>
            <a:custGeom>
              <a:avLst/>
              <a:gdLst>
                <a:gd name="T0" fmla="*/ 385 w 388"/>
                <a:gd name="T1" fmla="*/ 22 h 396"/>
                <a:gd name="T2" fmla="*/ 377 w 388"/>
                <a:gd name="T3" fmla="*/ 18 h 396"/>
                <a:gd name="T4" fmla="*/ 372 w 388"/>
                <a:gd name="T5" fmla="*/ 18 h 396"/>
                <a:gd name="T6" fmla="*/ 356 w 388"/>
                <a:gd name="T7" fmla="*/ 19 h 396"/>
                <a:gd name="T8" fmla="*/ 326 w 388"/>
                <a:gd name="T9" fmla="*/ 24 h 396"/>
                <a:gd name="T10" fmla="*/ 283 w 388"/>
                <a:gd name="T11" fmla="*/ 33 h 396"/>
                <a:gd name="T12" fmla="*/ 269 w 388"/>
                <a:gd name="T13" fmla="*/ 32 h 396"/>
                <a:gd name="T14" fmla="*/ 248 w 388"/>
                <a:gd name="T15" fmla="*/ 28 h 396"/>
                <a:gd name="T16" fmla="*/ 231 w 388"/>
                <a:gd name="T17" fmla="*/ 30 h 396"/>
                <a:gd name="T18" fmla="*/ 212 w 388"/>
                <a:gd name="T19" fmla="*/ 29 h 396"/>
                <a:gd name="T20" fmla="*/ 92 w 388"/>
                <a:gd name="T21" fmla="*/ 15 h 396"/>
                <a:gd name="T22" fmla="*/ 59 w 388"/>
                <a:gd name="T23" fmla="*/ 10 h 396"/>
                <a:gd name="T24" fmla="*/ 33 w 388"/>
                <a:gd name="T25" fmla="*/ 4 h 396"/>
                <a:gd name="T26" fmla="*/ 18 w 388"/>
                <a:gd name="T27" fmla="*/ 7 h 396"/>
                <a:gd name="T28" fmla="*/ 0 w 388"/>
                <a:gd name="T29" fmla="*/ 11 h 396"/>
                <a:gd name="T30" fmla="*/ 1 w 388"/>
                <a:gd name="T31" fmla="*/ 34 h 396"/>
                <a:gd name="T32" fmla="*/ 10 w 388"/>
                <a:gd name="T33" fmla="*/ 51 h 396"/>
                <a:gd name="T34" fmla="*/ 24 w 388"/>
                <a:gd name="T35" fmla="*/ 71 h 396"/>
                <a:gd name="T36" fmla="*/ 31 w 388"/>
                <a:gd name="T37" fmla="*/ 86 h 396"/>
                <a:gd name="T38" fmla="*/ 37 w 388"/>
                <a:gd name="T39" fmla="*/ 98 h 396"/>
                <a:gd name="T40" fmla="*/ 45 w 388"/>
                <a:gd name="T41" fmla="*/ 118 h 396"/>
                <a:gd name="T42" fmla="*/ 56 w 388"/>
                <a:gd name="T43" fmla="*/ 139 h 396"/>
                <a:gd name="T44" fmla="*/ 68 w 388"/>
                <a:gd name="T45" fmla="*/ 162 h 396"/>
                <a:gd name="T46" fmla="*/ 74 w 388"/>
                <a:gd name="T47" fmla="*/ 172 h 396"/>
                <a:gd name="T48" fmla="*/ 79 w 388"/>
                <a:gd name="T49" fmla="*/ 193 h 396"/>
                <a:gd name="T50" fmla="*/ 78 w 388"/>
                <a:gd name="T51" fmla="*/ 204 h 396"/>
                <a:gd name="T52" fmla="*/ 78 w 388"/>
                <a:gd name="T53" fmla="*/ 221 h 396"/>
                <a:gd name="T54" fmla="*/ 79 w 388"/>
                <a:gd name="T55" fmla="*/ 242 h 396"/>
                <a:gd name="T56" fmla="*/ 87 w 388"/>
                <a:gd name="T57" fmla="*/ 269 h 396"/>
                <a:gd name="T58" fmla="*/ 88 w 388"/>
                <a:gd name="T59" fmla="*/ 285 h 396"/>
                <a:gd name="T60" fmla="*/ 92 w 388"/>
                <a:gd name="T61" fmla="*/ 303 h 396"/>
                <a:gd name="T62" fmla="*/ 96 w 388"/>
                <a:gd name="T63" fmla="*/ 318 h 396"/>
                <a:gd name="T64" fmla="*/ 99 w 388"/>
                <a:gd name="T65" fmla="*/ 335 h 396"/>
                <a:gd name="T66" fmla="*/ 107 w 388"/>
                <a:gd name="T67" fmla="*/ 353 h 396"/>
                <a:gd name="T68" fmla="*/ 111 w 388"/>
                <a:gd name="T69" fmla="*/ 361 h 396"/>
                <a:gd name="T70" fmla="*/ 125 w 388"/>
                <a:gd name="T71" fmla="*/ 378 h 396"/>
                <a:gd name="T72" fmla="*/ 135 w 388"/>
                <a:gd name="T73" fmla="*/ 383 h 396"/>
                <a:gd name="T74" fmla="*/ 154 w 388"/>
                <a:gd name="T75" fmla="*/ 366 h 396"/>
                <a:gd name="T76" fmla="*/ 162 w 388"/>
                <a:gd name="T77" fmla="*/ 377 h 396"/>
                <a:gd name="T78" fmla="*/ 161 w 388"/>
                <a:gd name="T79" fmla="*/ 382 h 396"/>
                <a:gd name="T80" fmla="*/ 179 w 388"/>
                <a:gd name="T81" fmla="*/ 394 h 396"/>
                <a:gd name="T82" fmla="*/ 190 w 388"/>
                <a:gd name="T83" fmla="*/ 394 h 396"/>
                <a:gd name="T84" fmla="*/ 205 w 388"/>
                <a:gd name="T85" fmla="*/ 394 h 396"/>
                <a:gd name="T86" fmla="*/ 213 w 388"/>
                <a:gd name="T87" fmla="*/ 389 h 396"/>
                <a:gd name="T88" fmla="*/ 222 w 388"/>
                <a:gd name="T89" fmla="*/ 382 h 396"/>
                <a:gd name="T90" fmla="*/ 238 w 388"/>
                <a:gd name="T91" fmla="*/ 166 h 396"/>
                <a:gd name="T92" fmla="*/ 333 w 388"/>
                <a:gd name="T93" fmla="*/ 33 h 396"/>
                <a:gd name="T94" fmla="*/ 356 w 388"/>
                <a:gd name="T95" fmla="*/ 39 h 396"/>
                <a:gd name="T96" fmla="*/ 369 w 388"/>
                <a:gd name="T97" fmla="*/ 37 h 396"/>
                <a:gd name="T98" fmla="*/ 382 w 388"/>
                <a:gd name="T99" fmla="*/ 30 h 396"/>
                <a:gd name="T100" fmla="*/ 388 w 388"/>
                <a:gd name="T101" fmla="*/ 2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96">
                  <a:moveTo>
                    <a:pt x="388" y="26"/>
                  </a:moveTo>
                  <a:cubicBezTo>
                    <a:pt x="388" y="26"/>
                    <a:pt x="388" y="26"/>
                    <a:pt x="388" y="26"/>
                  </a:cubicBezTo>
                  <a:cubicBezTo>
                    <a:pt x="387" y="25"/>
                    <a:pt x="387" y="25"/>
                    <a:pt x="387" y="25"/>
                  </a:cubicBezTo>
                  <a:cubicBezTo>
                    <a:pt x="387" y="24"/>
                    <a:pt x="386" y="23"/>
                    <a:pt x="385" y="22"/>
                  </a:cubicBezTo>
                  <a:cubicBezTo>
                    <a:pt x="384" y="22"/>
                    <a:pt x="383" y="21"/>
                    <a:pt x="382" y="21"/>
                  </a:cubicBezTo>
                  <a:cubicBezTo>
                    <a:pt x="382" y="21"/>
                    <a:pt x="381" y="21"/>
                    <a:pt x="381" y="21"/>
                  </a:cubicBezTo>
                  <a:cubicBezTo>
                    <a:pt x="380" y="20"/>
                    <a:pt x="380" y="20"/>
                    <a:pt x="379" y="20"/>
                  </a:cubicBezTo>
                  <a:cubicBezTo>
                    <a:pt x="379" y="19"/>
                    <a:pt x="378" y="19"/>
                    <a:pt x="377" y="18"/>
                  </a:cubicBezTo>
                  <a:cubicBezTo>
                    <a:pt x="377" y="18"/>
                    <a:pt x="376" y="18"/>
                    <a:pt x="376" y="18"/>
                  </a:cubicBezTo>
                  <a:cubicBezTo>
                    <a:pt x="375" y="18"/>
                    <a:pt x="375" y="18"/>
                    <a:pt x="374" y="18"/>
                  </a:cubicBezTo>
                  <a:cubicBezTo>
                    <a:pt x="374" y="18"/>
                    <a:pt x="374" y="18"/>
                    <a:pt x="373" y="18"/>
                  </a:cubicBezTo>
                  <a:cubicBezTo>
                    <a:pt x="373" y="18"/>
                    <a:pt x="373" y="18"/>
                    <a:pt x="372" y="18"/>
                  </a:cubicBezTo>
                  <a:cubicBezTo>
                    <a:pt x="371" y="18"/>
                    <a:pt x="371" y="18"/>
                    <a:pt x="371" y="18"/>
                  </a:cubicBezTo>
                  <a:cubicBezTo>
                    <a:pt x="369" y="18"/>
                    <a:pt x="368" y="17"/>
                    <a:pt x="366" y="17"/>
                  </a:cubicBezTo>
                  <a:cubicBezTo>
                    <a:pt x="365" y="17"/>
                    <a:pt x="363" y="17"/>
                    <a:pt x="362" y="18"/>
                  </a:cubicBezTo>
                  <a:cubicBezTo>
                    <a:pt x="360" y="18"/>
                    <a:pt x="358" y="18"/>
                    <a:pt x="356" y="19"/>
                  </a:cubicBezTo>
                  <a:cubicBezTo>
                    <a:pt x="355" y="19"/>
                    <a:pt x="354" y="19"/>
                    <a:pt x="352" y="19"/>
                  </a:cubicBezTo>
                  <a:cubicBezTo>
                    <a:pt x="351" y="19"/>
                    <a:pt x="349" y="19"/>
                    <a:pt x="347" y="20"/>
                  </a:cubicBezTo>
                  <a:cubicBezTo>
                    <a:pt x="344" y="20"/>
                    <a:pt x="342" y="20"/>
                    <a:pt x="340" y="20"/>
                  </a:cubicBezTo>
                  <a:cubicBezTo>
                    <a:pt x="335" y="21"/>
                    <a:pt x="331" y="22"/>
                    <a:pt x="326" y="24"/>
                  </a:cubicBezTo>
                  <a:cubicBezTo>
                    <a:pt x="319" y="26"/>
                    <a:pt x="312" y="27"/>
                    <a:pt x="304" y="28"/>
                  </a:cubicBezTo>
                  <a:cubicBezTo>
                    <a:pt x="300" y="28"/>
                    <a:pt x="300" y="28"/>
                    <a:pt x="300" y="28"/>
                  </a:cubicBezTo>
                  <a:cubicBezTo>
                    <a:pt x="296" y="29"/>
                    <a:pt x="292" y="30"/>
                    <a:pt x="288" y="32"/>
                  </a:cubicBezTo>
                  <a:cubicBezTo>
                    <a:pt x="286" y="32"/>
                    <a:pt x="285" y="33"/>
                    <a:pt x="283" y="33"/>
                  </a:cubicBezTo>
                  <a:cubicBezTo>
                    <a:pt x="281" y="33"/>
                    <a:pt x="280" y="32"/>
                    <a:pt x="278" y="32"/>
                  </a:cubicBezTo>
                  <a:cubicBezTo>
                    <a:pt x="278" y="32"/>
                    <a:pt x="277" y="32"/>
                    <a:pt x="276" y="32"/>
                  </a:cubicBezTo>
                  <a:cubicBezTo>
                    <a:pt x="275" y="31"/>
                    <a:pt x="274" y="31"/>
                    <a:pt x="273" y="31"/>
                  </a:cubicBezTo>
                  <a:cubicBezTo>
                    <a:pt x="272" y="31"/>
                    <a:pt x="271" y="32"/>
                    <a:pt x="269" y="32"/>
                  </a:cubicBezTo>
                  <a:cubicBezTo>
                    <a:pt x="268" y="32"/>
                    <a:pt x="266" y="32"/>
                    <a:pt x="264" y="32"/>
                  </a:cubicBezTo>
                  <a:cubicBezTo>
                    <a:pt x="264" y="32"/>
                    <a:pt x="263" y="32"/>
                    <a:pt x="262" y="32"/>
                  </a:cubicBezTo>
                  <a:cubicBezTo>
                    <a:pt x="260" y="32"/>
                    <a:pt x="258" y="31"/>
                    <a:pt x="256" y="30"/>
                  </a:cubicBezTo>
                  <a:cubicBezTo>
                    <a:pt x="253" y="29"/>
                    <a:pt x="251" y="28"/>
                    <a:pt x="248" y="28"/>
                  </a:cubicBezTo>
                  <a:cubicBezTo>
                    <a:pt x="248" y="28"/>
                    <a:pt x="248" y="28"/>
                    <a:pt x="247" y="28"/>
                  </a:cubicBezTo>
                  <a:cubicBezTo>
                    <a:pt x="245" y="29"/>
                    <a:pt x="243" y="29"/>
                    <a:pt x="241" y="30"/>
                  </a:cubicBezTo>
                  <a:cubicBezTo>
                    <a:pt x="239" y="30"/>
                    <a:pt x="237" y="31"/>
                    <a:pt x="234" y="31"/>
                  </a:cubicBezTo>
                  <a:cubicBezTo>
                    <a:pt x="233" y="31"/>
                    <a:pt x="232" y="30"/>
                    <a:pt x="231" y="30"/>
                  </a:cubicBezTo>
                  <a:cubicBezTo>
                    <a:pt x="227" y="29"/>
                    <a:pt x="223" y="29"/>
                    <a:pt x="219" y="29"/>
                  </a:cubicBezTo>
                  <a:cubicBezTo>
                    <a:pt x="217" y="29"/>
                    <a:pt x="217" y="29"/>
                    <a:pt x="217" y="29"/>
                  </a:cubicBezTo>
                  <a:cubicBezTo>
                    <a:pt x="216" y="29"/>
                    <a:pt x="215" y="29"/>
                    <a:pt x="215" y="29"/>
                  </a:cubicBezTo>
                  <a:cubicBezTo>
                    <a:pt x="214" y="29"/>
                    <a:pt x="213" y="29"/>
                    <a:pt x="212" y="29"/>
                  </a:cubicBezTo>
                  <a:cubicBezTo>
                    <a:pt x="210" y="29"/>
                    <a:pt x="206" y="29"/>
                    <a:pt x="204" y="27"/>
                  </a:cubicBezTo>
                  <a:cubicBezTo>
                    <a:pt x="201" y="24"/>
                    <a:pt x="198" y="20"/>
                    <a:pt x="196" y="16"/>
                  </a:cubicBezTo>
                  <a:cubicBezTo>
                    <a:pt x="196" y="15"/>
                    <a:pt x="196" y="15"/>
                    <a:pt x="196" y="15"/>
                  </a:cubicBezTo>
                  <a:cubicBezTo>
                    <a:pt x="92" y="15"/>
                    <a:pt x="92" y="15"/>
                    <a:pt x="92" y="15"/>
                  </a:cubicBezTo>
                  <a:cubicBezTo>
                    <a:pt x="90" y="15"/>
                    <a:pt x="88" y="15"/>
                    <a:pt x="86" y="15"/>
                  </a:cubicBezTo>
                  <a:cubicBezTo>
                    <a:pt x="83" y="15"/>
                    <a:pt x="79" y="15"/>
                    <a:pt x="76" y="15"/>
                  </a:cubicBezTo>
                  <a:cubicBezTo>
                    <a:pt x="71" y="15"/>
                    <a:pt x="68" y="15"/>
                    <a:pt x="65" y="14"/>
                  </a:cubicBezTo>
                  <a:cubicBezTo>
                    <a:pt x="63" y="13"/>
                    <a:pt x="60" y="11"/>
                    <a:pt x="59" y="10"/>
                  </a:cubicBezTo>
                  <a:cubicBezTo>
                    <a:pt x="57" y="9"/>
                    <a:pt x="56" y="7"/>
                    <a:pt x="55" y="6"/>
                  </a:cubicBezTo>
                  <a:cubicBezTo>
                    <a:pt x="53" y="3"/>
                    <a:pt x="50" y="0"/>
                    <a:pt x="46" y="0"/>
                  </a:cubicBezTo>
                  <a:cubicBezTo>
                    <a:pt x="44" y="0"/>
                    <a:pt x="38" y="1"/>
                    <a:pt x="37" y="1"/>
                  </a:cubicBezTo>
                  <a:cubicBezTo>
                    <a:pt x="35" y="2"/>
                    <a:pt x="34" y="3"/>
                    <a:pt x="33" y="4"/>
                  </a:cubicBezTo>
                  <a:cubicBezTo>
                    <a:pt x="33" y="5"/>
                    <a:pt x="32" y="7"/>
                    <a:pt x="31" y="7"/>
                  </a:cubicBezTo>
                  <a:cubicBezTo>
                    <a:pt x="29" y="8"/>
                    <a:pt x="25" y="9"/>
                    <a:pt x="23" y="9"/>
                  </a:cubicBezTo>
                  <a:cubicBezTo>
                    <a:pt x="22" y="9"/>
                    <a:pt x="22" y="9"/>
                    <a:pt x="22" y="9"/>
                  </a:cubicBezTo>
                  <a:cubicBezTo>
                    <a:pt x="20" y="9"/>
                    <a:pt x="19" y="8"/>
                    <a:pt x="18" y="7"/>
                  </a:cubicBezTo>
                  <a:cubicBezTo>
                    <a:pt x="17" y="7"/>
                    <a:pt x="16" y="6"/>
                    <a:pt x="15" y="6"/>
                  </a:cubicBezTo>
                  <a:cubicBezTo>
                    <a:pt x="14" y="5"/>
                    <a:pt x="14" y="5"/>
                    <a:pt x="13" y="5"/>
                  </a:cubicBezTo>
                  <a:cubicBezTo>
                    <a:pt x="10" y="5"/>
                    <a:pt x="5" y="8"/>
                    <a:pt x="1" y="11"/>
                  </a:cubicBezTo>
                  <a:cubicBezTo>
                    <a:pt x="0" y="11"/>
                    <a:pt x="0" y="11"/>
                    <a:pt x="0" y="11"/>
                  </a:cubicBezTo>
                  <a:cubicBezTo>
                    <a:pt x="0" y="12"/>
                    <a:pt x="0" y="12"/>
                    <a:pt x="0" y="12"/>
                  </a:cubicBezTo>
                  <a:cubicBezTo>
                    <a:pt x="0" y="15"/>
                    <a:pt x="0" y="19"/>
                    <a:pt x="0" y="24"/>
                  </a:cubicBezTo>
                  <a:cubicBezTo>
                    <a:pt x="0" y="24"/>
                    <a:pt x="0" y="25"/>
                    <a:pt x="0" y="26"/>
                  </a:cubicBezTo>
                  <a:cubicBezTo>
                    <a:pt x="0" y="29"/>
                    <a:pt x="1" y="32"/>
                    <a:pt x="1" y="34"/>
                  </a:cubicBezTo>
                  <a:cubicBezTo>
                    <a:pt x="2" y="37"/>
                    <a:pt x="3" y="38"/>
                    <a:pt x="4" y="40"/>
                  </a:cubicBezTo>
                  <a:cubicBezTo>
                    <a:pt x="5" y="41"/>
                    <a:pt x="5" y="42"/>
                    <a:pt x="6" y="43"/>
                  </a:cubicBezTo>
                  <a:cubicBezTo>
                    <a:pt x="6" y="44"/>
                    <a:pt x="7" y="45"/>
                    <a:pt x="7" y="46"/>
                  </a:cubicBezTo>
                  <a:cubicBezTo>
                    <a:pt x="8" y="48"/>
                    <a:pt x="8" y="50"/>
                    <a:pt x="10" y="51"/>
                  </a:cubicBezTo>
                  <a:cubicBezTo>
                    <a:pt x="11" y="53"/>
                    <a:pt x="12" y="54"/>
                    <a:pt x="14" y="56"/>
                  </a:cubicBezTo>
                  <a:cubicBezTo>
                    <a:pt x="15" y="57"/>
                    <a:pt x="16" y="57"/>
                    <a:pt x="17" y="58"/>
                  </a:cubicBezTo>
                  <a:cubicBezTo>
                    <a:pt x="18" y="61"/>
                    <a:pt x="20" y="64"/>
                    <a:pt x="22" y="67"/>
                  </a:cubicBezTo>
                  <a:cubicBezTo>
                    <a:pt x="22" y="68"/>
                    <a:pt x="23" y="70"/>
                    <a:pt x="24" y="71"/>
                  </a:cubicBezTo>
                  <a:cubicBezTo>
                    <a:pt x="25" y="73"/>
                    <a:pt x="25" y="75"/>
                    <a:pt x="26" y="76"/>
                  </a:cubicBezTo>
                  <a:cubicBezTo>
                    <a:pt x="27" y="78"/>
                    <a:pt x="28" y="79"/>
                    <a:pt x="28" y="80"/>
                  </a:cubicBezTo>
                  <a:cubicBezTo>
                    <a:pt x="29" y="82"/>
                    <a:pt x="29" y="83"/>
                    <a:pt x="30" y="84"/>
                  </a:cubicBezTo>
                  <a:cubicBezTo>
                    <a:pt x="30" y="85"/>
                    <a:pt x="30" y="86"/>
                    <a:pt x="31" y="86"/>
                  </a:cubicBezTo>
                  <a:cubicBezTo>
                    <a:pt x="31" y="87"/>
                    <a:pt x="31" y="88"/>
                    <a:pt x="31" y="88"/>
                  </a:cubicBezTo>
                  <a:cubicBezTo>
                    <a:pt x="32" y="89"/>
                    <a:pt x="33" y="90"/>
                    <a:pt x="33" y="91"/>
                  </a:cubicBezTo>
                  <a:cubicBezTo>
                    <a:pt x="33" y="91"/>
                    <a:pt x="34" y="91"/>
                    <a:pt x="34" y="91"/>
                  </a:cubicBezTo>
                  <a:cubicBezTo>
                    <a:pt x="35" y="93"/>
                    <a:pt x="36" y="95"/>
                    <a:pt x="37" y="98"/>
                  </a:cubicBezTo>
                  <a:cubicBezTo>
                    <a:pt x="37" y="101"/>
                    <a:pt x="38" y="104"/>
                    <a:pt x="41" y="107"/>
                  </a:cubicBezTo>
                  <a:cubicBezTo>
                    <a:pt x="42" y="108"/>
                    <a:pt x="42" y="110"/>
                    <a:pt x="43" y="111"/>
                  </a:cubicBezTo>
                  <a:cubicBezTo>
                    <a:pt x="43" y="112"/>
                    <a:pt x="43" y="112"/>
                    <a:pt x="43" y="112"/>
                  </a:cubicBezTo>
                  <a:cubicBezTo>
                    <a:pt x="44" y="114"/>
                    <a:pt x="44" y="116"/>
                    <a:pt x="45" y="118"/>
                  </a:cubicBezTo>
                  <a:cubicBezTo>
                    <a:pt x="45" y="121"/>
                    <a:pt x="45" y="121"/>
                    <a:pt x="45" y="121"/>
                  </a:cubicBezTo>
                  <a:cubicBezTo>
                    <a:pt x="46" y="124"/>
                    <a:pt x="47" y="128"/>
                    <a:pt x="49" y="131"/>
                  </a:cubicBezTo>
                  <a:cubicBezTo>
                    <a:pt x="50" y="133"/>
                    <a:pt x="52" y="134"/>
                    <a:pt x="53" y="136"/>
                  </a:cubicBezTo>
                  <a:cubicBezTo>
                    <a:pt x="54" y="137"/>
                    <a:pt x="55" y="138"/>
                    <a:pt x="56" y="139"/>
                  </a:cubicBezTo>
                  <a:cubicBezTo>
                    <a:pt x="58" y="142"/>
                    <a:pt x="60" y="146"/>
                    <a:pt x="62" y="150"/>
                  </a:cubicBezTo>
                  <a:cubicBezTo>
                    <a:pt x="62" y="151"/>
                    <a:pt x="63" y="152"/>
                    <a:pt x="63" y="153"/>
                  </a:cubicBezTo>
                  <a:cubicBezTo>
                    <a:pt x="63" y="155"/>
                    <a:pt x="64" y="157"/>
                    <a:pt x="65" y="159"/>
                  </a:cubicBezTo>
                  <a:cubicBezTo>
                    <a:pt x="66" y="160"/>
                    <a:pt x="67" y="161"/>
                    <a:pt x="68" y="162"/>
                  </a:cubicBezTo>
                  <a:cubicBezTo>
                    <a:pt x="68" y="162"/>
                    <a:pt x="69" y="163"/>
                    <a:pt x="69" y="163"/>
                  </a:cubicBezTo>
                  <a:cubicBezTo>
                    <a:pt x="70" y="164"/>
                    <a:pt x="70" y="165"/>
                    <a:pt x="71" y="166"/>
                  </a:cubicBezTo>
                  <a:cubicBezTo>
                    <a:pt x="71" y="166"/>
                    <a:pt x="71" y="167"/>
                    <a:pt x="71" y="167"/>
                  </a:cubicBezTo>
                  <a:cubicBezTo>
                    <a:pt x="72" y="169"/>
                    <a:pt x="73" y="170"/>
                    <a:pt x="74" y="172"/>
                  </a:cubicBezTo>
                  <a:cubicBezTo>
                    <a:pt x="75" y="173"/>
                    <a:pt x="76" y="174"/>
                    <a:pt x="76" y="176"/>
                  </a:cubicBezTo>
                  <a:cubicBezTo>
                    <a:pt x="78" y="178"/>
                    <a:pt x="78" y="181"/>
                    <a:pt x="79" y="184"/>
                  </a:cubicBezTo>
                  <a:cubicBezTo>
                    <a:pt x="79" y="185"/>
                    <a:pt x="79" y="185"/>
                    <a:pt x="79" y="185"/>
                  </a:cubicBezTo>
                  <a:cubicBezTo>
                    <a:pt x="80" y="187"/>
                    <a:pt x="80" y="191"/>
                    <a:pt x="79" y="193"/>
                  </a:cubicBezTo>
                  <a:cubicBezTo>
                    <a:pt x="79" y="193"/>
                    <a:pt x="79" y="193"/>
                    <a:pt x="78" y="194"/>
                  </a:cubicBezTo>
                  <a:cubicBezTo>
                    <a:pt x="78" y="195"/>
                    <a:pt x="77" y="196"/>
                    <a:pt x="77" y="197"/>
                  </a:cubicBezTo>
                  <a:cubicBezTo>
                    <a:pt x="76" y="199"/>
                    <a:pt x="77" y="201"/>
                    <a:pt x="78" y="202"/>
                  </a:cubicBezTo>
                  <a:cubicBezTo>
                    <a:pt x="78" y="203"/>
                    <a:pt x="78" y="203"/>
                    <a:pt x="78" y="204"/>
                  </a:cubicBezTo>
                  <a:cubicBezTo>
                    <a:pt x="78" y="205"/>
                    <a:pt x="78" y="207"/>
                    <a:pt x="78" y="209"/>
                  </a:cubicBezTo>
                  <a:cubicBezTo>
                    <a:pt x="78" y="210"/>
                    <a:pt x="78" y="211"/>
                    <a:pt x="78" y="212"/>
                  </a:cubicBezTo>
                  <a:cubicBezTo>
                    <a:pt x="78" y="214"/>
                    <a:pt x="78" y="215"/>
                    <a:pt x="78" y="217"/>
                  </a:cubicBezTo>
                  <a:cubicBezTo>
                    <a:pt x="78" y="218"/>
                    <a:pt x="78" y="219"/>
                    <a:pt x="78" y="221"/>
                  </a:cubicBezTo>
                  <a:cubicBezTo>
                    <a:pt x="78" y="223"/>
                    <a:pt x="78" y="226"/>
                    <a:pt x="78" y="229"/>
                  </a:cubicBezTo>
                  <a:cubicBezTo>
                    <a:pt x="78" y="230"/>
                    <a:pt x="78" y="230"/>
                    <a:pt x="78" y="230"/>
                  </a:cubicBezTo>
                  <a:cubicBezTo>
                    <a:pt x="77" y="232"/>
                    <a:pt x="77" y="235"/>
                    <a:pt x="78" y="237"/>
                  </a:cubicBezTo>
                  <a:cubicBezTo>
                    <a:pt x="78" y="239"/>
                    <a:pt x="79" y="240"/>
                    <a:pt x="79" y="242"/>
                  </a:cubicBezTo>
                  <a:cubicBezTo>
                    <a:pt x="80" y="243"/>
                    <a:pt x="81" y="244"/>
                    <a:pt x="81" y="245"/>
                  </a:cubicBezTo>
                  <a:cubicBezTo>
                    <a:pt x="81" y="246"/>
                    <a:pt x="81" y="247"/>
                    <a:pt x="81" y="248"/>
                  </a:cubicBezTo>
                  <a:cubicBezTo>
                    <a:pt x="81" y="250"/>
                    <a:pt x="82" y="252"/>
                    <a:pt x="83" y="254"/>
                  </a:cubicBezTo>
                  <a:cubicBezTo>
                    <a:pt x="86" y="259"/>
                    <a:pt x="87" y="264"/>
                    <a:pt x="87" y="269"/>
                  </a:cubicBezTo>
                  <a:cubicBezTo>
                    <a:pt x="87" y="272"/>
                    <a:pt x="88" y="275"/>
                    <a:pt x="88" y="277"/>
                  </a:cubicBezTo>
                  <a:cubicBezTo>
                    <a:pt x="89" y="279"/>
                    <a:pt x="89" y="281"/>
                    <a:pt x="89" y="282"/>
                  </a:cubicBezTo>
                  <a:cubicBezTo>
                    <a:pt x="89" y="283"/>
                    <a:pt x="89" y="283"/>
                    <a:pt x="89" y="283"/>
                  </a:cubicBezTo>
                  <a:cubicBezTo>
                    <a:pt x="89" y="284"/>
                    <a:pt x="88" y="285"/>
                    <a:pt x="88" y="285"/>
                  </a:cubicBezTo>
                  <a:cubicBezTo>
                    <a:pt x="88" y="288"/>
                    <a:pt x="88" y="291"/>
                    <a:pt x="89" y="294"/>
                  </a:cubicBezTo>
                  <a:cubicBezTo>
                    <a:pt x="90" y="295"/>
                    <a:pt x="90" y="296"/>
                    <a:pt x="90" y="296"/>
                  </a:cubicBezTo>
                  <a:cubicBezTo>
                    <a:pt x="91" y="298"/>
                    <a:pt x="92" y="300"/>
                    <a:pt x="92" y="301"/>
                  </a:cubicBezTo>
                  <a:cubicBezTo>
                    <a:pt x="92" y="302"/>
                    <a:pt x="92" y="303"/>
                    <a:pt x="92" y="303"/>
                  </a:cubicBezTo>
                  <a:cubicBezTo>
                    <a:pt x="91" y="305"/>
                    <a:pt x="91" y="308"/>
                    <a:pt x="93" y="310"/>
                  </a:cubicBezTo>
                  <a:cubicBezTo>
                    <a:pt x="94" y="311"/>
                    <a:pt x="94" y="312"/>
                    <a:pt x="95" y="313"/>
                  </a:cubicBezTo>
                  <a:cubicBezTo>
                    <a:pt x="97" y="314"/>
                    <a:pt x="97" y="315"/>
                    <a:pt x="97" y="316"/>
                  </a:cubicBezTo>
                  <a:cubicBezTo>
                    <a:pt x="97" y="317"/>
                    <a:pt x="97" y="317"/>
                    <a:pt x="96" y="318"/>
                  </a:cubicBezTo>
                  <a:cubicBezTo>
                    <a:pt x="95" y="320"/>
                    <a:pt x="94" y="322"/>
                    <a:pt x="95" y="324"/>
                  </a:cubicBezTo>
                  <a:cubicBezTo>
                    <a:pt x="95" y="326"/>
                    <a:pt x="96" y="327"/>
                    <a:pt x="97" y="329"/>
                  </a:cubicBezTo>
                  <a:cubicBezTo>
                    <a:pt x="98" y="330"/>
                    <a:pt x="98" y="331"/>
                    <a:pt x="98" y="332"/>
                  </a:cubicBezTo>
                  <a:cubicBezTo>
                    <a:pt x="99" y="333"/>
                    <a:pt x="99" y="334"/>
                    <a:pt x="99" y="335"/>
                  </a:cubicBezTo>
                  <a:cubicBezTo>
                    <a:pt x="99" y="337"/>
                    <a:pt x="99" y="339"/>
                    <a:pt x="100" y="341"/>
                  </a:cubicBezTo>
                  <a:cubicBezTo>
                    <a:pt x="101" y="343"/>
                    <a:pt x="102" y="346"/>
                    <a:pt x="104" y="348"/>
                  </a:cubicBezTo>
                  <a:cubicBezTo>
                    <a:pt x="105" y="350"/>
                    <a:pt x="106" y="351"/>
                    <a:pt x="107" y="352"/>
                  </a:cubicBezTo>
                  <a:cubicBezTo>
                    <a:pt x="107" y="352"/>
                    <a:pt x="107" y="353"/>
                    <a:pt x="107" y="353"/>
                  </a:cubicBezTo>
                  <a:cubicBezTo>
                    <a:pt x="108" y="354"/>
                    <a:pt x="108" y="355"/>
                    <a:pt x="108" y="356"/>
                  </a:cubicBezTo>
                  <a:cubicBezTo>
                    <a:pt x="108" y="356"/>
                    <a:pt x="109" y="357"/>
                    <a:pt x="109" y="358"/>
                  </a:cubicBezTo>
                  <a:cubicBezTo>
                    <a:pt x="110" y="358"/>
                    <a:pt x="110" y="359"/>
                    <a:pt x="110" y="359"/>
                  </a:cubicBezTo>
                  <a:cubicBezTo>
                    <a:pt x="111" y="360"/>
                    <a:pt x="111" y="360"/>
                    <a:pt x="111" y="361"/>
                  </a:cubicBezTo>
                  <a:cubicBezTo>
                    <a:pt x="111" y="362"/>
                    <a:pt x="112" y="363"/>
                    <a:pt x="112" y="364"/>
                  </a:cubicBezTo>
                  <a:cubicBezTo>
                    <a:pt x="114" y="366"/>
                    <a:pt x="115" y="368"/>
                    <a:pt x="117" y="369"/>
                  </a:cubicBezTo>
                  <a:cubicBezTo>
                    <a:pt x="118" y="370"/>
                    <a:pt x="119" y="371"/>
                    <a:pt x="120" y="371"/>
                  </a:cubicBezTo>
                  <a:cubicBezTo>
                    <a:pt x="122" y="373"/>
                    <a:pt x="123" y="376"/>
                    <a:pt x="125" y="378"/>
                  </a:cubicBezTo>
                  <a:cubicBezTo>
                    <a:pt x="126" y="380"/>
                    <a:pt x="128" y="381"/>
                    <a:pt x="130" y="383"/>
                  </a:cubicBezTo>
                  <a:cubicBezTo>
                    <a:pt x="131" y="383"/>
                    <a:pt x="131" y="383"/>
                    <a:pt x="131" y="383"/>
                  </a:cubicBezTo>
                  <a:cubicBezTo>
                    <a:pt x="132" y="383"/>
                    <a:pt x="132" y="383"/>
                    <a:pt x="132" y="383"/>
                  </a:cubicBezTo>
                  <a:cubicBezTo>
                    <a:pt x="133" y="383"/>
                    <a:pt x="134" y="383"/>
                    <a:pt x="135" y="383"/>
                  </a:cubicBezTo>
                  <a:cubicBezTo>
                    <a:pt x="136" y="382"/>
                    <a:pt x="136" y="382"/>
                    <a:pt x="137" y="382"/>
                  </a:cubicBezTo>
                  <a:cubicBezTo>
                    <a:pt x="141" y="381"/>
                    <a:pt x="142" y="381"/>
                    <a:pt x="143" y="376"/>
                  </a:cubicBezTo>
                  <a:cubicBezTo>
                    <a:pt x="145" y="371"/>
                    <a:pt x="147" y="366"/>
                    <a:pt x="153" y="366"/>
                  </a:cubicBezTo>
                  <a:cubicBezTo>
                    <a:pt x="153" y="366"/>
                    <a:pt x="154" y="366"/>
                    <a:pt x="154" y="366"/>
                  </a:cubicBezTo>
                  <a:cubicBezTo>
                    <a:pt x="154" y="366"/>
                    <a:pt x="155" y="366"/>
                    <a:pt x="155" y="366"/>
                  </a:cubicBezTo>
                  <a:cubicBezTo>
                    <a:pt x="156" y="369"/>
                    <a:pt x="157" y="370"/>
                    <a:pt x="159" y="371"/>
                  </a:cubicBezTo>
                  <a:cubicBezTo>
                    <a:pt x="160" y="371"/>
                    <a:pt x="161" y="372"/>
                    <a:pt x="162" y="374"/>
                  </a:cubicBezTo>
                  <a:cubicBezTo>
                    <a:pt x="163" y="375"/>
                    <a:pt x="162" y="376"/>
                    <a:pt x="162" y="377"/>
                  </a:cubicBezTo>
                  <a:cubicBezTo>
                    <a:pt x="162" y="378"/>
                    <a:pt x="162" y="378"/>
                    <a:pt x="161" y="379"/>
                  </a:cubicBezTo>
                  <a:cubicBezTo>
                    <a:pt x="161" y="380"/>
                    <a:pt x="161" y="380"/>
                    <a:pt x="161" y="381"/>
                  </a:cubicBezTo>
                  <a:cubicBezTo>
                    <a:pt x="161" y="382"/>
                    <a:pt x="161" y="382"/>
                    <a:pt x="161" y="382"/>
                  </a:cubicBezTo>
                  <a:cubicBezTo>
                    <a:pt x="161" y="382"/>
                    <a:pt x="161" y="382"/>
                    <a:pt x="161" y="382"/>
                  </a:cubicBezTo>
                  <a:cubicBezTo>
                    <a:pt x="161" y="383"/>
                    <a:pt x="162" y="384"/>
                    <a:pt x="162" y="384"/>
                  </a:cubicBezTo>
                  <a:cubicBezTo>
                    <a:pt x="164" y="388"/>
                    <a:pt x="165" y="388"/>
                    <a:pt x="169" y="389"/>
                  </a:cubicBezTo>
                  <a:cubicBezTo>
                    <a:pt x="170" y="389"/>
                    <a:pt x="171" y="389"/>
                    <a:pt x="171" y="389"/>
                  </a:cubicBezTo>
                  <a:cubicBezTo>
                    <a:pt x="177" y="389"/>
                    <a:pt x="177" y="390"/>
                    <a:pt x="179" y="394"/>
                  </a:cubicBezTo>
                  <a:cubicBezTo>
                    <a:pt x="179" y="395"/>
                    <a:pt x="179" y="395"/>
                    <a:pt x="179" y="395"/>
                  </a:cubicBezTo>
                  <a:cubicBezTo>
                    <a:pt x="181" y="395"/>
                    <a:pt x="181" y="395"/>
                    <a:pt x="181" y="395"/>
                  </a:cubicBezTo>
                  <a:cubicBezTo>
                    <a:pt x="183" y="395"/>
                    <a:pt x="184" y="395"/>
                    <a:pt x="186" y="394"/>
                  </a:cubicBezTo>
                  <a:cubicBezTo>
                    <a:pt x="187" y="394"/>
                    <a:pt x="188" y="394"/>
                    <a:pt x="190" y="394"/>
                  </a:cubicBezTo>
                  <a:cubicBezTo>
                    <a:pt x="192" y="393"/>
                    <a:pt x="195" y="393"/>
                    <a:pt x="198" y="393"/>
                  </a:cubicBezTo>
                  <a:cubicBezTo>
                    <a:pt x="199" y="393"/>
                    <a:pt x="200" y="393"/>
                    <a:pt x="201" y="393"/>
                  </a:cubicBezTo>
                  <a:cubicBezTo>
                    <a:pt x="201" y="393"/>
                    <a:pt x="201" y="393"/>
                    <a:pt x="201" y="393"/>
                  </a:cubicBezTo>
                  <a:cubicBezTo>
                    <a:pt x="203" y="393"/>
                    <a:pt x="204" y="393"/>
                    <a:pt x="205" y="394"/>
                  </a:cubicBezTo>
                  <a:cubicBezTo>
                    <a:pt x="206" y="395"/>
                    <a:pt x="207" y="396"/>
                    <a:pt x="208" y="396"/>
                  </a:cubicBezTo>
                  <a:cubicBezTo>
                    <a:pt x="209" y="396"/>
                    <a:pt x="209" y="396"/>
                    <a:pt x="210" y="396"/>
                  </a:cubicBezTo>
                  <a:cubicBezTo>
                    <a:pt x="210" y="396"/>
                    <a:pt x="211" y="396"/>
                    <a:pt x="212" y="395"/>
                  </a:cubicBezTo>
                  <a:cubicBezTo>
                    <a:pt x="213" y="394"/>
                    <a:pt x="213" y="391"/>
                    <a:pt x="213" y="389"/>
                  </a:cubicBezTo>
                  <a:cubicBezTo>
                    <a:pt x="214" y="389"/>
                    <a:pt x="215" y="389"/>
                    <a:pt x="216" y="388"/>
                  </a:cubicBezTo>
                  <a:cubicBezTo>
                    <a:pt x="217" y="388"/>
                    <a:pt x="218" y="388"/>
                    <a:pt x="219" y="387"/>
                  </a:cubicBezTo>
                  <a:cubicBezTo>
                    <a:pt x="220" y="386"/>
                    <a:pt x="220" y="385"/>
                    <a:pt x="220" y="384"/>
                  </a:cubicBezTo>
                  <a:cubicBezTo>
                    <a:pt x="220" y="384"/>
                    <a:pt x="220" y="383"/>
                    <a:pt x="222" y="382"/>
                  </a:cubicBezTo>
                  <a:cubicBezTo>
                    <a:pt x="224" y="381"/>
                    <a:pt x="226" y="380"/>
                    <a:pt x="229" y="380"/>
                  </a:cubicBezTo>
                  <a:cubicBezTo>
                    <a:pt x="230" y="379"/>
                    <a:pt x="232" y="379"/>
                    <a:pt x="233" y="378"/>
                  </a:cubicBezTo>
                  <a:cubicBezTo>
                    <a:pt x="234" y="378"/>
                    <a:pt x="234" y="378"/>
                    <a:pt x="234" y="378"/>
                  </a:cubicBezTo>
                  <a:cubicBezTo>
                    <a:pt x="238" y="166"/>
                    <a:pt x="238" y="166"/>
                    <a:pt x="238" y="166"/>
                  </a:cubicBezTo>
                  <a:cubicBezTo>
                    <a:pt x="265" y="166"/>
                    <a:pt x="265" y="166"/>
                    <a:pt x="265" y="166"/>
                  </a:cubicBezTo>
                  <a:cubicBezTo>
                    <a:pt x="265" y="46"/>
                    <a:pt x="265" y="46"/>
                    <a:pt x="265" y="46"/>
                  </a:cubicBezTo>
                  <a:cubicBezTo>
                    <a:pt x="289" y="44"/>
                    <a:pt x="289" y="44"/>
                    <a:pt x="289" y="44"/>
                  </a:cubicBezTo>
                  <a:cubicBezTo>
                    <a:pt x="333" y="33"/>
                    <a:pt x="333" y="33"/>
                    <a:pt x="333" y="33"/>
                  </a:cubicBezTo>
                  <a:cubicBezTo>
                    <a:pt x="343" y="50"/>
                    <a:pt x="343" y="50"/>
                    <a:pt x="343" y="50"/>
                  </a:cubicBezTo>
                  <a:cubicBezTo>
                    <a:pt x="345" y="49"/>
                    <a:pt x="345" y="49"/>
                    <a:pt x="345" y="49"/>
                  </a:cubicBezTo>
                  <a:cubicBezTo>
                    <a:pt x="348" y="46"/>
                    <a:pt x="351" y="43"/>
                    <a:pt x="354" y="41"/>
                  </a:cubicBezTo>
                  <a:cubicBezTo>
                    <a:pt x="355" y="41"/>
                    <a:pt x="356" y="40"/>
                    <a:pt x="356" y="39"/>
                  </a:cubicBezTo>
                  <a:cubicBezTo>
                    <a:pt x="358" y="38"/>
                    <a:pt x="361" y="36"/>
                    <a:pt x="363" y="35"/>
                  </a:cubicBezTo>
                  <a:cubicBezTo>
                    <a:pt x="363" y="35"/>
                    <a:pt x="364" y="35"/>
                    <a:pt x="364" y="35"/>
                  </a:cubicBezTo>
                  <a:cubicBezTo>
                    <a:pt x="365" y="35"/>
                    <a:pt x="366" y="35"/>
                    <a:pt x="367" y="36"/>
                  </a:cubicBezTo>
                  <a:cubicBezTo>
                    <a:pt x="367" y="36"/>
                    <a:pt x="368" y="37"/>
                    <a:pt x="369" y="37"/>
                  </a:cubicBezTo>
                  <a:cubicBezTo>
                    <a:pt x="370" y="38"/>
                    <a:pt x="370" y="38"/>
                    <a:pt x="370" y="38"/>
                  </a:cubicBezTo>
                  <a:cubicBezTo>
                    <a:pt x="371" y="36"/>
                    <a:pt x="371" y="36"/>
                    <a:pt x="371" y="36"/>
                  </a:cubicBezTo>
                  <a:cubicBezTo>
                    <a:pt x="372" y="33"/>
                    <a:pt x="375" y="32"/>
                    <a:pt x="377" y="31"/>
                  </a:cubicBezTo>
                  <a:cubicBezTo>
                    <a:pt x="378" y="30"/>
                    <a:pt x="380" y="30"/>
                    <a:pt x="382" y="30"/>
                  </a:cubicBezTo>
                  <a:cubicBezTo>
                    <a:pt x="384" y="30"/>
                    <a:pt x="385" y="30"/>
                    <a:pt x="386" y="29"/>
                  </a:cubicBezTo>
                  <a:cubicBezTo>
                    <a:pt x="387" y="29"/>
                    <a:pt x="387" y="28"/>
                    <a:pt x="388" y="27"/>
                  </a:cubicBezTo>
                  <a:cubicBezTo>
                    <a:pt x="388" y="27"/>
                    <a:pt x="388" y="27"/>
                    <a:pt x="388" y="27"/>
                  </a:cubicBezTo>
                  <a:lnTo>
                    <a:pt x="388" y="26"/>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61" name="Freeform 61">
              <a:extLst>
                <a:ext uri="{FF2B5EF4-FFF2-40B4-BE49-F238E27FC236}">
                  <a16:creationId xmlns:a16="http://schemas.microsoft.com/office/drawing/2014/main" id="{CC638C93-7ADA-4D06-9093-2D3098BDE688}"/>
                </a:ext>
              </a:extLst>
            </p:cNvPr>
            <p:cNvSpPr>
              <a:spLocks/>
            </p:cNvSpPr>
            <p:nvPr/>
          </p:nvSpPr>
          <p:spPr bwMode="auto">
            <a:xfrm>
              <a:off x="2628334" y="2296697"/>
              <a:ext cx="440829" cy="538332"/>
            </a:xfrm>
            <a:custGeom>
              <a:avLst/>
              <a:gdLst>
                <a:gd name="T0" fmla="*/ 211 w 218"/>
                <a:gd name="T1" fmla="*/ 5 h 289"/>
                <a:gd name="T2" fmla="*/ 192 w 218"/>
                <a:gd name="T3" fmla="*/ 2 h 289"/>
                <a:gd name="T4" fmla="*/ 169 w 218"/>
                <a:gd name="T5" fmla="*/ 5 h 289"/>
                <a:gd name="T6" fmla="*/ 149 w 218"/>
                <a:gd name="T7" fmla="*/ 42 h 289"/>
                <a:gd name="T8" fmla="*/ 144 w 218"/>
                <a:gd name="T9" fmla="*/ 52 h 289"/>
                <a:gd name="T10" fmla="*/ 136 w 218"/>
                <a:gd name="T11" fmla="*/ 60 h 289"/>
                <a:gd name="T12" fmla="*/ 118 w 218"/>
                <a:gd name="T13" fmla="*/ 56 h 289"/>
                <a:gd name="T14" fmla="*/ 90 w 218"/>
                <a:gd name="T15" fmla="*/ 49 h 289"/>
                <a:gd name="T16" fmla="*/ 69 w 218"/>
                <a:gd name="T17" fmla="*/ 49 h 289"/>
                <a:gd name="T18" fmla="*/ 63 w 218"/>
                <a:gd name="T19" fmla="*/ 49 h 289"/>
                <a:gd name="T20" fmla="*/ 57 w 218"/>
                <a:gd name="T21" fmla="*/ 68 h 289"/>
                <a:gd name="T22" fmla="*/ 58 w 218"/>
                <a:gd name="T23" fmla="*/ 78 h 289"/>
                <a:gd name="T24" fmla="*/ 80 w 218"/>
                <a:gd name="T25" fmla="*/ 74 h 289"/>
                <a:gd name="T26" fmla="*/ 95 w 218"/>
                <a:gd name="T27" fmla="*/ 94 h 289"/>
                <a:gd name="T28" fmla="*/ 91 w 218"/>
                <a:gd name="T29" fmla="*/ 99 h 289"/>
                <a:gd name="T30" fmla="*/ 80 w 218"/>
                <a:gd name="T31" fmla="*/ 123 h 289"/>
                <a:gd name="T32" fmla="*/ 83 w 218"/>
                <a:gd name="T33" fmla="*/ 130 h 289"/>
                <a:gd name="T34" fmla="*/ 90 w 218"/>
                <a:gd name="T35" fmla="*/ 137 h 289"/>
                <a:gd name="T36" fmla="*/ 95 w 218"/>
                <a:gd name="T37" fmla="*/ 156 h 289"/>
                <a:gd name="T38" fmla="*/ 92 w 218"/>
                <a:gd name="T39" fmla="*/ 186 h 289"/>
                <a:gd name="T40" fmla="*/ 84 w 218"/>
                <a:gd name="T41" fmla="*/ 203 h 289"/>
                <a:gd name="T42" fmla="*/ 76 w 218"/>
                <a:gd name="T43" fmla="*/ 192 h 289"/>
                <a:gd name="T44" fmla="*/ 66 w 218"/>
                <a:gd name="T45" fmla="*/ 200 h 289"/>
                <a:gd name="T46" fmla="*/ 52 w 218"/>
                <a:gd name="T47" fmla="*/ 189 h 289"/>
                <a:gd name="T48" fmla="*/ 40 w 218"/>
                <a:gd name="T49" fmla="*/ 183 h 289"/>
                <a:gd name="T50" fmla="*/ 38 w 218"/>
                <a:gd name="T51" fmla="*/ 189 h 289"/>
                <a:gd name="T52" fmla="*/ 32 w 218"/>
                <a:gd name="T53" fmla="*/ 198 h 289"/>
                <a:gd name="T54" fmla="*/ 26 w 218"/>
                <a:gd name="T55" fmla="*/ 200 h 289"/>
                <a:gd name="T56" fmla="*/ 18 w 218"/>
                <a:gd name="T57" fmla="*/ 200 h 289"/>
                <a:gd name="T58" fmla="*/ 13 w 218"/>
                <a:gd name="T59" fmla="*/ 199 h 289"/>
                <a:gd name="T60" fmla="*/ 13 w 218"/>
                <a:gd name="T61" fmla="*/ 210 h 289"/>
                <a:gd name="T62" fmla="*/ 12 w 218"/>
                <a:gd name="T63" fmla="*/ 214 h 289"/>
                <a:gd name="T64" fmla="*/ 17 w 218"/>
                <a:gd name="T65" fmla="*/ 225 h 289"/>
                <a:gd name="T66" fmla="*/ 20 w 218"/>
                <a:gd name="T67" fmla="*/ 233 h 289"/>
                <a:gd name="T68" fmla="*/ 12 w 218"/>
                <a:gd name="T69" fmla="*/ 239 h 289"/>
                <a:gd name="T70" fmla="*/ 0 w 218"/>
                <a:gd name="T71" fmla="*/ 252 h 289"/>
                <a:gd name="T72" fmla="*/ 11 w 218"/>
                <a:gd name="T73" fmla="*/ 265 h 289"/>
                <a:gd name="T74" fmla="*/ 19 w 218"/>
                <a:gd name="T75" fmla="*/ 283 h 289"/>
                <a:gd name="T76" fmla="*/ 25 w 218"/>
                <a:gd name="T77" fmla="*/ 287 h 289"/>
                <a:gd name="T78" fmla="*/ 52 w 218"/>
                <a:gd name="T79" fmla="*/ 268 h 289"/>
                <a:gd name="T80" fmla="*/ 59 w 218"/>
                <a:gd name="T81" fmla="*/ 275 h 289"/>
                <a:gd name="T82" fmla="*/ 68 w 218"/>
                <a:gd name="T83" fmla="*/ 280 h 289"/>
                <a:gd name="T84" fmla="*/ 78 w 218"/>
                <a:gd name="T85" fmla="*/ 268 h 289"/>
                <a:gd name="T86" fmla="*/ 88 w 218"/>
                <a:gd name="T87" fmla="*/ 266 h 289"/>
                <a:gd name="T88" fmla="*/ 100 w 218"/>
                <a:gd name="T89" fmla="*/ 284 h 289"/>
                <a:gd name="T90" fmla="*/ 123 w 218"/>
                <a:gd name="T91" fmla="*/ 262 h 289"/>
                <a:gd name="T92" fmla="*/ 142 w 218"/>
                <a:gd name="T93" fmla="*/ 245 h 289"/>
                <a:gd name="T94" fmla="*/ 146 w 218"/>
                <a:gd name="T95" fmla="*/ 193 h 289"/>
                <a:gd name="T96" fmla="*/ 164 w 218"/>
                <a:gd name="T97" fmla="*/ 174 h 289"/>
                <a:gd name="T98" fmla="*/ 173 w 218"/>
                <a:gd name="T99" fmla="*/ 160 h 289"/>
                <a:gd name="T100" fmla="*/ 192 w 218"/>
                <a:gd name="T101" fmla="*/ 140 h 289"/>
                <a:gd name="T102" fmla="*/ 195 w 218"/>
                <a:gd name="T103" fmla="*/ 94 h 289"/>
                <a:gd name="T104" fmla="*/ 210 w 218"/>
                <a:gd name="T105" fmla="*/ 3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289">
                  <a:moveTo>
                    <a:pt x="215" y="6"/>
                  </a:moveTo>
                  <a:cubicBezTo>
                    <a:pt x="214" y="5"/>
                    <a:pt x="214" y="5"/>
                    <a:pt x="214" y="5"/>
                  </a:cubicBezTo>
                  <a:cubicBezTo>
                    <a:pt x="213" y="5"/>
                    <a:pt x="213" y="5"/>
                    <a:pt x="213" y="5"/>
                  </a:cubicBezTo>
                  <a:cubicBezTo>
                    <a:pt x="212" y="5"/>
                    <a:pt x="212" y="5"/>
                    <a:pt x="211" y="5"/>
                  </a:cubicBezTo>
                  <a:cubicBezTo>
                    <a:pt x="209" y="5"/>
                    <a:pt x="208" y="5"/>
                    <a:pt x="206" y="5"/>
                  </a:cubicBezTo>
                  <a:cubicBezTo>
                    <a:pt x="205" y="5"/>
                    <a:pt x="204" y="5"/>
                    <a:pt x="202" y="5"/>
                  </a:cubicBezTo>
                  <a:cubicBezTo>
                    <a:pt x="200" y="5"/>
                    <a:pt x="197" y="5"/>
                    <a:pt x="195" y="4"/>
                  </a:cubicBezTo>
                  <a:cubicBezTo>
                    <a:pt x="194" y="3"/>
                    <a:pt x="193" y="3"/>
                    <a:pt x="192" y="2"/>
                  </a:cubicBezTo>
                  <a:cubicBezTo>
                    <a:pt x="190" y="1"/>
                    <a:pt x="187" y="0"/>
                    <a:pt x="185" y="0"/>
                  </a:cubicBezTo>
                  <a:cubicBezTo>
                    <a:pt x="183" y="0"/>
                    <a:pt x="182" y="1"/>
                    <a:pt x="180" y="2"/>
                  </a:cubicBezTo>
                  <a:cubicBezTo>
                    <a:pt x="179" y="3"/>
                    <a:pt x="177" y="3"/>
                    <a:pt x="176" y="4"/>
                  </a:cubicBezTo>
                  <a:cubicBezTo>
                    <a:pt x="173" y="5"/>
                    <a:pt x="171" y="5"/>
                    <a:pt x="169" y="5"/>
                  </a:cubicBezTo>
                  <a:cubicBezTo>
                    <a:pt x="164" y="5"/>
                    <a:pt x="161" y="5"/>
                    <a:pt x="158" y="12"/>
                  </a:cubicBezTo>
                  <a:cubicBezTo>
                    <a:pt x="156" y="16"/>
                    <a:pt x="156" y="20"/>
                    <a:pt x="155" y="24"/>
                  </a:cubicBezTo>
                  <a:cubicBezTo>
                    <a:pt x="154" y="27"/>
                    <a:pt x="154" y="30"/>
                    <a:pt x="153" y="33"/>
                  </a:cubicBezTo>
                  <a:cubicBezTo>
                    <a:pt x="152" y="36"/>
                    <a:pt x="150" y="39"/>
                    <a:pt x="149" y="42"/>
                  </a:cubicBezTo>
                  <a:cubicBezTo>
                    <a:pt x="148" y="43"/>
                    <a:pt x="148" y="44"/>
                    <a:pt x="148" y="45"/>
                  </a:cubicBezTo>
                  <a:cubicBezTo>
                    <a:pt x="147" y="47"/>
                    <a:pt x="146" y="49"/>
                    <a:pt x="145" y="50"/>
                  </a:cubicBezTo>
                  <a:cubicBezTo>
                    <a:pt x="143" y="50"/>
                    <a:pt x="143" y="50"/>
                    <a:pt x="143" y="50"/>
                  </a:cubicBezTo>
                  <a:cubicBezTo>
                    <a:pt x="144" y="52"/>
                    <a:pt x="144" y="52"/>
                    <a:pt x="144" y="52"/>
                  </a:cubicBezTo>
                  <a:cubicBezTo>
                    <a:pt x="144" y="55"/>
                    <a:pt x="145" y="58"/>
                    <a:pt x="144" y="61"/>
                  </a:cubicBezTo>
                  <a:cubicBezTo>
                    <a:pt x="143" y="62"/>
                    <a:pt x="143" y="63"/>
                    <a:pt x="142" y="63"/>
                  </a:cubicBezTo>
                  <a:cubicBezTo>
                    <a:pt x="142" y="63"/>
                    <a:pt x="142" y="63"/>
                    <a:pt x="142" y="63"/>
                  </a:cubicBezTo>
                  <a:cubicBezTo>
                    <a:pt x="140" y="63"/>
                    <a:pt x="138" y="62"/>
                    <a:pt x="136" y="60"/>
                  </a:cubicBezTo>
                  <a:cubicBezTo>
                    <a:pt x="136" y="59"/>
                    <a:pt x="135" y="59"/>
                    <a:pt x="134" y="58"/>
                  </a:cubicBezTo>
                  <a:cubicBezTo>
                    <a:pt x="131" y="56"/>
                    <a:pt x="128" y="56"/>
                    <a:pt x="126" y="56"/>
                  </a:cubicBezTo>
                  <a:cubicBezTo>
                    <a:pt x="124" y="56"/>
                    <a:pt x="123" y="56"/>
                    <a:pt x="122" y="56"/>
                  </a:cubicBezTo>
                  <a:cubicBezTo>
                    <a:pt x="121" y="56"/>
                    <a:pt x="120" y="56"/>
                    <a:pt x="118" y="56"/>
                  </a:cubicBezTo>
                  <a:cubicBezTo>
                    <a:pt x="117" y="56"/>
                    <a:pt x="117" y="56"/>
                    <a:pt x="117" y="56"/>
                  </a:cubicBezTo>
                  <a:cubicBezTo>
                    <a:pt x="114" y="56"/>
                    <a:pt x="111" y="54"/>
                    <a:pt x="107" y="53"/>
                  </a:cubicBezTo>
                  <a:cubicBezTo>
                    <a:pt x="105" y="52"/>
                    <a:pt x="103" y="51"/>
                    <a:pt x="101" y="50"/>
                  </a:cubicBezTo>
                  <a:cubicBezTo>
                    <a:pt x="98" y="50"/>
                    <a:pt x="95" y="49"/>
                    <a:pt x="90" y="49"/>
                  </a:cubicBezTo>
                  <a:cubicBezTo>
                    <a:pt x="88" y="49"/>
                    <a:pt x="86" y="49"/>
                    <a:pt x="83" y="49"/>
                  </a:cubicBezTo>
                  <a:cubicBezTo>
                    <a:pt x="81" y="50"/>
                    <a:pt x="79" y="50"/>
                    <a:pt x="77" y="50"/>
                  </a:cubicBezTo>
                  <a:cubicBezTo>
                    <a:pt x="74" y="50"/>
                    <a:pt x="72" y="50"/>
                    <a:pt x="70" y="49"/>
                  </a:cubicBezTo>
                  <a:cubicBezTo>
                    <a:pt x="70" y="49"/>
                    <a:pt x="70" y="49"/>
                    <a:pt x="69" y="49"/>
                  </a:cubicBezTo>
                  <a:cubicBezTo>
                    <a:pt x="69" y="49"/>
                    <a:pt x="69" y="49"/>
                    <a:pt x="68" y="49"/>
                  </a:cubicBezTo>
                  <a:cubicBezTo>
                    <a:pt x="67" y="49"/>
                    <a:pt x="67" y="49"/>
                    <a:pt x="66" y="49"/>
                  </a:cubicBezTo>
                  <a:cubicBezTo>
                    <a:pt x="66" y="49"/>
                    <a:pt x="65" y="49"/>
                    <a:pt x="64" y="49"/>
                  </a:cubicBezTo>
                  <a:cubicBezTo>
                    <a:pt x="63" y="49"/>
                    <a:pt x="63" y="49"/>
                    <a:pt x="63" y="49"/>
                  </a:cubicBezTo>
                  <a:cubicBezTo>
                    <a:pt x="63" y="49"/>
                    <a:pt x="63" y="49"/>
                    <a:pt x="63" y="49"/>
                  </a:cubicBezTo>
                  <a:cubicBezTo>
                    <a:pt x="62" y="49"/>
                    <a:pt x="60" y="50"/>
                    <a:pt x="58" y="55"/>
                  </a:cubicBezTo>
                  <a:cubicBezTo>
                    <a:pt x="57" y="59"/>
                    <a:pt x="56" y="63"/>
                    <a:pt x="57" y="67"/>
                  </a:cubicBezTo>
                  <a:cubicBezTo>
                    <a:pt x="57" y="68"/>
                    <a:pt x="57" y="68"/>
                    <a:pt x="57" y="68"/>
                  </a:cubicBezTo>
                  <a:cubicBezTo>
                    <a:pt x="57" y="69"/>
                    <a:pt x="57" y="70"/>
                    <a:pt x="58" y="71"/>
                  </a:cubicBezTo>
                  <a:cubicBezTo>
                    <a:pt x="58" y="72"/>
                    <a:pt x="58" y="72"/>
                    <a:pt x="59" y="73"/>
                  </a:cubicBezTo>
                  <a:cubicBezTo>
                    <a:pt x="59" y="74"/>
                    <a:pt x="60" y="74"/>
                    <a:pt x="60" y="75"/>
                  </a:cubicBezTo>
                  <a:cubicBezTo>
                    <a:pt x="60" y="76"/>
                    <a:pt x="59" y="77"/>
                    <a:pt x="58" y="78"/>
                  </a:cubicBezTo>
                  <a:cubicBezTo>
                    <a:pt x="52" y="82"/>
                    <a:pt x="52" y="82"/>
                    <a:pt x="52" y="82"/>
                  </a:cubicBezTo>
                  <a:cubicBezTo>
                    <a:pt x="59" y="81"/>
                    <a:pt x="59" y="81"/>
                    <a:pt x="59" y="81"/>
                  </a:cubicBezTo>
                  <a:cubicBezTo>
                    <a:pt x="62" y="81"/>
                    <a:pt x="70" y="78"/>
                    <a:pt x="73" y="76"/>
                  </a:cubicBezTo>
                  <a:cubicBezTo>
                    <a:pt x="75" y="75"/>
                    <a:pt x="78" y="74"/>
                    <a:pt x="80" y="74"/>
                  </a:cubicBezTo>
                  <a:cubicBezTo>
                    <a:pt x="83" y="74"/>
                    <a:pt x="86" y="75"/>
                    <a:pt x="88" y="77"/>
                  </a:cubicBezTo>
                  <a:cubicBezTo>
                    <a:pt x="89" y="79"/>
                    <a:pt x="90" y="81"/>
                    <a:pt x="91" y="83"/>
                  </a:cubicBezTo>
                  <a:cubicBezTo>
                    <a:pt x="92" y="86"/>
                    <a:pt x="94" y="89"/>
                    <a:pt x="96" y="90"/>
                  </a:cubicBezTo>
                  <a:cubicBezTo>
                    <a:pt x="96" y="92"/>
                    <a:pt x="96" y="93"/>
                    <a:pt x="95" y="94"/>
                  </a:cubicBezTo>
                  <a:cubicBezTo>
                    <a:pt x="94" y="94"/>
                    <a:pt x="94" y="95"/>
                    <a:pt x="94" y="96"/>
                  </a:cubicBezTo>
                  <a:cubicBezTo>
                    <a:pt x="94" y="96"/>
                    <a:pt x="94" y="97"/>
                    <a:pt x="93" y="97"/>
                  </a:cubicBezTo>
                  <a:cubicBezTo>
                    <a:pt x="93" y="98"/>
                    <a:pt x="92" y="98"/>
                    <a:pt x="92" y="98"/>
                  </a:cubicBezTo>
                  <a:cubicBezTo>
                    <a:pt x="91" y="99"/>
                    <a:pt x="91" y="99"/>
                    <a:pt x="91" y="99"/>
                  </a:cubicBezTo>
                  <a:cubicBezTo>
                    <a:pt x="90" y="100"/>
                    <a:pt x="90" y="101"/>
                    <a:pt x="89" y="101"/>
                  </a:cubicBezTo>
                  <a:cubicBezTo>
                    <a:pt x="88" y="102"/>
                    <a:pt x="88" y="103"/>
                    <a:pt x="86" y="104"/>
                  </a:cubicBezTo>
                  <a:cubicBezTo>
                    <a:pt x="82" y="108"/>
                    <a:pt x="81" y="112"/>
                    <a:pt x="81" y="116"/>
                  </a:cubicBezTo>
                  <a:cubicBezTo>
                    <a:pt x="81" y="119"/>
                    <a:pt x="80" y="121"/>
                    <a:pt x="80" y="123"/>
                  </a:cubicBezTo>
                  <a:cubicBezTo>
                    <a:pt x="79" y="125"/>
                    <a:pt x="79" y="127"/>
                    <a:pt x="79" y="128"/>
                  </a:cubicBezTo>
                  <a:cubicBezTo>
                    <a:pt x="79" y="130"/>
                    <a:pt x="79" y="130"/>
                    <a:pt x="79" y="130"/>
                  </a:cubicBezTo>
                  <a:cubicBezTo>
                    <a:pt x="81" y="130"/>
                    <a:pt x="81" y="130"/>
                    <a:pt x="81" y="130"/>
                  </a:cubicBezTo>
                  <a:cubicBezTo>
                    <a:pt x="82" y="130"/>
                    <a:pt x="83" y="130"/>
                    <a:pt x="83" y="130"/>
                  </a:cubicBezTo>
                  <a:cubicBezTo>
                    <a:pt x="85" y="130"/>
                    <a:pt x="86" y="130"/>
                    <a:pt x="86" y="131"/>
                  </a:cubicBezTo>
                  <a:cubicBezTo>
                    <a:pt x="87" y="132"/>
                    <a:pt x="88" y="134"/>
                    <a:pt x="88" y="135"/>
                  </a:cubicBezTo>
                  <a:cubicBezTo>
                    <a:pt x="89" y="137"/>
                    <a:pt x="89" y="137"/>
                    <a:pt x="89" y="137"/>
                  </a:cubicBezTo>
                  <a:cubicBezTo>
                    <a:pt x="90" y="137"/>
                    <a:pt x="90" y="137"/>
                    <a:pt x="90" y="137"/>
                  </a:cubicBezTo>
                  <a:cubicBezTo>
                    <a:pt x="91" y="137"/>
                    <a:pt x="95" y="138"/>
                    <a:pt x="96" y="140"/>
                  </a:cubicBezTo>
                  <a:cubicBezTo>
                    <a:pt x="97" y="141"/>
                    <a:pt x="98" y="143"/>
                    <a:pt x="97" y="144"/>
                  </a:cubicBezTo>
                  <a:cubicBezTo>
                    <a:pt x="97" y="146"/>
                    <a:pt x="96" y="147"/>
                    <a:pt x="96" y="149"/>
                  </a:cubicBezTo>
                  <a:cubicBezTo>
                    <a:pt x="95" y="151"/>
                    <a:pt x="94" y="153"/>
                    <a:pt x="95" y="156"/>
                  </a:cubicBezTo>
                  <a:cubicBezTo>
                    <a:pt x="96" y="160"/>
                    <a:pt x="96" y="163"/>
                    <a:pt x="95" y="167"/>
                  </a:cubicBezTo>
                  <a:cubicBezTo>
                    <a:pt x="94" y="170"/>
                    <a:pt x="94" y="173"/>
                    <a:pt x="95" y="175"/>
                  </a:cubicBezTo>
                  <a:cubicBezTo>
                    <a:pt x="95" y="177"/>
                    <a:pt x="95" y="178"/>
                    <a:pt x="95" y="180"/>
                  </a:cubicBezTo>
                  <a:cubicBezTo>
                    <a:pt x="95" y="182"/>
                    <a:pt x="93" y="184"/>
                    <a:pt x="92" y="186"/>
                  </a:cubicBezTo>
                  <a:cubicBezTo>
                    <a:pt x="91" y="187"/>
                    <a:pt x="91" y="188"/>
                    <a:pt x="90" y="189"/>
                  </a:cubicBezTo>
                  <a:cubicBezTo>
                    <a:pt x="89" y="190"/>
                    <a:pt x="89" y="192"/>
                    <a:pt x="89" y="194"/>
                  </a:cubicBezTo>
                  <a:cubicBezTo>
                    <a:pt x="89" y="196"/>
                    <a:pt x="88" y="199"/>
                    <a:pt x="87" y="201"/>
                  </a:cubicBezTo>
                  <a:cubicBezTo>
                    <a:pt x="86" y="202"/>
                    <a:pt x="85" y="203"/>
                    <a:pt x="84" y="203"/>
                  </a:cubicBezTo>
                  <a:cubicBezTo>
                    <a:pt x="84" y="203"/>
                    <a:pt x="84" y="203"/>
                    <a:pt x="84" y="203"/>
                  </a:cubicBezTo>
                  <a:cubicBezTo>
                    <a:pt x="83" y="202"/>
                    <a:pt x="81" y="201"/>
                    <a:pt x="81" y="199"/>
                  </a:cubicBezTo>
                  <a:cubicBezTo>
                    <a:pt x="80" y="196"/>
                    <a:pt x="79" y="193"/>
                    <a:pt x="77" y="193"/>
                  </a:cubicBezTo>
                  <a:cubicBezTo>
                    <a:pt x="77" y="192"/>
                    <a:pt x="76" y="192"/>
                    <a:pt x="76" y="192"/>
                  </a:cubicBezTo>
                  <a:cubicBezTo>
                    <a:pt x="75" y="192"/>
                    <a:pt x="74" y="192"/>
                    <a:pt x="74" y="193"/>
                  </a:cubicBezTo>
                  <a:cubicBezTo>
                    <a:pt x="72" y="194"/>
                    <a:pt x="71" y="195"/>
                    <a:pt x="71" y="197"/>
                  </a:cubicBezTo>
                  <a:cubicBezTo>
                    <a:pt x="70" y="199"/>
                    <a:pt x="69" y="200"/>
                    <a:pt x="67" y="200"/>
                  </a:cubicBezTo>
                  <a:cubicBezTo>
                    <a:pt x="67" y="200"/>
                    <a:pt x="66" y="200"/>
                    <a:pt x="66" y="200"/>
                  </a:cubicBezTo>
                  <a:cubicBezTo>
                    <a:pt x="65" y="200"/>
                    <a:pt x="63" y="200"/>
                    <a:pt x="61" y="199"/>
                  </a:cubicBezTo>
                  <a:cubicBezTo>
                    <a:pt x="59" y="199"/>
                    <a:pt x="57" y="198"/>
                    <a:pt x="56" y="198"/>
                  </a:cubicBezTo>
                  <a:cubicBezTo>
                    <a:pt x="55" y="198"/>
                    <a:pt x="55" y="198"/>
                    <a:pt x="55" y="198"/>
                  </a:cubicBezTo>
                  <a:cubicBezTo>
                    <a:pt x="55" y="194"/>
                    <a:pt x="54" y="192"/>
                    <a:pt x="52" y="189"/>
                  </a:cubicBezTo>
                  <a:cubicBezTo>
                    <a:pt x="51" y="188"/>
                    <a:pt x="51" y="188"/>
                    <a:pt x="51" y="188"/>
                  </a:cubicBezTo>
                  <a:cubicBezTo>
                    <a:pt x="50" y="186"/>
                    <a:pt x="49" y="184"/>
                    <a:pt x="47" y="182"/>
                  </a:cubicBezTo>
                  <a:cubicBezTo>
                    <a:pt x="46" y="181"/>
                    <a:pt x="45" y="181"/>
                    <a:pt x="44" y="181"/>
                  </a:cubicBezTo>
                  <a:cubicBezTo>
                    <a:pt x="43" y="181"/>
                    <a:pt x="42" y="181"/>
                    <a:pt x="40" y="183"/>
                  </a:cubicBezTo>
                  <a:cubicBezTo>
                    <a:pt x="38" y="184"/>
                    <a:pt x="38" y="185"/>
                    <a:pt x="37" y="185"/>
                  </a:cubicBezTo>
                  <a:cubicBezTo>
                    <a:pt x="37" y="186"/>
                    <a:pt x="37" y="186"/>
                    <a:pt x="37" y="186"/>
                  </a:cubicBezTo>
                  <a:cubicBezTo>
                    <a:pt x="37" y="187"/>
                    <a:pt x="37" y="187"/>
                    <a:pt x="37" y="187"/>
                  </a:cubicBezTo>
                  <a:cubicBezTo>
                    <a:pt x="37" y="187"/>
                    <a:pt x="38" y="189"/>
                    <a:pt x="38" y="189"/>
                  </a:cubicBezTo>
                  <a:cubicBezTo>
                    <a:pt x="39" y="191"/>
                    <a:pt x="39" y="193"/>
                    <a:pt x="39" y="196"/>
                  </a:cubicBezTo>
                  <a:cubicBezTo>
                    <a:pt x="38" y="196"/>
                    <a:pt x="38" y="197"/>
                    <a:pt x="38" y="198"/>
                  </a:cubicBezTo>
                  <a:cubicBezTo>
                    <a:pt x="38" y="198"/>
                    <a:pt x="37" y="198"/>
                    <a:pt x="36" y="198"/>
                  </a:cubicBezTo>
                  <a:cubicBezTo>
                    <a:pt x="35" y="198"/>
                    <a:pt x="33" y="198"/>
                    <a:pt x="32" y="198"/>
                  </a:cubicBezTo>
                  <a:cubicBezTo>
                    <a:pt x="32" y="199"/>
                    <a:pt x="31" y="199"/>
                    <a:pt x="31" y="200"/>
                  </a:cubicBezTo>
                  <a:cubicBezTo>
                    <a:pt x="30" y="200"/>
                    <a:pt x="30" y="201"/>
                    <a:pt x="29" y="201"/>
                  </a:cubicBezTo>
                  <a:cubicBezTo>
                    <a:pt x="29" y="201"/>
                    <a:pt x="28" y="201"/>
                    <a:pt x="28" y="201"/>
                  </a:cubicBezTo>
                  <a:cubicBezTo>
                    <a:pt x="27" y="201"/>
                    <a:pt x="27" y="200"/>
                    <a:pt x="26" y="200"/>
                  </a:cubicBezTo>
                  <a:cubicBezTo>
                    <a:pt x="25" y="199"/>
                    <a:pt x="24" y="198"/>
                    <a:pt x="23" y="198"/>
                  </a:cubicBezTo>
                  <a:cubicBezTo>
                    <a:pt x="22" y="198"/>
                    <a:pt x="21" y="199"/>
                    <a:pt x="20" y="199"/>
                  </a:cubicBezTo>
                  <a:cubicBezTo>
                    <a:pt x="19" y="199"/>
                    <a:pt x="19" y="200"/>
                    <a:pt x="18" y="200"/>
                  </a:cubicBezTo>
                  <a:cubicBezTo>
                    <a:pt x="18" y="200"/>
                    <a:pt x="18" y="200"/>
                    <a:pt x="18" y="200"/>
                  </a:cubicBezTo>
                  <a:cubicBezTo>
                    <a:pt x="17" y="200"/>
                    <a:pt x="16" y="199"/>
                    <a:pt x="16" y="199"/>
                  </a:cubicBezTo>
                  <a:cubicBezTo>
                    <a:pt x="15" y="199"/>
                    <a:pt x="15" y="199"/>
                    <a:pt x="15" y="199"/>
                  </a:cubicBezTo>
                  <a:cubicBezTo>
                    <a:pt x="13" y="198"/>
                    <a:pt x="13" y="198"/>
                    <a:pt x="13" y="198"/>
                  </a:cubicBezTo>
                  <a:cubicBezTo>
                    <a:pt x="13" y="199"/>
                    <a:pt x="13" y="199"/>
                    <a:pt x="13" y="199"/>
                  </a:cubicBezTo>
                  <a:cubicBezTo>
                    <a:pt x="12" y="201"/>
                    <a:pt x="12" y="202"/>
                    <a:pt x="13" y="204"/>
                  </a:cubicBezTo>
                  <a:cubicBezTo>
                    <a:pt x="13" y="204"/>
                    <a:pt x="13" y="204"/>
                    <a:pt x="13" y="205"/>
                  </a:cubicBezTo>
                  <a:cubicBezTo>
                    <a:pt x="14" y="205"/>
                    <a:pt x="14" y="205"/>
                    <a:pt x="14" y="205"/>
                  </a:cubicBezTo>
                  <a:cubicBezTo>
                    <a:pt x="14" y="207"/>
                    <a:pt x="14" y="208"/>
                    <a:pt x="13" y="210"/>
                  </a:cubicBezTo>
                  <a:cubicBezTo>
                    <a:pt x="13" y="210"/>
                    <a:pt x="13" y="211"/>
                    <a:pt x="12" y="211"/>
                  </a:cubicBezTo>
                  <a:cubicBezTo>
                    <a:pt x="12" y="211"/>
                    <a:pt x="12" y="212"/>
                    <a:pt x="12" y="212"/>
                  </a:cubicBezTo>
                  <a:cubicBezTo>
                    <a:pt x="11" y="213"/>
                    <a:pt x="11" y="213"/>
                    <a:pt x="11" y="213"/>
                  </a:cubicBezTo>
                  <a:cubicBezTo>
                    <a:pt x="12" y="214"/>
                    <a:pt x="12" y="214"/>
                    <a:pt x="12" y="214"/>
                  </a:cubicBezTo>
                  <a:cubicBezTo>
                    <a:pt x="13" y="215"/>
                    <a:pt x="14" y="216"/>
                    <a:pt x="15" y="216"/>
                  </a:cubicBezTo>
                  <a:cubicBezTo>
                    <a:pt x="17" y="217"/>
                    <a:pt x="18" y="218"/>
                    <a:pt x="18" y="221"/>
                  </a:cubicBezTo>
                  <a:cubicBezTo>
                    <a:pt x="17" y="221"/>
                    <a:pt x="17" y="222"/>
                    <a:pt x="17" y="222"/>
                  </a:cubicBezTo>
                  <a:cubicBezTo>
                    <a:pt x="16" y="222"/>
                    <a:pt x="16" y="223"/>
                    <a:pt x="17" y="225"/>
                  </a:cubicBezTo>
                  <a:cubicBezTo>
                    <a:pt x="17" y="226"/>
                    <a:pt x="18" y="227"/>
                    <a:pt x="19" y="227"/>
                  </a:cubicBezTo>
                  <a:cubicBezTo>
                    <a:pt x="20" y="227"/>
                    <a:pt x="21" y="227"/>
                    <a:pt x="21" y="228"/>
                  </a:cubicBezTo>
                  <a:cubicBezTo>
                    <a:pt x="22" y="229"/>
                    <a:pt x="22" y="230"/>
                    <a:pt x="22" y="230"/>
                  </a:cubicBezTo>
                  <a:cubicBezTo>
                    <a:pt x="22" y="231"/>
                    <a:pt x="22" y="232"/>
                    <a:pt x="20" y="233"/>
                  </a:cubicBezTo>
                  <a:cubicBezTo>
                    <a:pt x="20" y="234"/>
                    <a:pt x="19" y="234"/>
                    <a:pt x="19" y="235"/>
                  </a:cubicBezTo>
                  <a:cubicBezTo>
                    <a:pt x="18" y="235"/>
                    <a:pt x="18" y="236"/>
                    <a:pt x="18" y="237"/>
                  </a:cubicBezTo>
                  <a:cubicBezTo>
                    <a:pt x="17" y="237"/>
                    <a:pt x="17" y="238"/>
                    <a:pt x="16" y="239"/>
                  </a:cubicBezTo>
                  <a:cubicBezTo>
                    <a:pt x="15" y="239"/>
                    <a:pt x="14" y="239"/>
                    <a:pt x="12" y="239"/>
                  </a:cubicBezTo>
                  <a:cubicBezTo>
                    <a:pt x="11" y="239"/>
                    <a:pt x="11" y="239"/>
                    <a:pt x="10" y="240"/>
                  </a:cubicBezTo>
                  <a:cubicBezTo>
                    <a:pt x="9" y="240"/>
                    <a:pt x="9" y="240"/>
                    <a:pt x="9" y="240"/>
                  </a:cubicBezTo>
                  <a:cubicBezTo>
                    <a:pt x="6" y="240"/>
                    <a:pt x="3" y="241"/>
                    <a:pt x="2" y="245"/>
                  </a:cubicBezTo>
                  <a:cubicBezTo>
                    <a:pt x="1" y="246"/>
                    <a:pt x="0" y="249"/>
                    <a:pt x="0" y="252"/>
                  </a:cubicBezTo>
                  <a:cubicBezTo>
                    <a:pt x="0" y="253"/>
                    <a:pt x="0" y="253"/>
                    <a:pt x="0" y="253"/>
                  </a:cubicBezTo>
                  <a:cubicBezTo>
                    <a:pt x="1" y="254"/>
                    <a:pt x="1" y="254"/>
                    <a:pt x="1" y="254"/>
                  </a:cubicBezTo>
                  <a:cubicBezTo>
                    <a:pt x="3" y="256"/>
                    <a:pt x="5" y="259"/>
                    <a:pt x="8" y="262"/>
                  </a:cubicBezTo>
                  <a:cubicBezTo>
                    <a:pt x="9" y="263"/>
                    <a:pt x="10" y="264"/>
                    <a:pt x="11" y="265"/>
                  </a:cubicBezTo>
                  <a:cubicBezTo>
                    <a:pt x="13" y="266"/>
                    <a:pt x="14" y="268"/>
                    <a:pt x="15" y="270"/>
                  </a:cubicBezTo>
                  <a:cubicBezTo>
                    <a:pt x="16" y="271"/>
                    <a:pt x="16" y="272"/>
                    <a:pt x="16" y="274"/>
                  </a:cubicBezTo>
                  <a:cubicBezTo>
                    <a:pt x="16" y="275"/>
                    <a:pt x="16" y="277"/>
                    <a:pt x="17" y="278"/>
                  </a:cubicBezTo>
                  <a:cubicBezTo>
                    <a:pt x="17" y="280"/>
                    <a:pt x="18" y="281"/>
                    <a:pt x="19" y="283"/>
                  </a:cubicBezTo>
                  <a:cubicBezTo>
                    <a:pt x="20" y="284"/>
                    <a:pt x="21" y="285"/>
                    <a:pt x="22" y="286"/>
                  </a:cubicBezTo>
                  <a:cubicBezTo>
                    <a:pt x="22" y="286"/>
                    <a:pt x="22" y="286"/>
                    <a:pt x="22" y="286"/>
                  </a:cubicBezTo>
                  <a:cubicBezTo>
                    <a:pt x="24" y="289"/>
                    <a:pt x="24" y="289"/>
                    <a:pt x="24" y="289"/>
                  </a:cubicBezTo>
                  <a:cubicBezTo>
                    <a:pt x="25" y="287"/>
                    <a:pt x="25" y="287"/>
                    <a:pt x="25" y="287"/>
                  </a:cubicBezTo>
                  <a:cubicBezTo>
                    <a:pt x="27" y="284"/>
                    <a:pt x="29" y="282"/>
                    <a:pt x="29" y="279"/>
                  </a:cubicBezTo>
                  <a:cubicBezTo>
                    <a:pt x="30" y="279"/>
                    <a:pt x="32" y="278"/>
                    <a:pt x="36" y="275"/>
                  </a:cubicBezTo>
                  <a:cubicBezTo>
                    <a:pt x="41" y="272"/>
                    <a:pt x="47" y="268"/>
                    <a:pt x="51" y="268"/>
                  </a:cubicBezTo>
                  <a:cubicBezTo>
                    <a:pt x="51" y="268"/>
                    <a:pt x="52" y="268"/>
                    <a:pt x="52" y="268"/>
                  </a:cubicBezTo>
                  <a:cubicBezTo>
                    <a:pt x="53" y="268"/>
                    <a:pt x="54" y="269"/>
                    <a:pt x="54" y="271"/>
                  </a:cubicBezTo>
                  <a:cubicBezTo>
                    <a:pt x="54" y="272"/>
                    <a:pt x="54" y="272"/>
                    <a:pt x="54" y="272"/>
                  </a:cubicBezTo>
                  <a:cubicBezTo>
                    <a:pt x="55" y="272"/>
                    <a:pt x="55" y="272"/>
                    <a:pt x="55" y="272"/>
                  </a:cubicBezTo>
                  <a:cubicBezTo>
                    <a:pt x="57" y="273"/>
                    <a:pt x="58" y="273"/>
                    <a:pt x="59" y="275"/>
                  </a:cubicBezTo>
                  <a:cubicBezTo>
                    <a:pt x="59" y="276"/>
                    <a:pt x="59" y="276"/>
                    <a:pt x="59" y="276"/>
                  </a:cubicBezTo>
                  <a:cubicBezTo>
                    <a:pt x="60" y="276"/>
                    <a:pt x="60" y="276"/>
                    <a:pt x="60" y="276"/>
                  </a:cubicBezTo>
                  <a:cubicBezTo>
                    <a:pt x="61" y="277"/>
                    <a:pt x="61" y="278"/>
                    <a:pt x="62" y="278"/>
                  </a:cubicBezTo>
                  <a:cubicBezTo>
                    <a:pt x="64" y="279"/>
                    <a:pt x="65" y="280"/>
                    <a:pt x="68" y="280"/>
                  </a:cubicBezTo>
                  <a:cubicBezTo>
                    <a:pt x="68" y="280"/>
                    <a:pt x="68" y="280"/>
                    <a:pt x="68" y="280"/>
                  </a:cubicBezTo>
                  <a:cubicBezTo>
                    <a:pt x="72" y="280"/>
                    <a:pt x="74" y="280"/>
                    <a:pt x="74" y="276"/>
                  </a:cubicBezTo>
                  <a:cubicBezTo>
                    <a:pt x="74" y="275"/>
                    <a:pt x="74" y="273"/>
                    <a:pt x="75" y="271"/>
                  </a:cubicBezTo>
                  <a:cubicBezTo>
                    <a:pt x="76" y="268"/>
                    <a:pt x="78" y="268"/>
                    <a:pt x="78" y="268"/>
                  </a:cubicBezTo>
                  <a:cubicBezTo>
                    <a:pt x="79" y="268"/>
                    <a:pt x="79" y="268"/>
                    <a:pt x="80" y="269"/>
                  </a:cubicBezTo>
                  <a:cubicBezTo>
                    <a:pt x="80" y="269"/>
                    <a:pt x="81" y="269"/>
                    <a:pt x="81" y="269"/>
                  </a:cubicBezTo>
                  <a:cubicBezTo>
                    <a:pt x="82" y="269"/>
                    <a:pt x="82" y="269"/>
                    <a:pt x="83" y="269"/>
                  </a:cubicBezTo>
                  <a:cubicBezTo>
                    <a:pt x="85" y="268"/>
                    <a:pt x="87" y="267"/>
                    <a:pt x="88" y="266"/>
                  </a:cubicBezTo>
                  <a:cubicBezTo>
                    <a:pt x="90" y="266"/>
                    <a:pt x="91" y="265"/>
                    <a:pt x="93" y="264"/>
                  </a:cubicBezTo>
                  <a:cubicBezTo>
                    <a:pt x="96" y="266"/>
                    <a:pt x="96" y="269"/>
                    <a:pt x="95" y="273"/>
                  </a:cubicBezTo>
                  <a:cubicBezTo>
                    <a:pt x="95" y="276"/>
                    <a:pt x="94" y="279"/>
                    <a:pt x="96" y="281"/>
                  </a:cubicBezTo>
                  <a:cubicBezTo>
                    <a:pt x="97" y="283"/>
                    <a:pt x="98" y="284"/>
                    <a:pt x="100" y="284"/>
                  </a:cubicBezTo>
                  <a:cubicBezTo>
                    <a:pt x="102" y="284"/>
                    <a:pt x="104" y="282"/>
                    <a:pt x="106" y="279"/>
                  </a:cubicBezTo>
                  <a:cubicBezTo>
                    <a:pt x="107" y="278"/>
                    <a:pt x="108" y="277"/>
                    <a:pt x="108" y="276"/>
                  </a:cubicBezTo>
                  <a:cubicBezTo>
                    <a:pt x="112" y="272"/>
                    <a:pt x="116" y="268"/>
                    <a:pt x="119" y="265"/>
                  </a:cubicBezTo>
                  <a:cubicBezTo>
                    <a:pt x="120" y="264"/>
                    <a:pt x="122" y="263"/>
                    <a:pt x="123" y="262"/>
                  </a:cubicBezTo>
                  <a:cubicBezTo>
                    <a:pt x="128" y="259"/>
                    <a:pt x="131" y="257"/>
                    <a:pt x="131" y="254"/>
                  </a:cubicBezTo>
                  <a:cubicBezTo>
                    <a:pt x="132" y="253"/>
                    <a:pt x="133" y="253"/>
                    <a:pt x="135" y="252"/>
                  </a:cubicBezTo>
                  <a:cubicBezTo>
                    <a:pt x="137" y="252"/>
                    <a:pt x="139" y="252"/>
                    <a:pt x="140" y="250"/>
                  </a:cubicBezTo>
                  <a:cubicBezTo>
                    <a:pt x="141" y="249"/>
                    <a:pt x="141" y="247"/>
                    <a:pt x="142" y="245"/>
                  </a:cubicBezTo>
                  <a:cubicBezTo>
                    <a:pt x="142" y="243"/>
                    <a:pt x="143" y="241"/>
                    <a:pt x="143" y="240"/>
                  </a:cubicBezTo>
                  <a:cubicBezTo>
                    <a:pt x="147" y="233"/>
                    <a:pt x="147" y="230"/>
                    <a:pt x="147" y="221"/>
                  </a:cubicBezTo>
                  <a:cubicBezTo>
                    <a:pt x="147" y="218"/>
                    <a:pt x="147" y="218"/>
                    <a:pt x="147" y="218"/>
                  </a:cubicBezTo>
                  <a:cubicBezTo>
                    <a:pt x="146" y="209"/>
                    <a:pt x="146" y="200"/>
                    <a:pt x="146" y="193"/>
                  </a:cubicBezTo>
                  <a:cubicBezTo>
                    <a:pt x="146" y="193"/>
                    <a:pt x="146" y="193"/>
                    <a:pt x="146" y="193"/>
                  </a:cubicBezTo>
                  <a:cubicBezTo>
                    <a:pt x="146" y="192"/>
                    <a:pt x="146" y="192"/>
                    <a:pt x="146" y="192"/>
                  </a:cubicBezTo>
                  <a:cubicBezTo>
                    <a:pt x="148" y="192"/>
                    <a:pt x="151" y="189"/>
                    <a:pt x="151" y="189"/>
                  </a:cubicBezTo>
                  <a:cubicBezTo>
                    <a:pt x="156" y="184"/>
                    <a:pt x="160" y="179"/>
                    <a:pt x="164" y="174"/>
                  </a:cubicBezTo>
                  <a:cubicBezTo>
                    <a:pt x="166" y="171"/>
                    <a:pt x="168" y="169"/>
                    <a:pt x="170" y="167"/>
                  </a:cubicBezTo>
                  <a:cubicBezTo>
                    <a:pt x="171" y="165"/>
                    <a:pt x="173" y="163"/>
                    <a:pt x="175" y="161"/>
                  </a:cubicBezTo>
                  <a:cubicBezTo>
                    <a:pt x="173" y="160"/>
                    <a:pt x="173" y="160"/>
                    <a:pt x="173" y="160"/>
                  </a:cubicBezTo>
                  <a:cubicBezTo>
                    <a:pt x="173" y="160"/>
                    <a:pt x="173" y="160"/>
                    <a:pt x="173" y="160"/>
                  </a:cubicBezTo>
                  <a:cubicBezTo>
                    <a:pt x="175" y="161"/>
                    <a:pt x="175" y="161"/>
                    <a:pt x="175" y="161"/>
                  </a:cubicBezTo>
                  <a:cubicBezTo>
                    <a:pt x="177" y="158"/>
                    <a:pt x="180" y="154"/>
                    <a:pt x="182" y="152"/>
                  </a:cubicBezTo>
                  <a:cubicBezTo>
                    <a:pt x="183" y="151"/>
                    <a:pt x="184" y="149"/>
                    <a:pt x="185" y="148"/>
                  </a:cubicBezTo>
                  <a:cubicBezTo>
                    <a:pt x="188" y="146"/>
                    <a:pt x="191" y="143"/>
                    <a:pt x="192" y="140"/>
                  </a:cubicBezTo>
                  <a:cubicBezTo>
                    <a:pt x="194" y="136"/>
                    <a:pt x="193" y="132"/>
                    <a:pt x="192" y="127"/>
                  </a:cubicBezTo>
                  <a:cubicBezTo>
                    <a:pt x="192" y="125"/>
                    <a:pt x="191" y="124"/>
                    <a:pt x="191" y="122"/>
                  </a:cubicBezTo>
                  <a:cubicBezTo>
                    <a:pt x="191" y="116"/>
                    <a:pt x="192" y="110"/>
                    <a:pt x="194" y="104"/>
                  </a:cubicBezTo>
                  <a:cubicBezTo>
                    <a:pt x="194" y="100"/>
                    <a:pt x="195" y="97"/>
                    <a:pt x="195" y="94"/>
                  </a:cubicBezTo>
                  <a:cubicBezTo>
                    <a:pt x="196" y="88"/>
                    <a:pt x="197" y="83"/>
                    <a:pt x="199" y="77"/>
                  </a:cubicBezTo>
                  <a:cubicBezTo>
                    <a:pt x="201" y="70"/>
                    <a:pt x="202" y="62"/>
                    <a:pt x="203" y="53"/>
                  </a:cubicBezTo>
                  <a:cubicBezTo>
                    <a:pt x="203" y="46"/>
                    <a:pt x="205" y="41"/>
                    <a:pt x="208" y="35"/>
                  </a:cubicBezTo>
                  <a:cubicBezTo>
                    <a:pt x="209" y="34"/>
                    <a:pt x="210" y="32"/>
                    <a:pt x="210" y="31"/>
                  </a:cubicBezTo>
                  <a:cubicBezTo>
                    <a:pt x="213" y="25"/>
                    <a:pt x="218" y="14"/>
                    <a:pt x="215" y="6"/>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62" name="Freeform 62">
              <a:extLst>
                <a:ext uri="{FF2B5EF4-FFF2-40B4-BE49-F238E27FC236}">
                  <a16:creationId xmlns:a16="http://schemas.microsoft.com/office/drawing/2014/main" id="{C7748BD8-3D2B-43D8-9C1C-5FCBFCB932C1}"/>
                </a:ext>
              </a:extLst>
            </p:cNvPr>
            <p:cNvSpPr>
              <a:spLocks/>
            </p:cNvSpPr>
            <p:nvPr/>
          </p:nvSpPr>
          <p:spPr bwMode="auto">
            <a:xfrm>
              <a:off x="2132820" y="1668986"/>
              <a:ext cx="697514" cy="593808"/>
            </a:xfrm>
            <a:custGeom>
              <a:avLst/>
              <a:gdLst>
                <a:gd name="T0" fmla="*/ 330 w 345"/>
                <a:gd name="T1" fmla="*/ 40 h 319"/>
                <a:gd name="T2" fmla="*/ 327 w 345"/>
                <a:gd name="T3" fmla="*/ 27 h 319"/>
                <a:gd name="T4" fmla="*/ 317 w 345"/>
                <a:gd name="T5" fmla="*/ 12 h 319"/>
                <a:gd name="T6" fmla="*/ 294 w 345"/>
                <a:gd name="T7" fmla="*/ 14 h 319"/>
                <a:gd name="T8" fmla="*/ 275 w 345"/>
                <a:gd name="T9" fmla="*/ 27 h 319"/>
                <a:gd name="T10" fmla="*/ 248 w 345"/>
                <a:gd name="T11" fmla="*/ 18 h 319"/>
                <a:gd name="T12" fmla="*/ 200 w 345"/>
                <a:gd name="T13" fmla="*/ 34 h 319"/>
                <a:gd name="T14" fmla="*/ 190 w 345"/>
                <a:gd name="T15" fmla="*/ 34 h 319"/>
                <a:gd name="T16" fmla="*/ 164 w 345"/>
                <a:gd name="T17" fmla="*/ 27 h 319"/>
                <a:gd name="T18" fmla="*/ 135 w 345"/>
                <a:gd name="T19" fmla="*/ 24 h 319"/>
                <a:gd name="T20" fmla="*/ 103 w 345"/>
                <a:gd name="T21" fmla="*/ 7 h 319"/>
                <a:gd name="T22" fmla="*/ 94 w 345"/>
                <a:gd name="T23" fmla="*/ 6 h 319"/>
                <a:gd name="T24" fmla="*/ 74 w 345"/>
                <a:gd name="T25" fmla="*/ 3 h 319"/>
                <a:gd name="T26" fmla="*/ 50 w 345"/>
                <a:gd name="T27" fmla="*/ 7 h 319"/>
                <a:gd name="T28" fmla="*/ 40 w 345"/>
                <a:gd name="T29" fmla="*/ 24 h 319"/>
                <a:gd name="T30" fmla="*/ 28 w 345"/>
                <a:gd name="T31" fmla="*/ 43 h 319"/>
                <a:gd name="T32" fmla="*/ 26 w 345"/>
                <a:gd name="T33" fmla="*/ 72 h 319"/>
                <a:gd name="T34" fmla="*/ 26 w 345"/>
                <a:gd name="T35" fmla="*/ 88 h 319"/>
                <a:gd name="T36" fmla="*/ 31 w 345"/>
                <a:gd name="T37" fmla="*/ 104 h 319"/>
                <a:gd name="T38" fmla="*/ 26 w 345"/>
                <a:gd name="T39" fmla="*/ 119 h 319"/>
                <a:gd name="T40" fmla="*/ 27 w 345"/>
                <a:gd name="T41" fmla="*/ 126 h 319"/>
                <a:gd name="T42" fmla="*/ 21 w 345"/>
                <a:gd name="T43" fmla="*/ 133 h 319"/>
                <a:gd name="T44" fmla="*/ 7 w 345"/>
                <a:gd name="T45" fmla="*/ 158 h 319"/>
                <a:gd name="T46" fmla="*/ 1 w 345"/>
                <a:gd name="T47" fmla="*/ 175 h 319"/>
                <a:gd name="T48" fmla="*/ 1 w 345"/>
                <a:gd name="T49" fmla="*/ 246 h 319"/>
                <a:gd name="T50" fmla="*/ 15 w 345"/>
                <a:gd name="T51" fmla="*/ 248 h 319"/>
                <a:gd name="T52" fmla="*/ 22 w 345"/>
                <a:gd name="T53" fmla="*/ 245 h 319"/>
                <a:gd name="T54" fmla="*/ 38 w 345"/>
                <a:gd name="T55" fmla="*/ 248 h 319"/>
                <a:gd name="T56" fmla="*/ 66 w 345"/>
                <a:gd name="T57" fmla="*/ 270 h 319"/>
                <a:gd name="T58" fmla="*/ 74 w 345"/>
                <a:gd name="T59" fmla="*/ 281 h 319"/>
                <a:gd name="T60" fmla="*/ 88 w 345"/>
                <a:gd name="T61" fmla="*/ 313 h 319"/>
                <a:gd name="T62" fmla="*/ 103 w 345"/>
                <a:gd name="T63" fmla="*/ 317 h 319"/>
                <a:gd name="T64" fmla="*/ 112 w 345"/>
                <a:gd name="T65" fmla="*/ 316 h 319"/>
                <a:gd name="T66" fmla="*/ 129 w 345"/>
                <a:gd name="T67" fmla="*/ 310 h 319"/>
                <a:gd name="T68" fmla="*/ 137 w 345"/>
                <a:gd name="T69" fmla="*/ 309 h 319"/>
                <a:gd name="T70" fmla="*/ 149 w 345"/>
                <a:gd name="T71" fmla="*/ 310 h 319"/>
                <a:gd name="T72" fmla="*/ 163 w 345"/>
                <a:gd name="T73" fmla="*/ 308 h 319"/>
                <a:gd name="T74" fmla="*/ 173 w 345"/>
                <a:gd name="T75" fmla="*/ 295 h 319"/>
                <a:gd name="T76" fmla="*/ 178 w 345"/>
                <a:gd name="T77" fmla="*/ 278 h 319"/>
                <a:gd name="T78" fmla="*/ 182 w 345"/>
                <a:gd name="T79" fmla="*/ 264 h 319"/>
                <a:gd name="T80" fmla="*/ 204 w 345"/>
                <a:gd name="T81" fmla="*/ 244 h 319"/>
                <a:gd name="T82" fmla="*/ 207 w 345"/>
                <a:gd name="T83" fmla="*/ 235 h 319"/>
                <a:gd name="T84" fmla="*/ 212 w 345"/>
                <a:gd name="T85" fmla="*/ 229 h 319"/>
                <a:gd name="T86" fmla="*/ 217 w 345"/>
                <a:gd name="T87" fmla="*/ 230 h 319"/>
                <a:gd name="T88" fmla="*/ 228 w 345"/>
                <a:gd name="T89" fmla="*/ 225 h 319"/>
                <a:gd name="T90" fmla="*/ 240 w 345"/>
                <a:gd name="T91" fmla="*/ 235 h 319"/>
                <a:gd name="T92" fmla="*/ 246 w 345"/>
                <a:gd name="T93" fmla="*/ 246 h 319"/>
                <a:gd name="T94" fmla="*/ 263 w 345"/>
                <a:gd name="T95" fmla="*/ 228 h 319"/>
                <a:gd name="T96" fmla="*/ 270 w 345"/>
                <a:gd name="T97" fmla="*/ 206 h 319"/>
                <a:gd name="T98" fmla="*/ 276 w 345"/>
                <a:gd name="T99" fmla="*/ 186 h 319"/>
                <a:gd name="T100" fmla="*/ 295 w 345"/>
                <a:gd name="T101" fmla="*/ 152 h 319"/>
                <a:gd name="T102" fmla="*/ 305 w 345"/>
                <a:gd name="T103" fmla="*/ 131 h 319"/>
                <a:gd name="T104" fmla="*/ 315 w 345"/>
                <a:gd name="T105" fmla="*/ 104 h 319"/>
                <a:gd name="T106" fmla="*/ 340 w 345"/>
                <a:gd name="T107" fmla="*/ 8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19">
                  <a:moveTo>
                    <a:pt x="343" y="55"/>
                  </a:moveTo>
                  <a:cubicBezTo>
                    <a:pt x="342" y="53"/>
                    <a:pt x="339" y="52"/>
                    <a:pt x="337" y="52"/>
                  </a:cubicBezTo>
                  <a:cubicBezTo>
                    <a:pt x="334" y="51"/>
                    <a:pt x="332" y="50"/>
                    <a:pt x="331" y="48"/>
                  </a:cubicBezTo>
                  <a:cubicBezTo>
                    <a:pt x="330" y="47"/>
                    <a:pt x="330" y="46"/>
                    <a:pt x="330" y="44"/>
                  </a:cubicBezTo>
                  <a:cubicBezTo>
                    <a:pt x="330" y="43"/>
                    <a:pt x="330" y="41"/>
                    <a:pt x="330" y="40"/>
                  </a:cubicBezTo>
                  <a:cubicBezTo>
                    <a:pt x="330" y="39"/>
                    <a:pt x="329" y="37"/>
                    <a:pt x="329" y="35"/>
                  </a:cubicBezTo>
                  <a:cubicBezTo>
                    <a:pt x="329" y="33"/>
                    <a:pt x="328" y="30"/>
                    <a:pt x="327" y="28"/>
                  </a:cubicBezTo>
                  <a:cubicBezTo>
                    <a:pt x="327" y="28"/>
                    <a:pt x="327" y="28"/>
                    <a:pt x="327" y="28"/>
                  </a:cubicBezTo>
                  <a:cubicBezTo>
                    <a:pt x="327" y="27"/>
                    <a:pt x="327" y="27"/>
                    <a:pt x="327" y="27"/>
                  </a:cubicBezTo>
                  <a:cubicBezTo>
                    <a:pt x="327" y="27"/>
                    <a:pt x="327" y="27"/>
                    <a:pt x="327" y="27"/>
                  </a:cubicBezTo>
                  <a:cubicBezTo>
                    <a:pt x="327" y="27"/>
                    <a:pt x="327" y="27"/>
                    <a:pt x="327" y="27"/>
                  </a:cubicBezTo>
                  <a:cubicBezTo>
                    <a:pt x="326" y="23"/>
                    <a:pt x="324" y="21"/>
                    <a:pt x="321" y="17"/>
                  </a:cubicBezTo>
                  <a:cubicBezTo>
                    <a:pt x="320" y="17"/>
                    <a:pt x="320" y="16"/>
                    <a:pt x="319" y="15"/>
                  </a:cubicBezTo>
                  <a:cubicBezTo>
                    <a:pt x="319" y="14"/>
                    <a:pt x="318" y="13"/>
                    <a:pt x="318" y="13"/>
                  </a:cubicBezTo>
                  <a:cubicBezTo>
                    <a:pt x="317" y="12"/>
                    <a:pt x="317" y="12"/>
                    <a:pt x="317" y="12"/>
                  </a:cubicBezTo>
                  <a:cubicBezTo>
                    <a:pt x="315" y="9"/>
                    <a:pt x="313" y="6"/>
                    <a:pt x="310" y="6"/>
                  </a:cubicBezTo>
                  <a:cubicBezTo>
                    <a:pt x="308" y="6"/>
                    <a:pt x="306" y="7"/>
                    <a:pt x="304" y="8"/>
                  </a:cubicBezTo>
                  <a:cubicBezTo>
                    <a:pt x="303" y="8"/>
                    <a:pt x="301" y="9"/>
                    <a:pt x="300" y="10"/>
                  </a:cubicBezTo>
                  <a:cubicBezTo>
                    <a:pt x="299" y="11"/>
                    <a:pt x="298" y="12"/>
                    <a:pt x="297" y="13"/>
                  </a:cubicBezTo>
                  <a:cubicBezTo>
                    <a:pt x="296" y="13"/>
                    <a:pt x="295" y="14"/>
                    <a:pt x="294" y="14"/>
                  </a:cubicBezTo>
                  <a:cubicBezTo>
                    <a:pt x="292" y="14"/>
                    <a:pt x="291" y="15"/>
                    <a:pt x="289" y="16"/>
                  </a:cubicBezTo>
                  <a:cubicBezTo>
                    <a:pt x="287" y="18"/>
                    <a:pt x="286" y="20"/>
                    <a:pt x="285" y="22"/>
                  </a:cubicBezTo>
                  <a:cubicBezTo>
                    <a:pt x="285" y="23"/>
                    <a:pt x="284" y="24"/>
                    <a:pt x="283" y="25"/>
                  </a:cubicBezTo>
                  <a:cubicBezTo>
                    <a:pt x="282" y="27"/>
                    <a:pt x="280" y="27"/>
                    <a:pt x="277" y="27"/>
                  </a:cubicBezTo>
                  <a:cubicBezTo>
                    <a:pt x="276" y="27"/>
                    <a:pt x="275" y="27"/>
                    <a:pt x="275" y="27"/>
                  </a:cubicBezTo>
                  <a:cubicBezTo>
                    <a:pt x="272" y="27"/>
                    <a:pt x="270" y="26"/>
                    <a:pt x="268" y="24"/>
                  </a:cubicBezTo>
                  <a:cubicBezTo>
                    <a:pt x="267" y="23"/>
                    <a:pt x="266" y="23"/>
                    <a:pt x="265" y="22"/>
                  </a:cubicBezTo>
                  <a:cubicBezTo>
                    <a:pt x="262" y="20"/>
                    <a:pt x="258" y="20"/>
                    <a:pt x="255" y="19"/>
                  </a:cubicBezTo>
                  <a:cubicBezTo>
                    <a:pt x="254" y="19"/>
                    <a:pt x="253" y="19"/>
                    <a:pt x="251" y="18"/>
                  </a:cubicBezTo>
                  <a:cubicBezTo>
                    <a:pt x="250" y="18"/>
                    <a:pt x="249" y="18"/>
                    <a:pt x="248" y="18"/>
                  </a:cubicBezTo>
                  <a:cubicBezTo>
                    <a:pt x="245" y="17"/>
                    <a:pt x="241" y="16"/>
                    <a:pt x="237" y="16"/>
                  </a:cubicBezTo>
                  <a:cubicBezTo>
                    <a:pt x="237" y="16"/>
                    <a:pt x="237" y="16"/>
                    <a:pt x="237" y="16"/>
                  </a:cubicBezTo>
                  <a:cubicBezTo>
                    <a:pt x="224" y="16"/>
                    <a:pt x="215" y="22"/>
                    <a:pt x="208" y="26"/>
                  </a:cubicBezTo>
                  <a:cubicBezTo>
                    <a:pt x="206" y="28"/>
                    <a:pt x="205" y="29"/>
                    <a:pt x="203" y="31"/>
                  </a:cubicBezTo>
                  <a:cubicBezTo>
                    <a:pt x="202" y="32"/>
                    <a:pt x="201" y="33"/>
                    <a:pt x="200" y="34"/>
                  </a:cubicBezTo>
                  <a:cubicBezTo>
                    <a:pt x="199" y="34"/>
                    <a:pt x="199" y="34"/>
                    <a:pt x="199" y="34"/>
                  </a:cubicBezTo>
                  <a:cubicBezTo>
                    <a:pt x="198" y="35"/>
                    <a:pt x="198" y="35"/>
                    <a:pt x="198" y="35"/>
                  </a:cubicBezTo>
                  <a:cubicBezTo>
                    <a:pt x="198" y="35"/>
                    <a:pt x="197" y="35"/>
                    <a:pt x="196" y="35"/>
                  </a:cubicBezTo>
                  <a:cubicBezTo>
                    <a:pt x="195" y="35"/>
                    <a:pt x="194" y="34"/>
                    <a:pt x="194" y="34"/>
                  </a:cubicBezTo>
                  <a:cubicBezTo>
                    <a:pt x="193" y="34"/>
                    <a:pt x="191" y="34"/>
                    <a:pt x="190" y="34"/>
                  </a:cubicBezTo>
                  <a:cubicBezTo>
                    <a:pt x="190" y="34"/>
                    <a:pt x="190" y="34"/>
                    <a:pt x="189" y="34"/>
                  </a:cubicBezTo>
                  <a:cubicBezTo>
                    <a:pt x="188" y="34"/>
                    <a:pt x="187" y="34"/>
                    <a:pt x="186" y="34"/>
                  </a:cubicBezTo>
                  <a:cubicBezTo>
                    <a:pt x="184" y="34"/>
                    <a:pt x="182" y="34"/>
                    <a:pt x="181" y="34"/>
                  </a:cubicBezTo>
                  <a:cubicBezTo>
                    <a:pt x="180" y="34"/>
                    <a:pt x="180" y="34"/>
                    <a:pt x="180" y="34"/>
                  </a:cubicBezTo>
                  <a:cubicBezTo>
                    <a:pt x="175" y="34"/>
                    <a:pt x="168" y="30"/>
                    <a:pt x="164" y="27"/>
                  </a:cubicBezTo>
                  <a:cubicBezTo>
                    <a:pt x="163" y="26"/>
                    <a:pt x="163" y="26"/>
                    <a:pt x="163" y="26"/>
                  </a:cubicBezTo>
                  <a:cubicBezTo>
                    <a:pt x="160" y="23"/>
                    <a:pt x="156" y="20"/>
                    <a:pt x="152" y="19"/>
                  </a:cubicBezTo>
                  <a:cubicBezTo>
                    <a:pt x="150" y="18"/>
                    <a:pt x="149" y="18"/>
                    <a:pt x="148" y="18"/>
                  </a:cubicBezTo>
                  <a:cubicBezTo>
                    <a:pt x="144" y="18"/>
                    <a:pt x="142" y="20"/>
                    <a:pt x="138" y="22"/>
                  </a:cubicBezTo>
                  <a:cubicBezTo>
                    <a:pt x="137" y="22"/>
                    <a:pt x="136" y="23"/>
                    <a:pt x="135" y="24"/>
                  </a:cubicBezTo>
                  <a:cubicBezTo>
                    <a:pt x="132" y="25"/>
                    <a:pt x="129" y="27"/>
                    <a:pt x="125" y="28"/>
                  </a:cubicBezTo>
                  <a:cubicBezTo>
                    <a:pt x="125" y="29"/>
                    <a:pt x="124" y="29"/>
                    <a:pt x="123" y="29"/>
                  </a:cubicBezTo>
                  <a:cubicBezTo>
                    <a:pt x="119" y="29"/>
                    <a:pt x="117" y="23"/>
                    <a:pt x="115" y="20"/>
                  </a:cubicBezTo>
                  <a:cubicBezTo>
                    <a:pt x="114" y="18"/>
                    <a:pt x="113" y="16"/>
                    <a:pt x="112" y="14"/>
                  </a:cubicBezTo>
                  <a:cubicBezTo>
                    <a:pt x="109" y="11"/>
                    <a:pt x="106" y="8"/>
                    <a:pt x="103" y="7"/>
                  </a:cubicBezTo>
                  <a:cubicBezTo>
                    <a:pt x="103" y="7"/>
                    <a:pt x="102" y="7"/>
                    <a:pt x="102" y="7"/>
                  </a:cubicBezTo>
                  <a:cubicBezTo>
                    <a:pt x="101" y="7"/>
                    <a:pt x="100" y="7"/>
                    <a:pt x="100" y="7"/>
                  </a:cubicBezTo>
                  <a:cubicBezTo>
                    <a:pt x="99" y="7"/>
                    <a:pt x="98" y="7"/>
                    <a:pt x="98" y="7"/>
                  </a:cubicBezTo>
                  <a:cubicBezTo>
                    <a:pt x="97" y="7"/>
                    <a:pt x="97" y="7"/>
                    <a:pt x="97" y="7"/>
                  </a:cubicBezTo>
                  <a:cubicBezTo>
                    <a:pt x="96" y="7"/>
                    <a:pt x="95" y="6"/>
                    <a:pt x="94" y="6"/>
                  </a:cubicBezTo>
                  <a:cubicBezTo>
                    <a:pt x="93" y="5"/>
                    <a:pt x="93" y="5"/>
                    <a:pt x="93" y="5"/>
                  </a:cubicBezTo>
                  <a:cubicBezTo>
                    <a:pt x="90" y="3"/>
                    <a:pt x="87" y="2"/>
                    <a:pt x="83" y="1"/>
                  </a:cubicBezTo>
                  <a:cubicBezTo>
                    <a:pt x="81" y="0"/>
                    <a:pt x="81" y="0"/>
                    <a:pt x="81" y="0"/>
                  </a:cubicBezTo>
                  <a:cubicBezTo>
                    <a:pt x="80" y="0"/>
                    <a:pt x="80" y="0"/>
                    <a:pt x="79" y="0"/>
                  </a:cubicBezTo>
                  <a:cubicBezTo>
                    <a:pt x="77" y="0"/>
                    <a:pt x="76" y="1"/>
                    <a:pt x="74" y="3"/>
                  </a:cubicBezTo>
                  <a:cubicBezTo>
                    <a:pt x="72" y="4"/>
                    <a:pt x="71" y="5"/>
                    <a:pt x="69" y="5"/>
                  </a:cubicBezTo>
                  <a:cubicBezTo>
                    <a:pt x="68" y="5"/>
                    <a:pt x="67" y="5"/>
                    <a:pt x="66" y="5"/>
                  </a:cubicBezTo>
                  <a:cubicBezTo>
                    <a:pt x="65" y="5"/>
                    <a:pt x="63" y="5"/>
                    <a:pt x="62" y="5"/>
                  </a:cubicBezTo>
                  <a:cubicBezTo>
                    <a:pt x="60" y="5"/>
                    <a:pt x="59" y="5"/>
                    <a:pt x="57" y="5"/>
                  </a:cubicBezTo>
                  <a:cubicBezTo>
                    <a:pt x="54" y="5"/>
                    <a:pt x="52" y="5"/>
                    <a:pt x="50" y="7"/>
                  </a:cubicBezTo>
                  <a:cubicBezTo>
                    <a:pt x="49" y="7"/>
                    <a:pt x="48" y="8"/>
                    <a:pt x="47" y="8"/>
                  </a:cubicBezTo>
                  <a:cubicBezTo>
                    <a:pt x="45" y="9"/>
                    <a:pt x="43" y="11"/>
                    <a:pt x="41" y="12"/>
                  </a:cubicBezTo>
                  <a:cubicBezTo>
                    <a:pt x="40" y="14"/>
                    <a:pt x="40" y="17"/>
                    <a:pt x="40" y="20"/>
                  </a:cubicBezTo>
                  <a:cubicBezTo>
                    <a:pt x="40" y="20"/>
                    <a:pt x="40" y="21"/>
                    <a:pt x="40" y="22"/>
                  </a:cubicBezTo>
                  <a:cubicBezTo>
                    <a:pt x="40" y="22"/>
                    <a:pt x="40" y="23"/>
                    <a:pt x="40" y="24"/>
                  </a:cubicBezTo>
                  <a:cubicBezTo>
                    <a:pt x="40" y="26"/>
                    <a:pt x="40" y="28"/>
                    <a:pt x="39" y="30"/>
                  </a:cubicBezTo>
                  <a:cubicBezTo>
                    <a:pt x="38" y="32"/>
                    <a:pt x="37" y="34"/>
                    <a:pt x="36" y="35"/>
                  </a:cubicBezTo>
                  <a:cubicBezTo>
                    <a:pt x="35" y="36"/>
                    <a:pt x="35" y="37"/>
                    <a:pt x="34" y="37"/>
                  </a:cubicBezTo>
                  <a:cubicBezTo>
                    <a:pt x="33" y="39"/>
                    <a:pt x="32" y="40"/>
                    <a:pt x="31" y="41"/>
                  </a:cubicBezTo>
                  <a:cubicBezTo>
                    <a:pt x="30" y="41"/>
                    <a:pt x="29" y="42"/>
                    <a:pt x="28" y="43"/>
                  </a:cubicBezTo>
                  <a:cubicBezTo>
                    <a:pt x="26" y="45"/>
                    <a:pt x="25" y="48"/>
                    <a:pt x="26" y="52"/>
                  </a:cubicBezTo>
                  <a:cubicBezTo>
                    <a:pt x="26" y="53"/>
                    <a:pt x="26" y="55"/>
                    <a:pt x="27" y="56"/>
                  </a:cubicBezTo>
                  <a:cubicBezTo>
                    <a:pt x="28" y="61"/>
                    <a:pt x="29" y="66"/>
                    <a:pt x="26" y="71"/>
                  </a:cubicBezTo>
                  <a:cubicBezTo>
                    <a:pt x="26" y="71"/>
                    <a:pt x="26" y="71"/>
                    <a:pt x="26" y="71"/>
                  </a:cubicBezTo>
                  <a:cubicBezTo>
                    <a:pt x="26" y="72"/>
                    <a:pt x="26" y="72"/>
                    <a:pt x="26" y="72"/>
                  </a:cubicBezTo>
                  <a:cubicBezTo>
                    <a:pt x="26" y="73"/>
                    <a:pt x="26" y="73"/>
                    <a:pt x="26" y="73"/>
                  </a:cubicBezTo>
                  <a:cubicBezTo>
                    <a:pt x="25" y="74"/>
                    <a:pt x="25" y="75"/>
                    <a:pt x="24" y="76"/>
                  </a:cubicBezTo>
                  <a:cubicBezTo>
                    <a:pt x="23" y="78"/>
                    <a:pt x="22" y="79"/>
                    <a:pt x="22" y="80"/>
                  </a:cubicBezTo>
                  <a:cubicBezTo>
                    <a:pt x="22" y="83"/>
                    <a:pt x="24" y="85"/>
                    <a:pt x="26" y="87"/>
                  </a:cubicBezTo>
                  <a:cubicBezTo>
                    <a:pt x="26" y="88"/>
                    <a:pt x="26" y="88"/>
                    <a:pt x="26" y="88"/>
                  </a:cubicBezTo>
                  <a:cubicBezTo>
                    <a:pt x="28" y="90"/>
                    <a:pt x="29" y="92"/>
                    <a:pt x="30" y="96"/>
                  </a:cubicBezTo>
                  <a:cubicBezTo>
                    <a:pt x="30" y="97"/>
                    <a:pt x="30" y="98"/>
                    <a:pt x="30" y="99"/>
                  </a:cubicBezTo>
                  <a:cubicBezTo>
                    <a:pt x="30" y="99"/>
                    <a:pt x="30" y="100"/>
                    <a:pt x="30" y="101"/>
                  </a:cubicBezTo>
                  <a:cubicBezTo>
                    <a:pt x="30" y="102"/>
                    <a:pt x="30" y="103"/>
                    <a:pt x="30" y="103"/>
                  </a:cubicBezTo>
                  <a:cubicBezTo>
                    <a:pt x="31" y="104"/>
                    <a:pt x="31" y="104"/>
                    <a:pt x="31" y="104"/>
                  </a:cubicBezTo>
                  <a:cubicBezTo>
                    <a:pt x="31" y="104"/>
                    <a:pt x="31" y="104"/>
                    <a:pt x="31" y="104"/>
                  </a:cubicBezTo>
                  <a:cubicBezTo>
                    <a:pt x="32" y="104"/>
                    <a:pt x="32" y="104"/>
                    <a:pt x="32" y="105"/>
                  </a:cubicBezTo>
                  <a:cubicBezTo>
                    <a:pt x="33" y="106"/>
                    <a:pt x="33" y="108"/>
                    <a:pt x="32" y="110"/>
                  </a:cubicBezTo>
                  <a:cubicBezTo>
                    <a:pt x="32" y="112"/>
                    <a:pt x="30" y="113"/>
                    <a:pt x="29" y="114"/>
                  </a:cubicBezTo>
                  <a:cubicBezTo>
                    <a:pt x="26" y="115"/>
                    <a:pt x="26" y="116"/>
                    <a:pt x="26" y="119"/>
                  </a:cubicBezTo>
                  <a:cubicBezTo>
                    <a:pt x="26" y="120"/>
                    <a:pt x="26" y="120"/>
                    <a:pt x="26" y="120"/>
                  </a:cubicBezTo>
                  <a:cubicBezTo>
                    <a:pt x="26" y="121"/>
                    <a:pt x="26" y="121"/>
                    <a:pt x="26" y="121"/>
                  </a:cubicBezTo>
                  <a:cubicBezTo>
                    <a:pt x="27" y="123"/>
                    <a:pt x="27" y="123"/>
                    <a:pt x="27" y="123"/>
                  </a:cubicBezTo>
                  <a:cubicBezTo>
                    <a:pt x="28" y="123"/>
                    <a:pt x="28" y="124"/>
                    <a:pt x="28" y="124"/>
                  </a:cubicBezTo>
                  <a:cubicBezTo>
                    <a:pt x="28" y="125"/>
                    <a:pt x="27" y="125"/>
                    <a:pt x="27" y="126"/>
                  </a:cubicBezTo>
                  <a:cubicBezTo>
                    <a:pt x="27" y="126"/>
                    <a:pt x="26" y="126"/>
                    <a:pt x="26" y="127"/>
                  </a:cubicBezTo>
                  <a:cubicBezTo>
                    <a:pt x="26" y="127"/>
                    <a:pt x="26" y="128"/>
                    <a:pt x="25" y="129"/>
                  </a:cubicBezTo>
                  <a:cubicBezTo>
                    <a:pt x="25" y="129"/>
                    <a:pt x="25" y="130"/>
                    <a:pt x="25" y="130"/>
                  </a:cubicBezTo>
                  <a:cubicBezTo>
                    <a:pt x="24" y="132"/>
                    <a:pt x="23" y="132"/>
                    <a:pt x="22" y="133"/>
                  </a:cubicBezTo>
                  <a:cubicBezTo>
                    <a:pt x="22" y="133"/>
                    <a:pt x="21" y="133"/>
                    <a:pt x="21" y="133"/>
                  </a:cubicBezTo>
                  <a:cubicBezTo>
                    <a:pt x="19" y="135"/>
                    <a:pt x="17" y="137"/>
                    <a:pt x="16" y="140"/>
                  </a:cubicBezTo>
                  <a:cubicBezTo>
                    <a:pt x="15" y="141"/>
                    <a:pt x="14" y="142"/>
                    <a:pt x="14" y="143"/>
                  </a:cubicBezTo>
                  <a:cubicBezTo>
                    <a:pt x="13" y="145"/>
                    <a:pt x="12" y="147"/>
                    <a:pt x="12" y="149"/>
                  </a:cubicBezTo>
                  <a:cubicBezTo>
                    <a:pt x="13" y="154"/>
                    <a:pt x="13" y="157"/>
                    <a:pt x="9" y="158"/>
                  </a:cubicBezTo>
                  <a:cubicBezTo>
                    <a:pt x="8" y="158"/>
                    <a:pt x="8" y="158"/>
                    <a:pt x="7" y="158"/>
                  </a:cubicBezTo>
                  <a:cubicBezTo>
                    <a:pt x="5" y="158"/>
                    <a:pt x="2" y="159"/>
                    <a:pt x="1" y="161"/>
                  </a:cubicBezTo>
                  <a:cubicBezTo>
                    <a:pt x="1" y="162"/>
                    <a:pt x="1" y="164"/>
                    <a:pt x="1" y="165"/>
                  </a:cubicBezTo>
                  <a:cubicBezTo>
                    <a:pt x="1" y="166"/>
                    <a:pt x="1" y="167"/>
                    <a:pt x="1" y="168"/>
                  </a:cubicBezTo>
                  <a:cubicBezTo>
                    <a:pt x="1" y="169"/>
                    <a:pt x="1" y="169"/>
                    <a:pt x="1" y="169"/>
                  </a:cubicBezTo>
                  <a:cubicBezTo>
                    <a:pt x="1" y="171"/>
                    <a:pt x="1" y="173"/>
                    <a:pt x="1" y="175"/>
                  </a:cubicBezTo>
                  <a:cubicBezTo>
                    <a:pt x="1" y="180"/>
                    <a:pt x="1" y="184"/>
                    <a:pt x="0" y="189"/>
                  </a:cubicBezTo>
                  <a:cubicBezTo>
                    <a:pt x="0" y="196"/>
                    <a:pt x="0" y="202"/>
                    <a:pt x="1" y="209"/>
                  </a:cubicBezTo>
                  <a:cubicBezTo>
                    <a:pt x="1" y="213"/>
                    <a:pt x="1" y="217"/>
                    <a:pt x="1" y="221"/>
                  </a:cubicBezTo>
                  <a:cubicBezTo>
                    <a:pt x="1" y="224"/>
                    <a:pt x="1" y="227"/>
                    <a:pt x="1" y="230"/>
                  </a:cubicBezTo>
                  <a:cubicBezTo>
                    <a:pt x="1" y="236"/>
                    <a:pt x="1" y="241"/>
                    <a:pt x="1" y="246"/>
                  </a:cubicBezTo>
                  <a:cubicBezTo>
                    <a:pt x="1" y="248"/>
                    <a:pt x="1" y="248"/>
                    <a:pt x="1" y="248"/>
                  </a:cubicBezTo>
                  <a:cubicBezTo>
                    <a:pt x="3" y="248"/>
                    <a:pt x="3" y="248"/>
                    <a:pt x="3" y="248"/>
                  </a:cubicBezTo>
                  <a:cubicBezTo>
                    <a:pt x="4" y="248"/>
                    <a:pt x="6" y="248"/>
                    <a:pt x="7" y="248"/>
                  </a:cubicBezTo>
                  <a:cubicBezTo>
                    <a:pt x="9" y="248"/>
                    <a:pt x="11" y="248"/>
                    <a:pt x="13" y="248"/>
                  </a:cubicBezTo>
                  <a:cubicBezTo>
                    <a:pt x="14" y="248"/>
                    <a:pt x="14" y="248"/>
                    <a:pt x="15" y="248"/>
                  </a:cubicBezTo>
                  <a:cubicBezTo>
                    <a:pt x="16" y="248"/>
                    <a:pt x="17" y="248"/>
                    <a:pt x="18" y="247"/>
                  </a:cubicBezTo>
                  <a:cubicBezTo>
                    <a:pt x="19" y="247"/>
                    <a:pt x="20" y="245"/>
                    <a:pt x="21" y="245"/>
                  </a:cubicBezTo>
                  <a:cubicBezTo>
                    <a:pt x="21" y="244"/>
                    <a:pt x="21" y="244"/>
                    <a:pt x="21" y="244"/>
                  </a:cubicBezTo>
                  <a:cubicBezTo>
                    <a:pt x="22" y="244"/>
                    <a:pt x="22" y="243"/>
                    <a:pt x="23" y="243"/>
                  </a:cubicBezTo>
                  <a:cubicBezTo>
                    <a:pt x="23" y="244"/>
                    <a:pt x="22" y="244"/>
                    <a:pt x="22" y="245"/>
                  </a:cubicBezTo>
                  <a:cubicBezTo>
                    <a:pt x="21" y="247"/>
                    <a:pt x="21" y="247"/>
                    <a:pt x="21" y="247"/>
                  </a:cubicBezTo>
                  <a:cubicBezTo>
                    <a:pt x="24" y="247"/>
                    <a:pt x="24" y="247"/>
                    <a:pt x="24" y="247"/>
                  </a:cubicBezTo>
                  <a:cubicBezTo>
                    <a:pt x="25" y="247"/>
                    <a:pt x="27" y="248"/>
                    <a:pt x="28" y="248"/>
                  </a:cubicBezTo>
                  <a:cubicBezTo>
                    <a:pt x="30" y="248"/>
                    <a:pt x="33" y="249"/>
                    <a:pt x="35" y="249"/>
                  </a:cubicBezTo>
                  <a:cubicBezTo>
                    <a:pt x="36" y="249"/>
                    <a:pt x="37" y="248"/>
                    <a:pt x="38" y="248"/>
                  </a:cubicBezTo>
                  <a:cubicBezTo>
                    <a:pt x="39" y="248"/>
                    <a:pt x="39" y="248"/>
                    <a:pt x="40" y="248"/>
                  </a:cubicBezTo>
                  <a:cubicBezTo>
                    <a:pt x="43" y="248"/>
                    <a:pt x="47" y="249"/>
                    <a:pt x="50" y="251"/>
                  </a:cubicBezTo>
                  <a:cubicBezTo>
                    <a:pt x="55" y="254"/>
                    <a:pt x="61" y="259"/>
                    <a:pt x="64" y="264"/>
                  </a:cubicBezTo>
                  <a:cubicBezTo>
                    <a:pt x="64" y="265"/>
                    <a:pt x="64" y="266"/>
                    <a:pt x="64" y="266"/>
                  </a:cubicBezTo>
                  <a:cubicBezTo>
                    <a:pt x="65" y="267"/>
                    <a:pt x="65" y="269"/>
                    <a:pt x="66" y="270"/>
                  </a:cubicBezTo>
                  <a:cubicBezTo>
                    <a:pt x="66" y="270"/>
                    <a:pt x="67" y="271"/>
                    <a:pt x="67" y="272"/>
                  </a:cubicBezTo>
                  <a:cubicBezTo>
                    <a:pt x="68" y="272"/>
                    <a:pt x="68" y="273"/>
                    <a:pt x="68" y="274"/>
                  </a:cubicBezTo>
                  <a:cubicBezTo>
                    <a:pt x="69" y="274"/>
                    <a:pt x="69" y="274"/>
                    <a:pt x="69" y="274"/>
                  </a:cubicBezTo>
                  <a:cubicBezTo>
                    <a:pt x="70" y="276"/>
                    <a:pt x="70" y="277"/>
                    <a:pt x="72" y="278"/>
                  </a:cubicBezTo>
                  <a:cubicBezTo>
                    <a:pt x="73" y="279"/>
                    <a:pt x="73" y="279"/>
                    <a:pt x="74" y="281"/>
                  </a:cubicBezTo>
                  <a:cubicBezTo>
                    <a:pt x="74" y="281"/>
                    <a:pt x="74" y="282"/>
                    <a:pt x="74" y="282"/>
                  </a:cubicBezTo>
                  <a:cubicBezTo>
                    <a:pt x="74" y="285"/>
                    <a:pt x="75" y="289"/>
                    <a:pt x="76" y="291"/>
                  </a:cubicBezTo>
                  <a:cubicBezTo>
                    <a:pt x="76" y="293"/>
                    <a:pt x="76" y="293"/>
                    <a:pt x="76" y="293"/>
                  </a:cubicBezTo>
                  <a:cubicBezTo>
                    <a:pt x="78" y="298"/>
                    <a:pt x="80" y="303"/>
                    <a:pt x="82" y="308"/>
                  </a:cubicBezTo>
                  <a:cubicBezTo>
                    <a:pt x="84" y="310"/>
                    <a:pt x="86" y="312"/>
                    <a:pt x="88" y="313"/>
                  </a:cubicBezTo>
                  <a:cubicBezTo>
                    <a:pt x="89" y="314"/>
                    <a:pt x="89" y="314"/>
                    <a:pt x="90" y="315"/>
                  </a:cubicBezTo>
                  <a:cubicBezTo>
                    <a:pt x="92" y="316"/>
                    <a:pt x="93" y="317"/>
                    <a:pt x="95" y="318"/>
                  </a:cubicBezTo>
                  <a:cubicBezTo>
                    <a:pt x="95" y="319"/>
                    <a:pt x="96" y="319"/>
                    <a:pt x="97" y="319"/>
                  </a:cubicBezTo>
                  <a:cubicBezTo>
                    <a:pt x="99" y="319"/>
                    <a:pt x="100" y="318"/>
                    <a:pt x="101" y="318"/>
                  </a:cubicBezTo>
                  <a:cubicBezTo>
                    <a:pt x="101" y="317"/>
                    <a:pt x="102" y="317"/>
                    <a:pt x="103" y="317"/>
                  </a:cubicBezTo>
                  <a:cubicBezTo>
                    <a:pt x="103" y="317"/>
                    <a:pt x="104" y="317"/>
                    <a:pt x="105" y="317"/>
                  </a:cubicBezTo>
                  <a:cubicBezTo>
                    <a:pt x="105" y="317"/>
                    <a:pt x="106" y="317"/>
                    <a:pt x="106" y="317"/>
                  </a:cubicBezTo>
                  <a:cubicBezTo>
                    <a:pt x="107" y="317"/>
                    <a:pt x="107" y="317"/>
                    <a:pt x="108" y="317"/>
                  </a:cubicBezTo>
                  <a:cubicBezTo>
                    <a:pt x="109" y="317"/>
                    <a:pt x="109" y="317"/>
                    <a:pt x="110" y="317"/>
                  </a:cubicBezTo>
                  <a:cubicBezTo>
                    <a:pt x="111" y="317"/>
                    <a:pt x="111" y="316"/>
                    <a:pt x="112" y="316"/>
                  </a:cubicBezTo>
                  <a:cubicBezTo>
                    <a:pt x="113" y="316"/>
                    <a:pt x="114" y="316"/>
                    <a:pt x="115" y="316"/>
                  </a:cubicBezTo>
                  <a:cubicBezTo>
                    <a:pt x="116" y="316"/>
                    <a:pt x="116" y="316"/>
                    <a:pt x="116" y="316"/>
                  </a:cubicBezTo>
                  <a:cubicBezTo>
                    <a:pt x="117" y="316"/>
                    <a:pt x="118" y="316"/>
                    <a:pt x="119" y="316"/>
                  </a:cubicBezTo>
                  <a:cubicBezTo>
                    <a:pt x="123" y="316"/>
                    <a:pt x="125" y="314"/>
                    <a:pt x="127" y="312"/>
                  </a:cubicBezTo>
                  <a:cubicBezTo>
                    <a:pt x="128" y="311"/>
                    <a:pt x="128" y="311"/>
                    <a:pt x="129" y="310"/>
                  </a:cubicBezTo>
                  <a:cubicBezTo>
                    <a:pt x="129" y="310"/>
                    <a:pt x="130" y="309"/>
                    <a:pt x="130" y="309"/>
                  </a:cubicBezTo>
                  <a:cubicBezTo>
                    <a:pt x="130" y="309"/>
                    <a:pt x="131" y="310"/>
                    <a:pt x="131" y="310"/>
                  </a:cubicBezTo>
                  <a:cubicBezTo>
                    <a:pt x="132" y="310"/>
                    <a:pt x="132" y="310"/>
                    <a:pt x="132" y="310"/>
                  </a:cubicBezTo>
                  <a:cubicBezTo>
                    <a:pt x="133" y="310"/>
                    <a:pt x="134" y="309"/>
                    <a:pt x="135" y="309"/>
                  </a:cubicBezTo>
                  <a:cubicBezTo>
                    <a:pt x="136" y="309"/>
                    <a:pt x="137" y="309"/>
                    <a:pt x="137" y="309"/>
                  </a:cubicBezTo>
                  <a:cubicBezTo>
                    <a:pt x="137" y="309"/>
                    <a:pt x="137" y="309"/>
                    <a:pt x="137" y="309"/>
                  </a:cubicBezTo>
                  <a:cubicBezTo>
                    <a:pt x="138" y="309"/>
                    <a:pt x="139" y="309"/>
                    <a:pt x="140" y="310"/>
                  </a:cubicBezTo>
                  <a:cubicBezTo>
                    <a:pt x="140" y="310"/>
                    <a:pt x="141" y="310"/>
                    <a:pt x="142" y="311"/>
                  </a:cubicBezTo>
                  <a:cubicBezTo>
                    <a:pt x="142" y="311"/>
                    <a:pt x="143" y="311"/>
                    <a:pt x="144" y="311"/>
                  </a:cubicBezTo>
                  <a:cubicBezTo>
                    <a:pt x="146" y="311"/>
                    <a:pt x="147" y="311"/>
                    <a:pt x="149" y="310"/>
                  </a:cubicBezTo>
                  <a:cubicBezTo>
                    <a:pt x="150" y="310"/>
                    <a:pt x="151" y="310"/>
                    <a:pt x="152" y="310"/>
                  </a:cubicBezTo>
                  <a:cubicBezTo>
                    <a:pt x="152" y="310"/>
                    <a:pt x="152" y="310"/>
                    <a:pt x="152" y="310"/>
                  </a:cubicBezTo>
                  <a:cubicBezTo>
                    <a:pt x="153" y="310"/>
                    <a:pt x="154" y="310"/>
                    <a:pt x="155" y="310"/>
                  </a:cubicBezTo>
                  <a:cubicBezTo>
                    <a:pt x="156" y="310"/>
                    <a:pt x="157" y="310"/>
                    <a:pt x="158" y="310"/>
                  </a:cubicBezTo>
                  <a:cubicBezTo>
                    <a:pt x="160" y="310"/>
                    <a:pt x="162" y="310"/>
                    <a:pt x="163" y="308"/>
                  </a:cubicBezTo>
                  <a:cubicBezTo>
                    <a:pt x="165" y="307"/>
                    <a:pt x="165" y="305"/>
                    <a:pt x="165" y="304"/>
                  </a:cubicBezTo>
                  <a:cubicBezTo>
                    <a:pt x="166" y="306"/>
                    <a:pt x="166" y="306"/>
                    <a:pt x="166" y="306"/>
                  </a:cubicBezTo>
                  <a:cubicBezTo>
                    <a:pt x="168" y="303"/>
                    <a:pt x="168" y="303"/>
                    <a:pt x="168" y="303"/>
                  </a:cubicBezTo>
                  <a:cubicBezTo>
                    <a:pt x="169" y="301"/>
                    <a:pt x="170" y="299"/>
                    <a:pt x="171" y="298"/>
                  </a:cubicBezTo>
                  <a:cubicBezTo>
                    <a:pt x="171" y="297"/>
                    <a:pt x="172" y="296"/>
                    <a:pt x="173" y="295"/>
                  </a:cubicBezTo>
                  <a:cubicBezTo>
                    <a:pt x="174" y="293"/>
                    <a:pt x="174" y="293"/>
                    <a:pt x="174" y="293"/>
                  </a:cubicBezTo>
                  <a:cubicBezTo>
                    <a:pt x="175" y="291"/>
                    <a:pt x="176" y="289"/>
                    <a:pt x="177" y="286"/>
                  </a:cubicBezTo>
                  <a:cubicBezTo>
                    <a:pt x="177" y="284"/>
                    <a:pt x="177" y="283"/>
                    <a:pt x="177" y="282"/>
                  </a:cubicBezTo>
                  <a:cubicBezTo>
                    <a:pt x="177" y="280"/>
                    <a:pt x="177" y="280"/>
                    <a:pt x="177" y="280"/>
                  </a:cubicBezTo>
                  <a:cubicBezTo>
                    <a:pt x="177" y="279"/>
                    <a:pt x="178" y="278"/>
                    <a:pt x="178" y="278"/>
                  </a:cubicBezTo>
                  <a:cubicBezTo>
                    <a:pt x="178" y="277"/>
                    <a:pt x="178" y="277"/>
                    <a:pt x="179" y="276"/>
                  </a:cubicBezTo>
                  <a:cubicBezTo>
                    <a:pt x="179" y="275"/>
                    <a:pt x="179" y="273"/>
                    <a:pt x="179" y="272"/>
                  </a:cubicBezTo>
                  <a:cubicBezTo>
                    <a:pt x="179" y="271"/>
                    <a:pt x="178" y="270"/>
                    <a:pt x="179" y="269"/>
                  </a:cubicBezTo>
                  <a:cubicBezTo>
                    <a:pt x="179" y="267"/>
                    <a:pt x="179" y="266"/>
                    <a:pt x="180" y="265"/>
                  </a:cubicBezTo>
                  <a:cubicBezTo>
                    <a:pt x="181" y="265"/>
                    <a:pt x="181" y="264"/>
                    <a:pt x="182" y="264"/>
                  </a:cubicBezTo>
                  <a:cubicBezTo>
                    <a:pt x="184" y="262"/>
                    <a:pt x="185" y="260"/>
                    <a:pt x="187" y="258"/>
                  </a:cubicBezTo>
                  <a:cubicBezTo>
                    <a:pt x="188" y="256"/>
                    <a:pt x="190" y="255"/>
                    <a:pt x="191" y="253"/>
                  </a:cubicBezTo>
                  <a:cubicBezTo>
                    <a:pt x="193" y="251"/>
                    <a:pt x="195" y="250"/>
                    <a:pt x="196" y="248"/>
                  </a:cubicBezTo>
                  <a:cubicBezTo>
                    <a:pt x="198" y="245"/>
                    <a:pt x="199" y="244"/>
                    <a:pt x="202" y="244"/>
                  </a:cubicBezTo>
                  <a:cubicBezTo>
                    <a:pt x="204" y="244"/>
                    <a:pt x="204" y="244"/>
                    <a:pt x="204" y="244"/>
                  </a:cubicBezTo>
                  <a:cubicBezTo>
                    <a:pt x="204" y="242"/>
                    <a:pt x="204" y="242"/>
                    <a:pt x="204" y="242"/>
                  </a:cubicBezTo>
                  <a:cubicBezTo>
                    <a:pt x="204" y="241"/>
                    <a:pt x="204" y="240"/>
                    <a:pt x="203" y="239"/>
                  </a:cubicBezTo>
                  <a:cubicBezTo>
                    <a:pt x="203" y="238"/>
                    <a:pt x="203" y="236"/>
                    <a:pt x="203" y="235"/>
                  </a:cubicBezTo>
                  <a:cubicBezTo>
                    <a:pt x="204" y="235"/>
                    <a:pt x="204" y="235"/>
                    <a:pt x="205" y="235"/>
                  </a:cubicBezTo>
                  <a:cubicBezTo>
                    <a:pt x="206" y="235"/>
                    <a:pt x="206" y="235"/>
                    <a:pt x="207" y="235"/>
                  </a:cubicBezTo>
                  <a:cubicBezTo>
                    <a:pt x="207" y="234"/>
                    <a:pt x="207" y="234"/>
                    <a:pt x="207" y="234"/>
                  </a:cubicBezTo>
                  <a:cubicBezTo>
                    <a:pt x="209" y="233"/>
                    <a:pt x="209" y="233"/>
                    <a:pt x="209" y="233"/>
                  </a:cubicBezTo>
                  <a:cubicBezTo>
                    <a:pt x="208" y="233"/>
                    <a:pt x="208" y="233"/>
                    <a:pt x="208" y="233"/>
                  </a:cubicBezTo>
                  <a:cubicBezTo>
                    <a:pt x="209" y="233"/>
                    <a:pt x="209" y="233"/>
                    <a:pt x="209" y="233"/>
                  </a:cubicBezTo>
                  <a:cubicBezTo>
                    <a:pt x="210" y="232"/>
                    <a:pt x="211" y="230"/>
                    <a:pt x="212" y="229"/>
                  </a:cubicBezTo>
                  <a:cubicBezTo>
                    <a:pt x="213" y="228"/>
                    <a:pt x="214" y="227"/>
                    <a:pt x="215" y="227"/>
                  </a:cubicBezTo>
                  <a:cubicBezTo>
                    <a:pt x="215" y="227"/>
                    <a:pt x="215" y="227"/>
                    <a:pt x="215" y="227"/>
                  </a:cubicBezTo>
                  <a:cubicBezTo>
                    <a:pt x="215" y="227"/>
                    <a:pt x="215" y="227"/>
                    <a:pt x="216" y="229"/>
                  </a:cubicBezTo>
                  <a:cubicBezTo>
                    <a:pt x="216" y="229"/>
                    <a:pt x="216" y="229"/>
                    <a:pt x="216" y="229"/>
                  </a:cubicBezTo>
                  <a:cubicBezTo>
                    <a:pt x="216" y="230"/>
                    <a:pt x="217" y="230"/>
                    <a:pt x="217" y="230"/>
                  </a:cubicBezTo>
                  <a:cubicBezTo>
                    <a:pt x="217" y="232"/>
                    <a:pt x="218" y="232"/>
                    <a:pt x="219" y="232"/>
                  </a:cubicBezTo>
                  <a:cubicBezTo>
                    <a:pt x="220" y="233"/>
                    <a:pt x="220" y="233"/>
                    <a:pt x="221" y="233"/>
                  </a:cubicBezTo>
                  <a:cubicBezTo>
                    <a:pt x="223" y="233"/>
                    <a:pt x="224" y="232"/>
                    <a:pt x="225" y="232"/>
                  </a:cubicBezTo>
                  <a:cubicBezTo>
                    <a:pt x="226" y="231"/>
                    <a:pt x="226" y="230"/>
                    <a:pt x="226" y="228"/>
                  </a:cubicBezTo>
                  <a:cubicBezTo>
                    <a:pt x="227" y="227"/>
                    <a:pt x="227" y="226"/>
                    <a:pt x="228" y="225"/>
                  </a:cubicBezTo>
                  <a:cubicBezTo>
                    <a:pt x="228" y="225"/>
                    <a:pt x="229" y="224"/>
                    <a:pt x="230" y="224"/>
                  </a:cubicBezTo>
                  <a:cubicBezTo>
                    <a:pt x="230" y="224"/>
                    <a:pt x="230" y="224"/>
                    <a:pt x="231" y="224"/>
                  </a:cubicBezTo>
                  <a:cubicBezTo>
                    <a:pt x="233" y="225"/>
                    <a:pt x="234" y="228"/>
                    <a:pt x="235" y="231"/>
                  </a:cubicBezTo>
                  <a:cubicBezTo>
                    <a:pt x="236" y="232"/>
                    <a:pt x="237" y="233"/>
                    <a:pt x="237" y="233"/>
                  </a:cubicBezTo>
                  <a:cubicBezTo>
                    <a:pt x="238" y="234"/>
                    <a:pt x="239" y="235"/>
                    <a:pt x="240" y="235"/>
                  </a:cubicBezTo>
                  <a:cubicBezTo>
                    <a:pt x="241" y="235"/>
                    <a:pt x="242" y="236"/>
                    <a:pt x="242" y="237"/>
                  </a:cubicBezTo>
                  <a:cubicBezTo>
                    <a:pt x="243" y="238"/>
                    <a:pt x="243" y="239"/>
                    <a:pt x="243" y="241"/>
                  </a:cubicBezTo>
                  <a:cubicBezTo>
                    <a:pt x="242" y="242"/>
                    <a:pt x="242" y="244"/>
                    <a:pt x="243" y="245"/>
                  </a:cubicBezTo>
                  <a:cubicBezTo>
                    <a:pt x="244" y="246"/>
                    <a:pt x="245" y="246"/>
                    <a:pt x="246" y="246"/>
                  </a:cubicBezTo>
                  <a:cubicBezTo>
                    <a:pt x="246" y="246"/>
                    <a:pt x="246" y="246"/>
                    <a:pt x="246" y="246"/>
                  </a:cubicBezTo>
                  <a:cubicBezTo>
                    <a:pt x="249" y="246"/>
                    <a:pt x="252" y="243"/>
                    <a:pt x="255" y="239"/>
                  </a:cubicBezTo>
                  <a:cubicBezTo>
                    <a:pt x="256" y="238"/>
                    <a:pt x="256" y="236"/>
                    <a:pt x="257" y="235"/>
                  </a:cubicBezTo>
                  <a:cubicBezTo>
                    <a:pt x="257" y="233"/>
                    <a:pt x="257" y="232"/>
                    <a:pt x="257" y="231"/>
                  </a:cubicBezTo>
                  <a:cubicBezTo>
                    <a:pt x="258" y="230"/>
                    <a:pt x="259" y="229"/>
                    <a:pt x="261" y="229"/>
                  </a:cubicBezTo>
                  <a:cubicBezTo>
                    <a:pt x="261" y="229"/>
                    <a:pt x="262" y="229"/>
                    <a:pt x="263" y="228"/>
                  </a:cubicBezTo>
                  <a:cubicBezTo>
                    <a:pt x="266" y="226"/>
                    <a:pt x="265" y="224"/>
                    <a:pt x="264" y="221"/>
                  </a:cubicBezTo>
                  <a:cubicBezTo>
                    <a:pt x="264" y="219"/>
                    <a:pt x="263" y="217"/>
                    <a:pt x="265" y="215"/>
                  </a:cubicBezTo>
                  <a:cubicBezTo>
                    <a:pt x="265" y="214"/>
                    <a:pt x="266" y="214"/>
                    <a:pt x="267" y="213"/>
                  </a:cubicBezTo>
                  <a:cubicBezTo>
                    <a:pt x="268" y="212"/>
                    <a:pt x="269" y="211"/>
                    <a:pt x="270" y="209"/>
                  </a:cubicBezTo>
                  <a:cubicBezTo>
                    <a:pt x="270" y="208"/>
                    <a:pt x="270" y="207"/>
                    <a:pt x="270" y="206"/>
                  </a:cubicBezTo>
                  <a:cubicBezTo>
                    <a:pt x="270" y="204"/>
                    <a:pt x="270" y="203"/>
                    <a:pt x="271" y="202"/>
                  </a:cubicBezTo>
                  <a:cubicBezTo>
                    <a:pt x="271" y="201"/>
                    <a:pt x="272" y="200"/>
                    <a:pt x="272" y="199"/>
                  </a:cubicBezTo>
                  <a:cubicBezTo>
                    <a:pt x="273" y="197"/>
                    <a:pt x="274" y="196"/>
                    <a:pt x="275" y="194"/>
                  </a:cubicBezTo>
                  <a:cubicBezTo>
                    <a:pt x="275" y="192"/>
                    <a:pt x="275" y="192"/>
                    <a:pt x="275" y="192"/>
                  </a:cubicBezTo>
                  <a:cubicBezTo>
                    <a:pt x="275" y="190"/>
                    <a:pt x="276" y="188"/>
                    <a:pt x="276" y="186"/>
                  </a:cubicBezTo>
                  <a:cubicBezTo>
                    <a:pt x="277" y="180"/>
                    <a:pt x="280" y="176"/>
                    <a:pt x="285" y="174"/>
                  </a:cubicBezTo>
                  <a:cubicBezTo>
                    <a:pt x="292" y="171"/>
                    <a:pt x="292" y="167"/>
                    <a:pt x="293" y="161"/>
                  </a:cubicBezTo>
                  <a:cubicBezTo>
                    <a:pt x="294" y="159"/>
                    <a:pt x="294" y="159"/>
                    <a:pt x="294" y="159"/>
                  </a:cubicBezTo>
                  <a:cubicBezTo>
                    <a:pt x="294" y="158"/>
                    <a:pt x="294" y="157"/>
                    <a:pt x="294" y="156"/>
                  </a:cubicBezTo>
                  <a:cubicBezTo>
                    <a:pt x="294" y="154"/>
                    <a:pt x="294" y="153"/>
                    <a:pt x="295" y="152"/>
                  </a:cubicBezTo>
                  <a:cubicBezTo>
                    <a:pt x="296" y="148"/>
                    <a:pt x="298" y="146"/>
                    <a:pt x="302" y="145"/>
                  </a:cubicBezTo>
                  <a:cubicBezTo>
                    <a:pt x="304" y="145"/>
                    <a:pt x="304" y="145"/>
                    <a:pt x="304" y="145"/>
                  </a:cubicBezTo>
                  <a:cubicBezTo>
                    <a:pt x="304" y="143"/>
                    <a:pt x="304" y="143"/>
                    <a:pt x="304" y="143"/>
                  </a:cubicBezTo>
                  <a:cubicBezTo>
                    <a:pt x="304" y="142"/>
                    <a:pt x="304" y="141"/>
                    <a:pt x="304" y="139"/>
                  </a:cubicBezTo>
                  <a:cubicBezTo>
                    <a:pt x="304" y="136"/>
                    <a:pt x="304" y="133"/>
                    <a:pt x="305" y="131"/>
                  </a:cubicBezTo>
                  <a:cubicBezTo>
                    <a:pt x="305" y="128"/>
                    <a:pt x="306" y="127"/>
                    <a:pt x="308" y="126"/>
                  </a:cubicBezTo>
                  <a:cubicBezTo>
                    <a:pt x="310" y="125"/>
                    <a:pt x="311" y="124"/>
                    <a:pt x="311" y="121"/>
                  </a:cubicBezTo>
                  <a:cubicBezTo>
                    <a:pt x="312" y="120"/>
                    <a:pt x="312" y="118"/>
                    <a:pt x="312" y="117"/>
                  </a:cubicBezTo>
                  <a:cubicBezTo>
                    <a:pt x="312" y="113"/>
                    <a:pt x="312" y="110"/>
                    <a:pt x="314" y="107"/>
                  </a:cubicBezTo>
                  <a:cubicBezTo>
                    <a:pt x="315" y="104"/>
                    <a:pt x="315" y="104"/>
                    <a:pt x="315" y="104"/>
                  </a:cubicBezTo>
                  <a:cubicBezTo>
                    <a:pt x="316" y="101"/>
                    <a:pt x="318" y="98"/>
                    <a:pt x="320" y="95"/>
                  </a:cubicBezTo>
                  <a:cubicBezTo>
                    <a:pt x="320" y="94"/>
                    <a:pt x="321" y="94"/>
                    <a:pt x="321" y="93"/>
                  </a:cubicBezTo>
                  <a:cubicBezTo>
                    <a:pt x="323" y="90"/>
                    <a:pt x="324" y="89"/>
                    <a:pt x="328" y="88"/>
                  </a:cubicBezTo>
                  <a:cubicBezTo>
                    <a:pt x="332" y="88"/>
                    <a:pt x="334" y="86"/>
                    <a:pt x="337" y="83"/>
                  </a:cubicBezTo>
                  <a:cubicBezTo>
                    <a:pt x="338" y="83"/>
                    <a:pt x="339" y="82"/>
                    <a:pt x="340" y="81"/>
                  </a:cubicBezTo>
                  <a:cubicBezTo>
                    <a:pt x="343" y="79"/>
                    <a:pt x="343" y="76"/>
                    <a:pt x="343" y="73"/>
                  </a:cubicBezTo>
                  <a:cubicBezTo>
                    <a:pt x="343" y="72"/>
                    <a:pt x="343" y="71"/>
                    <a:pt x="343" y="69"/>
                  </a:cubicBezTo>
                  <a:cubicBezTo>
                    <a:pt x="343" y="68"/>
                    <a:pt x="343" y="68"/>
                    <a:pt x="344" y="67"/>
                  </a:cubicBezTo>
                  <a:cubicBezTo>
                    <a:pt x="344" y="63"/>
                    <a:pt x="345" y="58"/>
                    <a:pt x="343" y="55"/>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63" name="Freeform 63">
              <a:extLst>
                <a:ext uri="{FF2B5EF4-FFF2-40B4-BE49-F238E27FC236}">
                  <a16:creationId xmlns:a16="http://schemas.microsoft.com/office/drawing/2014/main" id="{BB0B1095-27C8-4D79-BC07-A93082685C17}"/>
                </a:ext>
              </a:extLst>
            </p:cNvPr>
            <p:cNvSpPr>
              <a:spLocks/>
            </p:cNvSpPr>
            <p:nvPr/>
          </p:nvSpPr>
          <p:spPr bwMode="auto">
            <a:xfrm>
              <a:off x="2468743" y="1719326"/>
              <a:ext cx="453105" cy="696543"/>
            </a:xfrm>
            <a:custGeom>
              <a:avLst/>
              <a:gdLst>
                <a:gd name="T0" fmla="*/ 221 w 224"/>
                <a:gd name="T1" fmla="*/ 334 h 374"/>
                <a:gd name="T2" fmla="*/ 195 w 224"/>
                <a:gd name="T3" fmla="*/ 308 h 374"/>
                <a:gd name="T4" fmla="*/ 184 w 224"/>
                <a:gd name="T5" fmla="*/ 281 h 374"/>
                <a:gd name="T6" fmla="*/ 180 w 224"/>
                <a:gd name="T7" fmla="*/ 260 h 374"/>
                <a:gd name="T8" fmla="*/ 179 w 224"/>
                <a:gd name="T9" fmla="*/ 238 h 374"/>
                <a:gd name="T10" fmla="*/ 179 w 224"/>
                <a:gd name="T11" fmla="*/ 226 h 374"/>
                <a:gd name="T12" fmla="*/ 194 w 224"/>
                <a:gd name="T13" fmla="*/ 199 h 374"/>
                <a:gd name="T14" fmla="*/ 184 w 224"/>
                <a:gd name="T15" fmla="*/ 142 h 374"/>
                <a:gd name="T16" fmla="*/ 161 w 224"/>
                <a:gd name="T17" fmla="*/ 118 h 374"/>
                <a:gd name="T18" fmla="*/ 164 w 224"/>
                <a:gd name="T19" fmla="*/ 106 h 374"/>
                <a:gd name="T20" fmla="*/ 179 w 224"/>
                <a:gd name="T21" fmla="*/ 102 h 374"/>
                <a:gd name="T22" fmla="*/ 198 w 224"/>
                <a:gd name="T23" fmla="*/ 103 h 374"/>
                <a:gd name="T24" fmla="*/ 206 w 224"/>
                <a:gd name="T25" fmla="*/ 103 h 374"/>
                <a:gd name="T26" fmla="*/ 191 w 224"/>
                <a:gd name="T27" fmla="*/ 80 h 374"/>
                <a:gd name="T28" fmla="*/ 184 w 224"/>
                <a:gd name="T29" fmla="*/ 25 h 374"/>
                <a:gd name="T30" fmla="*/ 177 w 224"/>
                <a:gd name="T31" fmla="*/ 13 h 374"/>
                <a:gd name="T32" fmla="*/ 163 w 224"/>
                <a:gd name="T33" fmla="*/ 0 h 374"/>
                <a:gd name="T34" fmla="*/ 164 w 224"/>
                <a:gd name="T35" fmla="*/ 13 h 374"/>
                <a:gd name="T36" fmla="*/ 177 w 224"/>
                <a:gd name="T37" fmla="*/ 28 h 374"/>
                <a:gd name="T38" fmla="*/ 173 w 224"/>
                <a:gd name="T39" fmla="*/ 54 h 374"/>
                <a:gd name="T40" fmla="*/ 153 w 224"/>
                <a:gd name="T41" fmla="*/ 68 h 374"/>
                <a:gd name="T42" fmla="*/ 145 w 224"/>
                <a:gd name="T43" fmla="*/ 94 h 374"/>
                <a:gd name="T44" fmla="*/ 137 w 224"/>
                <a:gd name="T45" fmla="*/ 118 h 374"/>
                <a:gd name="T46" fmla="*/ 127 w 224"/>
                <a:gd name="T47" fmla="*/ 134 h 374"/>
                <a:gd name="T48" fmla="*/ 108 w 224"/>
                <a:gd name="T49" fmla="*/ 167 h 374"/>
                <a:gd name="T50" fmla="*/ 104 w 224"/>
                <a:gd name="T51" fmla="*/ 182 h 374"/>
                <a:gd name="T52" fmla="*/ 97 w 224"/>
                <a:gd name="T53" fmla="*/ 201 h 374"/>
                <a:gd name="T54" fmla="*/ 89 w 224"/>
                <a:gd name="T55" fmla="*/ 212 h 374"/>
                <a:gd name="T56" fmla="*/ 77 w 224"/>
                <a:gd name="T57" fmla="*/ 210 h 374"/>
                <a:gd name="T58" fmla="*/ 65 w 224"/>
                <a:gd name="T59" fmla="*/ 197 h 374"/>
                <a:gd name="T60" fmla="*/ 60 w 224"/>
                <a:gd name="T61" fmla="*/ 201 h 374"/>
                <a:gd name="T62" fmla="*/ 51 w 224"/>
                <a:gd name="T63" fmla="*/ 204 h 374"/>
                <a:gd name="T64" fmla="*/ 47 w 224"/>
                <a:gd name="T65" fmla="*/ 201 h 374"/>
                <a:gd name="T66" fmla="*/ 40 w 224"/>
                <a:gd name="T67" fmla="*/ 207 h 374"/>
                <a:gd name="T68" fmla="*/ 37 w 224"/>
                <a:gd name="T69" fmla="*/ 212 h 374"/>
                <a:gd name="T70" fmla="*/ 21 w 224"/>
                <a:gd name="T71" fmla="*/ 231 h 374"/>
                <a:gd name="T72" fmla="*/ 12 w 224"/>
                <a:gd name="T73" fmla="*/ 245 h 374"/>
                <a:gd name="T74" fmla="*/ 11 w 224"/>
                <a:gd name="T75" fmla="*/ 255 h 374"/>
                <a:gd name="T76" fmla="*/ 4 w 224"/>
                <a:gd name="T77" fmla="*/ 271 h 374"/>
                <a:gd name="T78" fmla="*/ 0 w 224"/>
                <a:gd name="T79" fmla="*/ 281 h 374"/>
                <a:gd name="T80" fmla="*/ 11 w 224"/>
                <a:gd name="T81" fmla="*/ 281 h 374"/>
                <a:gd name="T82" fmla="*/ 17 w 224"/>
                <a:gd name="T83" fmla="*/ 298 h 374"/>
                <a:gd name="T84" fmla="*/ 33 w 224"/>
                <a:gd name="T85" fmla="*/ 301 h 374"/>
                <a:gd name="T86" fmla="*/ 35 w 224"/>
                <a:gd name="T87" fmla="*/ 318 h 374"/>
                <a:gd name="T88" fmla="*/ 38 w 224"/>
                <a:gd name="T89" fmla="*/ 340 h 374"/>
                <a:gd name="T90" fmla="*/ 37 w 224"/>
                <a:gd name="T91" fmla="*/ 352 h 374"/>
                <a:gd name="T92" fmla="*/ 85 w 224"/>
                <a:gd name="T93" fmla="*/ 359 h 374"/>
                <a:gd name="T94" fmla="*/ 133 w 224"/>
                <a:gd name="T95" fmla="*/ 357 h 374"/>
                <a:gd name="T96" fmla="*/ 144 w 224"/>
                <a:gd name="T97" fmla="*/ 360 h 374"/>
                <a:gd name="T98" fmla="*/ 149 w 224"/>
                <a:gd name="T99" fmla="*/ 360 h 374"/>
                <a:gd name="T100" fmla="*/ 180 w 224"/>
                <a:gd name="T101" fmla="*/ 361 h 374"/>
                <a:gd name="T102" fmla="*/ 201 w 224"/>
                <a:gd name="T103" fmla="*/ 366 h 374"/>
                <a:gd name="T104" fmla="*/ 220 w 224"/>
                <a:gd name="T105" fmla="*/ 374 h 374"/>
                <a:gd name="T106" fmla="*/ 223 w 224"/>
                <a:gd name="T107" fmla="*/ 36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4" h="374">
                  <a:moveTo>
                    <a:pt x="223" y="360"/>
                  </a:moveTo>
                  <a:cubicBezTo>
                    <a:pt x="222" y="358"/>
                    <a:pt x="222" y="355"/>
                    <a:pt x="222" y="353"/>
                  </a:cubicBezTo>
                  <a:cubicBezTo>
                    <a:pt x="222" y="351"/>
                    <a:pt x="222" y="349"/>
                    <a:pt x="222" y="347"/>
                  </a:cubicBezTo>
                  <a:cubicBezTo>
                    <a:pt x="223" y="343"/>
                    <a:pt x="223" y="338"/>
                    <a:pt x="221" y="334"/>
                  </a:cubicBezTo>
                  <a:cubicBezTo>
                    <a:pt x="219" y="331"/>
                    <a:pt x="216" y="329"/>
                    <a:pt x="213" y="327"/>
                  </a:cubicBezTo>
                  <a:cubicBezTo>
                    <a:pt x="211" y="325"/>
                    <a:pt x="209" y="324"/>
                    <a:pt x="207" y="322"/>
                  </a:cubicBezTo>
                  <a:cubicBezTo>
                    <a:pt x="206" y="320"/>
                    <a:pt x="204" y="319"/>
                    <a:pt x="203" y="317"/>
                  </a:cubicBezTo>
                  <a:cubicBezTo>
                    <a:pt x="200" y="314"/>
                    <a:pt x="197" y="311"/>
                    <a:pt x="195" y="308"/>
                  </a:cubicBezTo>
                  <a:cubicBezTo>
                    <a:pt x="193" y="305"/>
                    <a:pt x="193" y="302"/>
                    <a:pt x="193" y="298"/>
                  </a:cubicBezTo>
                  <a:cubicBezTo>
                    <a:pt x="193" y="295"/>
                    <a:pt x="194" y="292"/>
                    <a:pt x="193" y="290"/>
                  </a:cubicBezTo>
                  <a:cubicBezTo>
                    <a:pt x="192" y="287"/>
                    <a:pt x="190" y="286"/>
                    <a:pt x="188" y="285"/>
                  </a:cubicBezTo>
                  <a:cubicBezTo>
                    <a:pt x="187" y="284"/>
                    <a:pt x="185" y="283"/>
                    <a:pt x="184" y="281"/>
                  </a:cubicBezTo>
                  <a:cubicBezTo>
                    <a:pt x="182" y="278"/>
                    <a:pt x="182" y="274"/>
                    <a:pt x="182" y="270"/>
                  </a:cubicBezTo>
                  <a:cubicBezTo>
                    <a:pt x="181" y="267"/>
                    <a:pt x="181" y="267"/>
                    <a:pt x="181" y="267"/>
                  </a:cubicBezTo>
                  <a:cubicBezTo>
                    <a:pt x="181" y="266"/>
                    <a:pt x="181" y="264"/>
                    <a:pt x="181" y="263"/>
                  </a:cubicBezTo>
                  <a:cubicBezTo>
                    <a:pt x="181" y="261"/>
                    <a:pt x="181" y="261"/>
                    <a:pt x="180" y="260"/>
                  </a:cubicBezTo>
                  <a:cubicBezTo>
                    <a:pt x="179" y="260"/>
                    <a:pt x="179" y="259"/>
                    <a:pt x="179" y="259"/>
                  </a:cubicBezTo>
                  <a:cubicBezTo>
                    <a:pt x="177" y="256"/>
                    <a:pt x="178" y="253"/>
                    <a:pt x="178" y="250"/>
                  </a:cubicBezTo>
                  <a:cubicBezTo>
                    <a:pt x="178" y="249"/>
                    <a:pt x="178" y="249"/>
                    <a:pt x="178" y="249"/>
                  </a:cubicBezTo>
                  <a:cubicBezTo>
                    <a:pt x="179" y="246"/>
                    <a:pt x="179" y="242"/>
                    <a:pt x="179" y="238"/>
                  </a:cubicBezTo>
                  <a:cubicBezTo>
                    <a:pt x="179" y="236"/>
                    <a:pt x="179" y="236"/>
                    <a:pt x="179" y="236"/>
                  </a:cubicBezTo>
                  <a:cubicBezTo>
                    <a:pt x="178" y="236"/>
                    <a:pt x="178" y="236"/>
                    <a:pt x="178" y="236"/>
                  </a:cubicBezTo>
                  <a:cubicBezTo>
                    <a:pt x="176" y="235"/>
                    <a:pt x="174" y="234"/>
                    <a:pt x="174" y="233"/>
                  </a:cubicBezTo>
                  <a:cubicBezTo>
                    <a:pt x="174" y="231"/>
                    <a:pt x="177" y="228"/>
                    <a:pt x="179" y="226"/>
                  </a:cubicBezTo>
                  <a:cubicBezTo>
                    <a:pt x="182" y="224"/>
                    <a:pt x="184" y="222"/>
                    <a:pt x="184" y="220"/>
                  </a:cubicBezTo>
                  <a:cubicBezTo>
                    <a:pt x="185" y="219"/>
                    <a:pt x="185" y="218"/>
                    <a:pt x="186" y="216"/>
                  </a:cubicBezTo>
                  <a:cubicBezTo>
                    <a:pt x="186" y="214"/>
                    <a:pt x="187" y="212"/>
                    <a:pt x="188" y="210"/>
                  </a:cubicBezTo>
                  <a:cubicBezTo>
                    <a:pt x="191" y="206"/>
                    <a:pt x="193" y="204"/>
                    <a:pt x="194" y="199"/>
                  </a:cubicBezTo>
                  <a:cubicBezTo>
                    <a:pt x="195" y="195"/>
                    <a:pt x="197" y="193"/>
                    <a:pt x="199" y="190"/>
                  </a:cubicBezTo>
                  <a:cubicBezTo>
                    <a:pt x="202" y="186"/>
                    <a:pt x="205" y="182"/>
                    <a:pt x="203" y="176"/>
                  </a:cubicBezTo>
                  <a:cubicBezTo>
                    <a:pt x="200" y="167"/>
                    <a:pt x="197" y="157"/>
                    <a:pt x="192" y="149"/>
                  </a:cubicBezTo>
                  <a:cubicBezTo>
                    <a:pt x="190" y="146"/>
                    <a:pt x="187" y="144"/>
                    <a:pt x="184" y="142"/>
                  </a:cubicBezTo>
                  <a:cubicBezTo>
                    <a:pt x="183" y="141"/>
                    <a:pt x="182" y="140"/>
                    <a:pt x="181" y="139"/>
                  </a:cubicBezTo>
                  <a:cubicBezTo>
                    <a:pt x="176" y="135"/>
                    <a:pt x="172" y="131"/>
                    <a:pt x="168" y="126"/>
                  </a:cubicBezTo>
                  <a:cubicBezTo>
                    <a:pt x="166" y="124"/>
                    <a:pt x="165" y="122"/>
                    <a:pt x="163" y="120"/>
                  </a:cubicBezTo>
                  <a:cubicBezTo>
                    <a:pt x="163" y="119"/>
                    <a:pt x="162" y="119"/>
                    <a:pt x="161" y="118"/>
                  </a:cubicBezTo>
                  <a:cubicBezTo>
                    <a:pt x="160" y="117"/>
                    <a:pt x="158" y="116"/>
                    <a:pt x="158" y="114"/>
                  </a:cubicBezTo>
                  <a:cubicBezTo>
                    <a:pt x="158" y="113"/>
                    <a:pt x="159" y="112"/>
                    <a:pt x="161" y="110"/>
                  </a:cubicBezTo>
                  <a:cubicBezTo>
                    <a:pt x="161" y="109"/>
                    <a:pt x="162" y="109"/>
                    <a:pt x="163" y="108"/>
                  </a:cubicBezTo>
                  <a:cubicBezTo>
                    <a:pt x="163" y="108"/>
                    <a:pt x="164" y="107"/>
                    <a:pt x="164" y="106"/>
                  </a:cubicBezTo>
                  <a:cubicBezTo>
                    <a:pt x="165" y="104"/>
                    <a:pt x="166" y="102"/>
                    <a:pt x="168" y="101"/>
                  </a:cubicBezTo>
                  <a:cubicBezTo>
                    <a:pt x="169" y="101"/>
                    <a:pt x="170" y="100"/>
                    <a:pt x="171" y="100"/>
                  </a:cubicBezTo>
                  <a:cubicBezTo>
                    <a:pt x="173" y="100"/>
                    <a:pt x="175" y="101"/>
                    <a:pt x="177" y="101"/>
                  </a:cubicBezTo>
                  <a:cubicBezTo>
                    <a:pt x="179" y="102"/>
                    <a:pt x="179" y="102"/>
                    <a:pt x="179" y="102"/>
                  </a:cubicBezTo>
                  <a:cubicBezTo>
                    <a:pt x="180" y="102"/>
                    <a:pt x="181" y="102"/>
                    <a:pt x="183" y="102"/>
                  </a:cubicBezTo>
                  <a:cubicBezTo>
                    <a:pt x="184" y="102"/>
                    <a:pt x="186" y="102"/>
                    <a:pt x="188" y="102"/>
                  </a:cubicBezTo>
                  <a:cubicBezTo>
                    <a:pt x="189" y="101"/>
                    <a:pt x="190" y="101"/>
                    <a:pt x="191" y="101"/>
                  </a:cubicBezTo>
                  <a:cubicBezTo>
                    <a:pt x="194" y="101"/>
                    <a:pt x="196" y="102"/>
                    <a:pt x="198" y="103"/>
                  </a:cubicBezTo>
                  <a:cubicBezTo>
                    <a:pt x="199" y="103"/>
                    <a:pt x="199" y="103"/>
                    <a:pt x="199" y="103"/>
                  </a:cubicBezTo>
                  <a:cubicBezTo>
                    <a:pt x="200" y="104"/>
                    <a:pt x="202" y="104"/>
                    <a:pt x="203" y="104"/>
                  </a:cubicBezTo>
                  <a:cubicBezTo>
                    <a:pt x="204" y="104"/>
                    <a:pt x="205" y="104"/>
                    <a:pt x="205" y="103"/>
                  </a:cubicBezTo>
                  <a:cubicBezTo>
                    <a:pt x="206" y="103"/>
                    <a:pt x="206" y="103"/>
                    <a:pt x="206" y="103"/>
                  </a:cubicBezTo>
                  <a:cubicBezTo>
                    <a:pt x="206" y="102"/>
                    <a:pt x="206" y="102"/>
                    <a:pt x="206" y="102"/>
                  </a:cubicBezTo>
                  <a:cubicBezTo>
                    <a:pt x="206" y="100"/>
                    <a:pt x="204" y="99"/>
                    <a:pt x="203" y="98"/>
                  </a:cubicBezTo>
                  <a:cubicBezTo>
                    <a:pt x="202" y="98"/>
                    <a:pt x="202" y="98"/>
                    <a:pt x="201" y="97"/>
                  </a:cubicBezTo>
                  <a:cubicBezTo>
                    <a:pt x="196" y="93"/>
                    <a:pt x="192" y="86"/>
                    <a:pt x="191" y="80"/>
                  </a:cubicBezTo>
                  <a:cubicBezTo>
                    <a:pt x="190" y="76"/>
                    <a:pt x="189" y="73"/>
                    <a:pt x="188" y="69"/>
                  </a:cubicBezTo>
                  <a:cubicBezTo>
                    <a:pt x="186" y="64"/>
                    <a:pt x="187" y="61"/>
                    <a:pt x="188" y="57"/>
                  </a:cubicBezTo>
                  <a:cubicBezTo>
                    <a:pt x="191" y="49"/>
                    <a:pt x="189" y="42"/>
                    <a:pt x="185" y="33"/>
                  </a:cubicBezTo>
                  <a:cubicBezTo>
                    <a:pt x="184" y="30"/>
                    <a:pt x="184" y="27"/>
                    <a:pt x="184" y="25"/>
                  </a:cubicBezTo>
                  <a:cubicBezTo>
                    <a:pt x="184" y="24"/>
                    <a:pt x="184" y="24"/>
                    <a:pt x="184" y="24"/>
                  </a:cubicBezTo>
                  <a:cubicBezTo>
                    <a:pt x="183" y="23"/>
                    <a:pt x="183" y="22"/>
                    <a:pt x="183" y="22"/>
                  </a:cubicBezTo>
                  <a:cubicBezTo>
                    <a:pt x="182" y="17"/>
                    <a:pt x="181" y="16"/>
                    <a:pt x="178" y="13"/>
                  </a:cubicBezTo>
                  <a:cubicBezTo>
                    <a:pt x="177" y="13"/>
                    <a:pt x="177" y="13"/>
                    <a:pt x="177" y="13"/>
                  </a:cubicBezTo>
                  <a:cubicBezTo>
                    <a:pt x="174" y="11"/>
                    <a:pt x="174" y="9"/>
                    <a:pt x="174" y="7"/>
                  </a:cubicBezTo>
                  <a:cubicBezTo>
                    <a:pt x="173" y="6"/>
                    <a:pt x="173" y="4"/>
                    <a:pt x="172" y="3"/>
                  </a:cubicBezTo>
                  <a:cubicBezTo>
                    <a:pt x="171" y="1"/>
                    <a:pt x="169" y="0"/>
                    <a:pt x="166" y="0"/>
                  </a:cubicBezTo>
                  <a:cubicBezTo>
                    <a:pt x="165" y="0"/>
                    <a:pt x="164" y="0"/>
                    <a:pt x="163" y="0"/>
                  </a:cubicBezTo>
                  <a:cubicBezTo>
                    <a:pt x="161" y="0"/>
                    <a:pt x="161" y="0"/>
                    <a:pt x="161" y="0"/>
                  </a:cubicBezTo>
                  <a:cubicBezTo>
                    <a:pt x="161" y="2"/>
                    <a:pt x="161" y="2"/>
                    <a:pt x="161" y="2"/>
                  </a:cubicBezTo>
                  <a:cubicBezTo>
                    <a:pt x="162" y="4"/>
                    <a:pt x="162" y="6"/>
                    <a:pt x="163" y="8"/>
                  </a:cubicBezTo>
                  <a:cubicBezTo>
                    <a:pt x="163" y="10"/>
                    <a:pt x="163" y="12"/>
                    <a:pt x="164" y="13"/>
                  </a:cubicBezTo>
                  <a:cubicBezTo>
                    <a:pt x="164" y="15"/>
                    <a:pt x="164" y="16"/>
                    <a:pt x="164" y="17"/>
                  </a:cubicBezTo>
                  <a:cubicBezTo>
                    <a:pt x="164" y="19"/>
                    <a:pt x="164" y="20"/>
                    <a:pt x="164" y="21"/>
                  </a:cubicBezTo>
                  <a:cubicBezTo>
                    <a:pt x="165" y="24"/>
                    <a:pt x="168" y="24"/>
                    <a:pt x="171" y="25"/>
                  </a:cubicBezTo>
                  <a:cubicBezTo>
                    <a:pt x="173" y="26"/>
                    <a:pt x="175" y="26"/>
                    <a:pt x="177" y="28"/>
                  </a:cubicBezTo>
                  <a:cubicBezTo>
                    <a:pt x="179" y="32"/>
                    <a:pt x="178" y="36"/>
                    <a:pt x="177" y="40"/>
                  </a:cubicBezTo>
                  <a:cubicBezTo>
                    <a:pt x="177" y="41"/>
                    <a:pt x="177" y="41"/>
                    <a:pt x="177" y="42"/>
                  </a:cubicBezTo>
                  <a:cubicBezTo>
                    <a:pt x="176" y="44"/>
                    <a:pt x="177" y="45"/>
                    <a:pt x="177" y="46"/>
                  </a:cubicBezTo>
                  <a:cubicBezTo>
                    <a:pt x="177" y="49"/>
                    <a:pt x="177" y="51"/>
                    <a:pt x="173" y="54"/>
                  </a:cubicBezTo>
                  <a:cubicBezTo>
                    <a:pt x="173" y="54"/>
                    <a:pt x="172" y="55"/>
                    <a:pt x="171" y="56"/>
                  </a:cubicBezTo>
                  <a:cubicBezTo>
                    <a:pt x="168" y="58"/>
                    <a:pt x="166" y="60"/>
                    <a:pt x="162" y="61"/>
                  </a:cubicBezTo>
                  <a:cubicBezTo>
                    <a:pt x="158" y="61"/>
                    <a:pt x="157" y="63"/>
                    <a:pt x="155" y="66"/>
                  </a:cubicBezTo>
                  <a:cubicBezTo>
                    <a:pt x="155" y="66"/>
                    <a:pt x="154" y="67"/>
                    <a:pt x="153" y="68"/>
                  </a:cubicBezTo>
                  <a:cubicBezTo>
                    <a:pt x="152" y="71"/>
                    <a:pt x="150" y="74"/>
                    <a:pt x="149" y="77"/>
                  </a:cubicBezTo>
                  <a:cubicBezTo>
                    <a:pt x="147" y="80"/>
                    <a:pt x="147" y="80"/>
                    <a:pt x="147" y="80"/>
                  </a:cubicBezTo>
                  <a:cubicBezTo>
                    <a:pt x="146" y="83"/>
                    <a:pt x="146" y="86"/>
                    <a:pt x="145" y="90"/>
                  </a:cubicBezTo>
                  <a:cubicBezTo>
                    <a:pt x="145" y="91"/>
                    <a:pt x="145" y="93"/>
                    <a:pt x="145" y="94"/>
                  </a:cubicBezTo>
                  <a:cubicBezTo>
                    <a:pt x="145" y="97"/>
                    <a:pt x="143" y="98"/>
                    <a:pt x="142" y="99"/>
                  </a:cubicBezTo>
                  <a:cubicBezTo>
                    <a:pt x="140" y="100"/>
                    <a:pt x="139" y="101"/>
                    <a:pt x="138" y="103"/>
                  </a:cubicBezTo>
                  <a:cubicBezTo>
                    <a:pt x="138" y="106"/>
                    <a:pt x="138" y="109"/>
                    <a:pt x="138" y="112"/>
                  </a:cubicBezTo>
                  <a:cubicBezTo>
                    <a:pt x="137" y="114"/>
                    <a:pt x="137" y="116"/>
                    <a:pt x="137" y="118"/>
                  </a:cubicBezTo>
                  <a:cubicBezTo>
                    <a:pt x="131" y="118"/>
                    <a:pt x="129" y="122"/>
                    <a:pt x="128" y="125"/>
                  </a:cubicBezTo>
                  <a:cubicBezTo>
                    <a:pt x="128" y="126"/>
                    <a:pt x="128" y="127"/>
                    <a:pt x="128" y="129"/>
                  </a:cubicBezTo>
                  <a:cubicBezTo>
                    <a:pt x="128" y="130"/>
                    <a:pt x="127" y="131"/>
                    <a:pt x="127" y="132"/>
                  </a:cubicBezTo>
                  <a:cubicBezTo>
                    <a:pt x="127" y="134"/>
                    <a:pt x="127" y="134"/>
                    <a:pt x="127" y="134"/>
                  </a:cubicBezTo>
                  <a:cubicBezTo>
                    <a:pt x="126" y="140"/>
                    <a:pt x="125" y="144"/>
                    <a:pt x="119" y="146"/>
                  </a:cubicBezTo>
                  <a:cubicBezTo>
                    <a:pt x="112" y="149"/>
                    <a:pt x="110" y="155"/>
                    <a:pt x="110" y="159"/>
                  </a:cubicBezTo>
                  <a:cubicBezTo>
                    <a:pt x="110" y="161"/>
                    <a:pt x="109" y="163"/>
                    <a:pt x="108" y="165"/>
                  </a:cubicBezTo>
                  <a:cubicBezTo>
                    <a:pt x="108" y="167"/>
                    <a:pt x="108" y="167"/>
                    <a:pt x="108" y="167"/>
                  </a:cubicBezTo>
                  <a:cubicBezTo>
                    <a:pt x="108" y="169"/>
                    <a:pt x="107" y="170"/>
                    <a:pt x="106" y="172"/>
                  </a:cubicBezTo>
                  <a:cubicBezTo>
                    <a:pt x="105" y="173"/>
                    <a:pt x="105" y="173"/>
                    <a:pt x="105" y="174"/>
                  </a:cubicBezTo>
                  <a:cubicBezTo>
                    <a:pt x="104" y="176"/>
                    <a:pt x="104" y="177"/>
                    <a:pt x="104" y="179"/>
                  </a:cubicBezTo>
                  <a:cubicBezTo>
                    <a:pt x="104" y="180"/>
                    <a:pt x="104" y="181"/>
                    <a:pt x="104" y="182"/>
                  </a:cubicBezTo>
                  <a:cubicBezTo>
                    <a:pt x="103" y="184"/>
                    <a:pt x="102" y="185"/>
                    <a:pt x="100" y="186"/>
                  </a:cubicBezTo>
                  <a:cubicBezTo>
                    <a:pt x="100" y="186"/>
                    <a:pt x="99" y="187"/>
                    <a:pt x="98" y="188"/>
                  </a:cubicBezTo>
                  <a:cubicBezTo>
                    <a:pt x="96" y="190"/>
                    <a:pt x="97" y="192"/>
                    <a:pt x="98" y="195"/>
                  </a:cubicBezTo>
                  <a:cubicBezTo>
                    <a:pt x="99" y="197"/>
                    <a:pt x="99" y="199"/>
                    <a:pt x="97" y="201"/>
                  </a:cubicBezTo>
                  <a:cubicBezTo>
                    <a:pt x="96" y="201"/>
                    <a:pt x="95" y="201"/>
                    <a:pt x="94" y="202"/>
                  </a:cubicBezTo>
                  <a:cubicBezTo>
                    <a:pt x="93" y="202"/>
                    <a:pt x="92" y="202"/>
                    <a:pt x="91" y="204"/>
                  </a:cubicBezTo>
                  <a:cubicBezTo>
                    <a:pt x="90" y="205"/>
                    <a:pt x="90" y="206"/>
                    <a:pt x="90" y="208"/>
                  </a:cubicBezTo>
                  <a:cubicBezTo>
                    <a:pt x="90" y="209"/>
                    <a:pt x="90" y="210"/>
                    <a:pt x="89" y="212"/>
                  </a:cubicBezTo>
                  <a:cubicBezTo>
                    <a:pt x="86" y="215"/>
                    <a:pt x="83" y="219"/>
                    <a:pt x="80" y="219"/>
                  </a:cubicBezTo>
                  <a:cubicBezTo>
                    <a:pt x="79" y="219"/>
                    <a:pt x="78" y="218"/>
                    <a:pt x="77" y="218"/>
                  </a:cubicBezTo>
                  <a:cubicBezTo>
                    <a:pt x="77" y="217"/>
                    <a:pt x="77" y="215"/>
                    <a:pt x="77" y="214"/>
                  </a:cubicBezTo>
                  <a:cubicBezTo>
                    <a:pt x="77" y="212"/>
                    <a:pt x="77" y="211"/>
                    <a:pt x="77" y="210"/>
                  </a:cubicBezTo>
                  <a:cubicBezTo>
                    <a:pt x="76" y="209"/>
                    <a:pt x="75" y="208"/>
                    <a:pt x="74" y="208"/>
                  </a:cubicBezTo>
                  <a:cubicBezTo>
                    <a:pt x="73" y="207"/>
                    <a:pt x="72" y="207"/>
                    <a:pt x="71" y="206"/>
                  </a:cubicBezTo>
                  <a:cubicBezTo>
                    <a:pt x="71" y="206"/>
                    <a:pt x="70" y="204"/>
                    <a:pt x="70" y="203"/>
                  </a:cubicBezTo>
                  <a:cubicBezTo>
                    <a:pt x="68" y="200"/>
                    <a:pt x="67" y="198"/>
                    <a:pt x="65" y="197"/>
                  </a:cubicBezTo>
                  <a:cubicBezTo>
                    <a:pt x="64" y="197"/>
                    <a:pt x="64" y="197"/>
                    <a:pt x="64" y="197"/>
                  </a:cubicBezTo>
                  <a:cubicBezTo>
                    <a:pt x="64" y="197"/>
                    <a:pt x="64" y="197"/>
                    <a:pt x="64" y="197"/>
                  </a:cubicBezTo>
                  <a:cubicBezTo>
                    <a:pt x="63" y="197"/>
                    <a:pt x="62" y="197"/>
                    <a:pt x="61" y="198"/>
                  </a:cubicBezTo>
                  <a:cubicBezTo>
                    <a:pt x="60" y="199"/>
                    <a:pt x="60" y="200"/>
                    <a:pt x="60" y="201"/>
                  </a:cubicBezTo>
                  <a:cubicBezTo>
                    <a:pt x="60" y="202"/>
                    <a:pt x="60" y="204"/>
                    <a:pt x="59" y="204"/>
                  </a:cubicBezTo>
                  <a:cubicBezTo>
                    <a:pt x="58" y="205"/>
                    <a:pt x="56" y="205"/>
                    <a:pt x="55" y="205"/>
                  </a:cubicBezTo>
                  <a:cubicBezTo>
                    <a:pt x="54" y="205"/>
                    <a:pt x="54" y="205"/>
                    <a:pt x="53" y="205"/>
                  </a:cubicBezTo>
                  <a:cubicBezTo>
                    <a:pt x="51" y="204"/>
                    <a:pt x="51" y="204"/>
                    <a:pt x="51" y="204"/>
                  </a:cubicBezTo>
                  <a:cubicBezTo>
                    <a:pt x="51" y="203"/>
                    <a:pt x="51" y="203"/>
                    <a:pt x="51" y="202"/>
                  </a:cubicBezTo>
                  <a:cubicBezTo>
                    <a:pt x="51" y="202"/>
                    <a:pt x="50" y="201"/>
                    <a:pt x="50" y="201"/>
                  </a:cubicBezTo>
                  <a:cubicBezTo>
                    <a:pt x="49" y="199"/>
                    <a:pt x="49" y="199"/>
                    <a:pt x="49" y="199"/>
                  </a:cubicBezTo>
                  <a:cubicBezTo>
                    <a:pt x="47" y="201"/>
                    <a:pt x="47" y="201"/>
                    <a:pt x="47" y="201"/>
                  </a:cubicBezTo>
                  <a:cubicBezTo>
                    <a:pt x="47" y="201"/>
                    <a:pt x="46" y="201"/>
                    <a:pt x="46" y="202"/>
                  </a:cubicBezTo>
                  <a:cubicBezTo>
                    <a:pt x="45" y="203"/>
                    <a:pt x="44" y="204"/>
                    <a:pt x="42" y="205"/>
                  </a:cubicBezTo>
                  <a:cubicBezTo>
                    <a:pt x="42" y="206"/>
                    <a:pt x="42" y="206"/>
                    <a:pt x="42" y="206"/>
                  </a:cubicBezTo>
                  <a:cubicBezTo>
                    <a:pt x="41" y="207"/>
                    <a:pt x="41" y="207"/>
                    <a:pt x="40" y="207"/>
                  </a:cubicBezTo>
                  <a:cubicBezTo>
                    <a:pt x="40" y="207"/>
                    <a:pt x="39" y="207"/>
                    <a:pt x="39" y="207"/>
                  </a:cubicBezTo>
                  <a:cubicBezTo>
                    <a:pt x="37" y="207"/>
                    <a:pt x="37" y="207"/>
                    <a:pt x="37" y="207"/>
                  </a:cubicBezTo>
                  <a:cubicBezTo>
                    <a:pt x="37" y="209"/>
                    <a:pt x="37" y="209"/>
                    <a:pt x="37" y="209"/>
                  </a:cubicBezTo>
                  <a:cubicBezTo>
                    <a:pt x="37" y="210"/>
                    <a:pt x="37" y="211"/>
                    <a:pt x="37" y="212"/>
                  </a:cubicBezTo>
                  <a:cubicBezTo>
                    <a:pt x="37" y="214"/>
                    <a:pt x="37" y="215"/>
                    <a:pt x="37" y="216"/>
                  </a:cubicBezTo>
                  <a:cubicBezTo>
                    <a:pt x="33" y="216"/>
                    <a:pt x="32" y="217"/>
                    <a:pt x="30" y="220"/>
                  </a:cubicBezTo>
                  <a:cubicBezTo>
                    <a:pt x="28" y="222"/>
                    <a:pt x="27" y="224"/>
                    <a:pt x="25" y="226"/>
                  </a:cubicBezTo>
                  <a:cubicBezTo>
                    <a:pt x="24" y="227"/>
                    <a:pt x="22" y="229"/>
                    <a:pt x="21" y="231"/>
                  </a:cubicBezTo>
                  <a:cubicBezTo>
                    <a:pt x="19" y="233"/>
                    <a:pt x="17" y="235"/>
                    <a:pt x="15" y="237"/>
                  </a:cubicBezTo>
                  <a:cubicBezTo>
                    <a:pt x="14" y="238"/>
                    <a:pt x="14" y="238"/>
                    <a:pt x="14" y="238"/>
                  </a:cubicBezTo>
                  <a:cubicBezTo>
                    <a:pt x="13" y="239"/>
                    <a:pt x="12" y="240"/>
                    <a:pt x="12" y="242"/>
                  </a:cubicBezTo>
                  <a:cubicBezTo>
                    <a:pt x="12" y="243"/>
                    <a:pt x="12" y="244"/>
                    <a:pt x="12" y="245"/>
                  </a:cubicBezTo>
                  <a:cubicBezTo>
                    <a:pt x="13" y="246"/>
                    <a:pt x="13" y="248"/>
                    <a:pt x="12" y="249"/>
                  </a:cubicBezTo>
                  <a:cubicBezTo>
                    <a:pt x="12" y="250"/>
                    <a:pt x="12" y="250"/>
                    <a:pt x="12" y="250"/>
                  </a:cubicBezTo>
                  <a:cubicBezTo>
                    <a:pt x="11" y="251"/>
                    <a:pt x="11" y="252"/>
                    <a:pt x="11" y="253"/>
                  </a:cubicBezTo>
                  <a:cubicBezTo>
                    <a:pt x="11" y="255"/>
                    <a:pt x="11" y="255"/>
                    <a:pt x="11" y="255"/>
                  </a:cubicBezTo>
                  <a:cubicBezTo>
                    <a:pt x="11" y="256"/>
                    <a:pt x="11" y="257"/>
                    <a:pt x="10" y="259"/>
                  </a:cubicBezTo>
                  <a:cubicBezTo>
                    <a:pt x="10" y="261"/>
                    <a:pt x="9" y="263"/>
                    <a:pt x="7" y="266"/>
                  </a:cubicBezTo>
                  <a:cubicBezTo>
                    <a:pt x="6" y="267"/>
                    <a:pt x="6" y="267"/>
                    <a:pt x="6" y="267"/>
                  </a:cubicBezTo>
                  <a:cubicBezTo>
                    <a:pt x="6" y="268"/>
                    <a:pt x="5" y="270"/>
                    <a:pt x="4" y="271"/>
                  </a:cubicBezTo>
                  <a:cubicBezTo>
                    <a:pt x="3" y="272"/>
                    <a:pt x="2" y="274"/>
                    <a:pt x="1" y="276"/>
                  </a:cubicBezTo>
                  <a:cubicBezTo>
                    <a:pt x="1" y="277"/>
                    <a:pt x="1" y="278"/>
                    <a:pt x="0" y="279"/>
                  </a:cubicBezTo>
                  <a:cubicBezTo>
                    <a:pt x="0" y="280"/>
                    <a:pt x="0" y="280"/>
                    <a:pt x="0" y="280"/>
                  </a:cubicBezTo>
                  <a:cubicBezTo>
                    <a:pt x="0" y="281"/>
                    <a:pt x="0" y="281"/>
                    <a:pt x="0" y="281"/>
                  </a:cubicBezTo>
                  <a:cubicBezTo>
                    <a:pt x="1" y="282"/>
                    <a:pt x="2" y="283"/>
                    <a:pt x="4" y="284"/>
                  </a:cubicBezTo>
                  <a:cubicBezTo>
                    <a:pt x="4" y="284"/>
                    <a:pt x="5" y="284"/>
                    <a:pt x="5" y="284"/>
                  </a:cubicBezTo>
                  <a:cubicBezTo>
                    <a:pt x="7" y="284"/>
                    <a:pt x="8" y="283"/>
                    <a:pt x="9" y="282"/>
                  </a:cubicBezTo>
                  <a:cubicBezTo>
                    <a:pt x="10" y="282"/>
                    <a:pt x="10" y="281"/>
                    <a:pt x="11" y="281"/>
                  </a:cubicBezTo>
                  <a:cubicBezTo>
                    <a:pt x="11" y="281"/>
                    <a:pt x="11" y="281"/>
                    <a:pt x="11" y="281"/>
                  </a:cubicBezTo>
                  <a:cubicBezTo>
                    <a:pt x="11" y="281"/>
                    <a:pt x="11" y="282"/>
                    <a:pt x="11" y="284"/>
                  </a:cubicBezTo>
                  <a:cubicBezTo>
                    <a:pt x="11" y="286"/>
                    <a:pt x="11" y="287"/>
                    <a:pt x="11" y="287"/>
                  </a:cubicBezTo>
                  <a:cubicBezTo>
                    <a:pt x="12" y="290"/>
                    <a:pt x="14" y="295"/>
                    <a:pt x="17" y="298"/>
                  </a:cubicBezTo>
                  <a:cubicBezTo>
                    <a:pt x="18" y="298"/>
                    <a:pt x="18" y="298"/>
                    <a:pt x="19" y="299"/>
                  </a:cubicBezTo>
                  <a:cubicBezTo>
                    <a:pt x="22" y="301"/>
                    <a:pt x="24" y="303"/>
                    <a:pt x="27" y="304"/>
                  </a:cubicBezTo>
                  <a:cubicBezTo>
                    <a:pt x="28" y="304"/>
                    <a:pt x="29" y="303"/>
                    <a:pt x="30" y="302"/>
                  </a:cubicBezTo>
                  <a:cubicBezTo>
                    <a:pt x="31" y="302"/>
                    <a:pt x="32" y="301"/>
                    <a:pt x="33" y="301"/>
                  </a:cubicBezTo>
                  <a:cubicBezTo>
                    <a:pt x="33" y="301"/>
                    <a:pt x="33" y="301"/>
                    <a:pt x="33" y="301"/>
                  </a:cubicBezTo>
                  <a:cubicBezTo>
                    <a:pt x="33" y="301"/>
                    <a:pt x="32" y="302"/>
                    <a:pt x="32" y="303"/>
                  </a:cubicBezTo>
                  <a:cubicBezTo>
                    <a:pt x="31" y="304"/>
                    <a:pt x="30" y="306"/>
                    <a:pt x="31" y="309"/>
                  </a:cubicBezTo>
                  <a:cubicBezTo>
                    <a:pt x="32" y="312"/>
                    <a:pt x="34" y="315"/>
                    <a:pt x="35" y="318"/>
                  </a:cubicBezTo>
                  <a:cubicBezTo>
                    <a:pt x="37" y="320"/>
                    <a:pt x="38" y="322"/>
                    <a:pt x="39" y="324"/>
                  </a:cubicBezTo>
                  <a:cubicBezTo>
                    <a:pt x="39" y="324"/>
                    <a:pt x="40" y="325"/>
                    <a:pt x="40" y="325"/>
                  </a:cubicBezTo>
                  <a:cubicBezTo>
                    <a:pt x="41" y="328"/>
                    <a:pt x="41" y="329"/>
                    <a:pt x="41" y="331"/>
                  </a:cubicBezTo>
                  <a:cubicBezTo>
                    <a:pt x="40" y="334"/>
                    <a:pt x="39" y="336"/>
                    <a:pt x="38" y="340"/>
                  </a:cubicBezTo>
                  <a:cubicBezTo>
                    <a:pt x="38" y="341"/>
                    <a:pt x="38" y="343"/>
                    <a:pt x="37" y="345"/>
                  </a:cubicBezTo>
                  <a:cubicBezTo>
                    <a:pt x="37" y="347"/>
                    <a:pt x="36" y="349"/>
                    <a:pt x="36" y="350"/>
                  </a:cubicBezTo>
                  <a:cubicBezTo>
                    <a:pt x="36" y="352"/>
                    <a:pt x="36" y="352"/>
                    <a:pt x="36" y="352"/>
                  </a:cubicBezTo>
                  <a:cubicBezTo>
                    <a:pt x="37" y="352"/>
                    <a:pt x="37" y="352"/>
                    <a:pt x="37" y="352"/>
                  </a:cubicBezTo>
                  <a:cubicBezTo>
                    <a:pt x="38" y="353"/>
                    <a:pt x="39" y="354"/>
                    <a:pt x="40" y="355"/>
                  </a:cubicBezTo>
                  <a:cubicBezTo>
                    <a:pt x="41" y="357"/>
                    <a:pt x="42" y="358"/>
                    <a:pt x="44" y="359"/>
                  </a:cubicBezTo>
                  <a:cubicBezTo>
                    <a:pt x="45" y="359"/>
                    <a:pt x="45" y="359"/>
                    <a:pt x="45" y="359"/>
                  </a:cubicBezTo>
                  <a:cubicBezTo>
                    <a:pt x="85" y="359"/>
                    <a:pt x="85" y="359"/>
                    <a:pt x="85" y="359"/>
                  </a:cubicBezTo>
                  <a:cubicBezTo>
                    <a:pt x="85" y="357"/>
                    <a:pt x="85" y="357"/>
                    <a:pt x="85" y="357"/>
                  </a:cubicBezTo>
                  <a:cubicBezTo>
                    <a:pt x="85" y="355"/>
                    <a:pt x="85" y="355"/>
                    <a:pt x="85" y="355"/>
                  </a:cubicBezTo>
                  <a:cubicBezTo>
                    <a:pt x="101" y="356"/>
                    <a:pt x="101" y="356"/>
                    <a:pt x="101" y="356"/>
                  </a:cubicBezTo>
                  <a:cubicBezTo>
                    <a:pt x="112" y="356"/>
                    <a:pt x="122" y="356"/>
                    <a:pt x="133" y="357"/>
                  </a:cubicBezTo>
                  <a:cubicBezTo>
                    <a:pt x="134" y="357"/>
                    <a:pt x="134" y="357"/>
                    <a:pt x="134" y="357"/>
                  </a:cubicBezTo>
                  <a:cubicBezTo>
                    <a:pt x="135" y="357"/>
                    <a:pt x="137" y="357"/>
                    <a:pt x="138" y="357"/>
                  </a:cubicBezTo>
                  <a:cubicBezTo>
                    <a:pt x="139" y="357"/>
                    <a:pt x="140" y="358"/>
                    <a:pt x="141" y="358"/>
                  </a:cubicBezTo>
                  <a:cubicBezTo>
                    <a:pt x="142" y="359"/>
                    <a:pt x="143" y="359"/>
                    <a:pt x="144" y="360"/>
                  </a:cubicBezTo>
                  <a:cubicBezTo>
                    <a:pt x="144" y="360"/>
                    <a:pt x="145" y="360"/>
                    <a:pt x="145" y="360"/>
                  </a:cubicBezTo>
                  <a:cubicBezTo>
                    <a:pt x="146" y="360"/>
                    <a:pt x="146" y="360"/>
                    <a:pt x="147" y="360"/>
                  </a:cubicBezTo>
                  <a:cubicBezTo>
                    <a:pt x="147" y="360"/>
                    <a:pt x="148" y="360"/>
                    <a:pt x="148" y="360"/>
                  </a:cubicBezTo>
                  <a:cubicBezTo>
                    <a:pt x="149" y="360"/>
                    <a:pt x="149" y="360"/>
                    <a:pt x="149" y="360"/>
                  </a:cubicBezTo>
                  <a:cubicBezTo>
                    <a:pt x="151" y="360"/>
                    <a:pt x="153" y="360"/>
                    <a:pt x="156" y="360"/>
                  </a:cubicBezTo>
                  <a:cubicBezTo>
                    <a:pt x="158" y="360"/>
                    <a:pt x="160" y="360"/>
                    <a:pt x="162" y="360"/>
                  </a:cubicBezTo>
                  <a:cubicBezTo>
                    <a:pt x="165" y="360"/>
                    <a:pt x="167" y="360"/>
                    <a:pt x="169" y="360"/>
                  </a:cubicBezTo>
                  <a:cubicBezTo>
                    <a:pt x="174" y="360"/>
                    <a:pt x="177" y="360"/>
                    <a:pt x="180" y="361"/>
                  </a:cubicBezTo>
                  <a:cubicBezTo>
                    <a:pt x="182" y="361"/>
                    <a:pt x="184" y="362"/>
                    <a:pt x="186" y="363"/>
                  </a:cubicBezTo>
                  <a:cubicBezTo>
                    <a:pt x="189" y="365"/>
                    <a:pt x="193" y="366"/>
                    <a:pt x="196" y="366"/>
                  </a:cubicBezTo>
                  <a:cubicBezTo>
                    <a:pt x="197" y="366"/>
                    <a:pt x="197" y="366"/>
                    <a:pt x="197" y="366"/>
                  </a:cubicBezTo>
                  <a:cubicBezTo>
                    <a:pt x="199" y="366"/>
                    <a:pt x="200" y="366"/>
                    <a:pt x="201" y="366"/>
                  </a:cubicBezTo>
                  <a:cubicBezTo>
                    <a:pt x="202" y="366"/>
                    <a:pt x="203" y="366"/>
                    <a:pt x="205" y="366"/>
                  </a:cubicBezTo>
                  <a:cubicBezTo>
                    <a:pt x="207" y="366"/>
                    <a:pt x="210" y="366"/>
                    <a:pt x="213" y="369"/>
                  </a:cubicBezTo>
                  <a:cubicBezTo>
                    <a:pt x="214" y="369"/>
                    <a:pt x="214" y="370"/>
                    <a:pt x="215" y="370"/>
                  </a:cubicBezTo>
                  <a:cubicBezTo>
                    <a:pt x="218" y="373"/>
                    <a:pt x="219" y="374"/>
                    <a:pt x="220" y="374"/>
                  </a:cubicBezTo>
                  <a:cubicBezTo>
                    <a:pt x="221" y="374"/>
                    <a:pt x="221" y="374"/>
                    <a:pt x="221" y="374"/>
                  </a:cubicBezTo>
                  <a:cubicBezTo>
                    <a:pt x="221" y="374"/>
                    <a:pt x="221" y="374"/>
                    <a:pt x="221" y="374"/>
                  </a:cubicBezTo>
                  <a:cubicBezTo>
                    <a:pt x="222" y="373"/>
                    <a:pt x="223" y="372"/>
                    <a:pt x="223" y="371"/>
                  </a:cubicBezTo>
                  <a:cubicBezTo>
                    <a:pt x="224" y="367"/>
                    <a:pt x="224" y="364"/>
                    <a:pt x="223" y="36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64" name="Freeform 64">
              <a:extLst>
                <a:ext uri="{FF2B5EF4-FFF2-40B4-BE49-F238E27FC236}">
                  <a16:creationId xmlns:a16="http://schemas.microsoft.com/office/drawing/2014/main" id="{B954F23F-BBD4-4420-B126-6E231BFD56EE}"/>
                </a:ext>
              </a:extLst>
            </p:cNvPr>
            <p:cNvSpPr>
              <a:spLocks/>
            </p:cNvSpPr>
            <p:nvPr/>
          </p:nvSpPr>
          <p:spPr bwMode="auto">
            <a:xfrm>
              <a:off x="2462047" y="2289505"/>
              <a:ext cx="39061" cy="39039"/>
            </a:xfrm>
            <a:custGeom>
              <a:avLst/>
              <a:gdLst>
                <a:gd name="T0" fmla="*/ 14 w 19"/>
                <a:gd name="T1" fmla="*/ 0 h 21"/>
                <a:gd name="T2" fmla="*/ 13 w 19"/>
                <a:gd name="T3" fmla="*/ 0 h 21"/>
                <a:gd name="T4" fmla="*/ 8 w 19"/>
                <a:gd name="T5" fmla="*/ 5 h 21"/>
                <a:gd name="T6" fmla="*/ 7 w 19"/>
                <a:gd name="T7" fmla="*/ 8 h 21"/>
                <a:gd name="T8" fmla="*/ 5 w 19"/>
                <a:gd name="T9" fmla="*/ 9 h 21"/>
                <a:gd name="T10" fmla="*/ 1 w 19"/>
                <a:gd name="T11" fmla="*/ 16 h 21"/>
                <a:gd name="T12" fmla="*/ 8 w 19"/>
                <a:gd name="T13" fmla="*/ 21 h 21"/>
                <a:gd name="T14" fmla="*/ 11 w 19"/>
                <a:gd name="T15" fmla="*/ 20 h 21"/>
                <a:gd name="T16" fmla="*/ 12 w 19"/>
                <a:gd name="T17" fmla="*/ 20 h 21"/>
                <a:gd name="T18" fmla="*/ 12 w 19"/>
                <a:gd name="T19" fmla="*/ 19 h 21"/>
                <a:gd name="T20" fmla="*/ 14 w 19"/>
                <a:gd name="T21" fmla="*/ 16 h 21"/>
                <a:gd name="T22" fmla="*/ 17 w 19"/>
                <a:gd name="T23" fmla="*/ 2 h 21"/>
                <a:gd name="T24" fmla="*/ 14 w 19"/>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1">
                  <a:moveTo>
                    <a:pt x="14" y="0"/>
                  </a:moveTo>
                  <a:cubicBezTo>
                    <a:pt x="13" y="0"/>
                    <a:pt x="13" y="0"/>
                    <a:pt x="13" y="0"/>
                  </a:cubicBezTo>
                  <a:cubicBezTo>
                    <a:pt x="9" y="0"/>
                    <a:pt x="8" y="3"/>
                    <a:pt x="8" y="5"/>
                  </a:cubicBezTo>
                  <a:cubicBezTo>
                    <a:pt x="7" y="6"/>
                    <a:pt x="7" y="7"/>
                    <a:pt x="7" y="8"/>
                  </a:cubicBezTo>
                  <a:cubicBezTo>
                    <a:pt x="6" y="8"/>
                    <a:pt x="6" y="8"/>
                    <a:pt x="5" y="9"/>
                  </a:cubicBezTo>
                  <a:cubicBezTo>
                    <a:pt x="3" y="10"/>
                    <a:pt x="0" y="12"/>
                    <a:pt x="1" y="16"/>
                  </a:cubicBezTo>
                  <a:cubicBezTo>
                    <a:pt x="2" y="19"/>
                    <a:pt x="5" y="21"/>
                    <a:pt x="8" y="21"/>
                  </a:cubicBezTo>
                  <a:cubicBezTo>
                    <a:pt x="9" y="21"/>
                    <a:pt x="10" y="21"/>
                    <a:pt x="11" y="20"/>
                  </a:cubicBezTo>
                  <a:cubicBezTo>
                    <a:pt x="12" y="20"/>
                    <a:pt x="12" y="20"/>
                    <a:pt x="12" y="20"/>
                  </a:cubicBezTo>
                  <a:cubicBezTo>
                    <a:pt x="12" y="19"/>
                    <a:pt x="12" y="19"/>
                    <a:pt x="12" y="19"/>
                  </a:cubicBezTo>
                  <a:cubicBezTo>
                    <a:pt x="13" y="19"/>
                    <a:pt x="13" y="17"/>
                    <a:pt x="14" y="16"/>
                  </a:cubicBezTo>
                  <a:cubicBezTo>
                    <a:pt x="17" y="10"/>
                    <a:pt x="19" y="5"/>
                    <a:pt x="17" y="2"/>
                  </a:cubicBezTo>
                  <a:cubicBezTo>
                    <a:pt x="17" y="1"/>
                    <a:pt x="16" y="0"/>
                    <a:pt x="14" y="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65" name="Freeform 65">
              <a:extLst>
                <a:ext uri="{FF2B5EF4-FFF2-40B4-BE49-F238E27FC236}">
                  <a16:creationId xmlns:a16="http://schemas.microsoft.com/office/drawing/2014/main" id="{5736988B-7CC1-4724-A405-1D3319FAC9EC}"/>
                </a:ext>
              </a:extLst>
            </p:cNvPr>
            <p:cNvSpPr>
              <a:spLocks/>
            </p:cNvSpPr>
            <p:nvPr/>
          </p:nvSpPr>
          <p:spPr bwMode="auto">
            <a:xfrm>
              <a:off x="2514500" y="2370666"/>
              <a:ext cx="126111" cy="91434"/>
            </a:xfrm>
            <a:custGeom>
              <a:avLst/>
              <a:gdLst>
                <a:gd name="T0" fmla="*/ 62 w 62"/>
                <a:gd name="T1" fmla="*/ 9 h 49"/>
                <a:gd name="T2" fmla="*/ 22 w 62"/>
                <a:gd name="T3" fmla="*/ 9 h 49"/>
                <a:gd name="T4" fmla="*/ 17 w 62"/>
                <a:gd name="T5" fmla="*/ 5 h 49"/>
                <a:gd name="T6" fmla="*/ 16 w 62"/>
                <a:gd name="T7" fmla="*/ 4 h 49"/>
                <a:gd name="T8" fmla="*/ 13 w 62"/>
                <a:gd name="T9" fmla="*/ 0 h 49"/>
                <a:gd name="T10" fmla="*/ 13 w 62"/>
                <a:gd name="T11" fmla="*/ 5 h 49"/>
                <a:gd name="T12" fmla="*/ 13 w 62"/>
                <a:gd name="T13" fmla="*/ 8 h 49"/>
                <a:gd name="T14" fmla="*/ 13 w 62"/>
                <a:gd name="T15" fmla="*/ 11 h 49"/>
                <a:gd name="T16" fmla="*/ 14 w 62"/>
                <a:gd name="T17" fmla="*/ 15 h 49"/>
                <a:gd name="T18" fmla="*/ 11 w 62"/>
                <a:gd name="T19" fmla="*/ 21 h 49"/>
                <a:gd name="T20" fmla="*/ 9 w 62"/>
                <a:gd name="T21" fmla="*/ 26 h 49"/>
                <a:gd name="T22" fmla="*/ 6 w 62"/>
                <a:gd name="T23" fmla="*/ 31 h 49"/>
                <a:gd name="T24" fmla="*/ 5 w 62"/>
                <a:gd name="T25" fmla="*/ 32 h 49"/>
                <a:gd name="T26" fmla="*/ 2 w 62"/>
                <a:gd name="T27" fmla="*/ 43 h 49"/>
                <a:gd name="T28" fmla="*/ 6 w 62"/>
                <a:gd name="T29" fmla="*/ 46 h 49"/>
                <a:gd name="T30" fmla="*/ 7 w 62"/>
                <a:gd name="T31" fmla="*/ 47 h 49"/>
                <a:gd name="T32" fmla="*/ 8 w 62"/>
                <a:gd name="T33" fmla="*/ 48 h 49"/>
                <a:gd name="T34" fmla="*/ 10 w 62"/>
                <a:gd name="T35" fmla="*/ 47 h 49"/>
                <a:gd name="T36" fmla="*/ 14 w 62"/>
                <a:gd name="T37" fmla="*/ 46 h 49"/>
                <a:gd name="T38" fmla="*/ 14 w 62"/>
                <a:gd name="T39" fmla="*/ 46 h 49"/>
                <a:gd name="T40" fmla="*/ 17 w 62"/>
                <a:gd name="T41" fmla="*/ 48 h 49"/>
                <a:gd name="T42" fmla="*/ 20 w 62"/>
                <a:gd name="T43" fmla="*/ 49 h 49"/>
                <a:gd name="T44" fmla="*/ 22 w 62"/>
                <a:gd name="T45" fmla="*/ 49 h 49"/>
                <a:gd name="T46" fmla="*/ 62 w 62"/>
                <a:gd name="T47" fmla="*/ 49 h 49"/>
                <a:gd name="T48" fmla="*/ 62 w 62"/>
                <a:gd name="T49"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49">
                  <a:moveTo>
                    <a:pt x="62" y="9"/>
                  </a:moveTo>
                  <a:cubicBezTo>
                    <a:pt x="22" y="9"/>
                    <a:pt x="22" y="9"/>
                    <a:pt x="22" y="9"/>
                  </a:cubicBezTo>
                  <a:cubicBezTo>
                    <a:pt x="20" y="8"/>
                    <a:pt x="19" y="6"/>
                    <a:pt x="17" y="5"/>
                  </a:cubicBezTo>
                  <a:cubicBezTo>
                    <a:pt x="17" y="4"/>
                    <a:pt x="16" y="4"/>
                    <a:pt x="16" y="4"/>
                  </a:cubicBezTo>
                  <a:cubicBezTo>
                    <a:pt x="13" y="0"/>
                    <a:pt x="13" y="0"/>
                    <a:pt x="13" y="0"/>
                  </a:cubicBezTo>
                  <a:cubicBezTo>
                    <a:pt x="13" y="5"/>
                    <a:pt x="13" y="5"/>
                    <a:pt x="13" y="5"/>
                  </a:cubicBezTo>
                  <a:cubicBezTo>
                    <a:pt x="13" y="6"/>
                    <a:pt x="13" y="7"/>
                    <a:pt x="13" y="8"/>
                  </a:cubicBezTo>
                  <a:cubicBezTo>
                    <a:pt x="13" y="9"/>
                    <a:pt x="13" y="10"/>
                    <a:pt x="13" y="11"/>
                  </a:cubicBezTo>
                  <a:cubicBezTo>
                    <a:pt x="14" y="12"/>
                    <a:pt x="14" y="13"/>
                    <a:pt x="14" y="15"/>
                  </a:cubicBezTo>
                  <a:cubicBezTo>
                    <a:pt x="14" y="17"/>
                    <a:pt x="13" y="19"/>
                    <a:pt x="11" y="21"/>
                  </a:cubicBezTo>
                  <a:cubicBezTo>
                    <a:pt x="10" y="23"/>
                    <a:pt x="9" y="24"/>
                    <a:pt x="9" y="26"/>
                  </a:cubicBezTo>
                  <a:cubicBezTo>
                    <a:pt x="8" y="28"/>
                    <a:pt x="7" y="30"/>
                    <a:pt x="6" y="31"/>
                  </a:cubicBezTo>
                  <a:cubicBezTo>
                    <a:pt x="5" y="32"/>
                    <a:pt x="5" y="32"/>
                    <a:pt x="5" y="32"/>
                  </a:cubicBezTo>
                  <a:cubicBezTo>
                    <a:pt x="3" y="35"/>
                    <a:pt x="0" y="40"/>
                    <a:pt x="2" y="43"/>
                  </a:cubicBezTo>
                  <a:cubicBezTo>
                    <a:pt x="3" y="45"/>
                    <a:pt x="5" y="46"/>
                    <a:pt x="6" y="46"/>
                  </a:cubicBezTo>
                  <a:cubicBezTo>
                    <a:pt x="7" y="46"/>
                    <a:pt x="7" y="46"/>
                    <a:pt x="7" y="47"/>
                  </a:cubicBezTo>
                  <a:cubicBezTo>
                    <a:pt x="8" y="48"/>
                    <a:pt x="8" y="48"/>
                    <a:pt x="8" y="48"/>
                  </a:cubicBezTo>
                  <a:cubicBezTo>
                    <a:pt x="10" y="47"/>
                    <a:pt x="10" y="47"/>
                    <a:pt x="10" y="47"/>
                  </a:cubicBezTo>
                  <a:cubicBezTo>
                    <a:pt x="11" y="47"/>
                    <a:pt x="13" y="46"/>
                    <a:pt x="14" y="46"/>
                  </a:cubicBezTo>
                  <a:cubicBezTo>
                    <a:pt x="14" y="46"/>
                    <a:pt x="14" y="46"/>
                    <a:pt x="14" y="46"/>
                  </a:cubicBezTo>
                  <a:cubicBezTo>
                    <a:pt x="15" y="46"/>
                    <a:pt x="16" y="47"/>
                    <a:pt x="17" y="48"/>
                  </a:cubicBezTo>
                  <a:cubicBezTo>
                    <a:pt x="18" y="49"/>
                    <a:pt x="19" y="49"/>
                    <a:pt x="20" y="49"/>
                  </a:cubicBezTo>
                  <a:cubicBezTo>
                    <a:pt x="21" y="49"/>
                    <a:pt x="22" y="49"/>
                    <a:pt x="22" y="49"/>
                  </a:cubicBezTo>
                  <a:cubicBezTo>
                    <a:pt x="62" y="49"/>
                    <a:pt x="62" y="49"/>
                    <a:pt x="62" y="49"/>
                  </a:cubicBezTo>
                  <a:lnTo>
                    <a:pt x="62" y="9"/>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66" name="Freeform 66">
              <a:extLst>
                <a:ext uri="{FF2B5EF4-FFF2-40B4-BE49-F238E27FC236}">
                  <a16:creationId xmlns:a16="http://schemas.microsoft.com/office/drawing/2014/main" id="{3C90EEE9-9097-45D0-BB93-5F2B0950792F}"/>
                </a:ext>
              </a:extLst>
            </p:cNvPr>
            <p:cNvSpPr>
              <a:spLocks noEditPoints="1"/>
            </p:cNvSpPr>
            <p:nvPr/>
          </p:nvSpPr>
          <p:spPr bwMode="auto">
            <a:xfrm>
              <a:off x="3966445" y="2239165"/>
              <a:ext cx="467613" cy="579426"/>
            </a:xfrm>
            <a:custGeom>
              <a:avLst/>
              <a:gdLst>
                <a:gd name="T0" fmla="*/ 222 w 231"/>
                <a:gd name="T1" fmla="*/ 23 h 311"/>
                <a:gd name="T2" fmla="*/ 211 w 231"/>
                <a:gd name="T3" fmla="*/ 23 h 311"/>
                <a:gd name="T4" fmla="*/ 163 w 231"/>
                <a:gd name="T5" fmla="*/ 41 h 311"/>
                <a:gd name="T6" fmla="*/ 59 w 231"/>
                <a:gd name="T7" fmla="*/ 8 h 311"/>
                <a:gd name="T8" fmla="*/ 54 w 231"/>
                <a:gd name="T9" fmla="*/ 0 h 311"/>
                <a:gd name="T10" fmla="*/ 3 w 231"/>
                <a:gd name="T11" fmla="*/ 14 h 311"/>
                <a:gd name="T12" fmla="*/ 7 w 231"/>
                <a:gd name="T13" fmla="*/ 28 h 311"/>
                <a:gd name="T14" fmla="*/ 12 w 231"/>
                <a:gd name="T15" fmla="*/ 31 h 311"/>
                <a:gd name="T16" fmla="*/ 14 w 231"/>
                <a:gd name="T17" fmla="*/ 39 h 311"/>
                <a:gd name="T18" fmla="*/ 14 w 231"/>
                <a:gd name="T19" fmla="*/ 44 h 311"/>
                <a:gd name="T20" fmla="*/ 17 w 231"/>
                <a:gd name="T21" fmla="*/ 50 h 311"/>
                <a:gd name="T22" fmla="*/ 19 w 231"/>
                <a:gd name="T23" fmla="*/ 54 h 311"/>
                <a:gd name="T24" fmla="*/ 26 w 231"/>
                <a:gd name="T25" fmla="*/ 65 h 311"/>
                <a:gd name="T26" fmla="*/ 29 w 231"/>
                <a:gd name="T27" fmla="*/ 77 h 311"/>
                <a:gd name="T28" fmla="*/ 32 w 231"/>
                <a:gd name="T29" fmla="*/ 93 h 311"/>
                <a:gd name="T30" fmla="*/ 25 w 231"/>
                <a:gd name="T31" fmla="*/ 112 h 311"/>
                <a:gd name="T32" fmla="*/ 16 w 231"/>
                <a:gd name="T33" fmla="*/ 122 h 311"/>
                <a:gd name="T34" fmla="*/ 12 w 231"/>
                <a:gd name="T35" fmla="*/ 130 h 311"/>
                <a:gd name="T36" fmla="*/ 7 w 231"/>
                <a:gd name="T37" fmla="*/ 133 h 311"/>
                <a:gd name="T38" fmla="*/ 3 w 231"/>
                <a:gd name="T39" fmla="*/ 145 h 311"/>
                <a:gd name="T40" fmla="*/ 0 w 231"/>
                <a:gd name="T41" fmla="*/ 153 h 311"/>
                <a:gd name="T42" fmla="*/ 4 w 231"/>
                <a:gd name="T43" fmla="*/ 158 h 311"/>
                <a:gd name="T44" fmla="*/ 9 w 231"/>
                <a:gd name="T45" fmla="*/ 166 h 311"/>
                <a:gd name="T46" fmla="*/ 6 w 231"/>
                <a:gd name="T47" fmla="*/ 167 h 311"/>
                <a:gd name="T48" fmla="*/ 1 w 231"/>
                <a:gd name="T49" fmla="*/ 179 h 311"/>
                <a:gd name="T50" fmla="*/ 3 w 231"/>
                <a:gd name="T51" fmla="*/ 185 h 311"/>
                <a:gd name="T52" fmla="*/ 20 w 231"/>
                <a:gd name="T53" fmla="*/ 198 h 311"/>
                <a:gd name="T54" fmla="*/ 54 w 231"/>
                <a:gd name="T55" fmla="*/ 219 h 311"/>
                <a:gd name="T56" fmla="*/ 106 w 231"/>
                <a:gd name="T57" fmla="*/ 251 h 311"/>
                <a:gd name="T58" fmla="*/ 107 w 231"/>
                <a:gd name="T59" fmla="*/ 268 h 311"/>
                <a:gd name="T60" fmla="*/ 113 w 231"/>
                <a:gd name="T61" fmla="*/ 274 h 311"/>
                <a:gd name="T62" fmla="*/ 118 w 231"/>
                <a:gd name="T63" fmla="*/ 279 h 311"/>
                <a:gd name="T64" fmla="*/ 157 w 231"/>
                <a:gd name="T65" fmla="*/ 307 h 311"/>
                <a:gd name="T66" fmla="*/ 165 w 231"/>
                <a:gd name="T67" fmla="*/ 297 h 311"/>
                <a:gd name="T68" fmla="*/ 171 w 231"/>
                <a:gd name="T69" fmla="*/ 285 h 311"/>
                <a:gd name="T70" fmla="*/ 174 w 231"/>
                <a:gd name="T71" fmla="*/ 274 h 311"/>
                <a:gd name="T72" fmla="*/ 176 w 231"/>
                <a:gd name="T73" fmla="*/ 269 h 311"/>
                <a:gd name="T74" fmla="*/ 182 w 231"/>
                <a:gd name="T75" fmla="*/ 261 h 311"/>
                <a:gd name="T76" fmla="*/ 184 w 231"/>
                <a:gd name="T77" fmla="*/ 251 h 311"/>
                <a:gd name="T78" fmla="*/ 185 w 231"/>
                <a:gd name="T79" fmla="*/ 246 h 311"/>
                <a:gd name="T80" fmla="*/ 195 w 231"/>
                <a:gd name="T81" fmla="*/ 239 h 311"/>
                <a:gd name="T82" fmla="*/ 203 w 231"/>
                <a:gd name="T83" fmla="*/ 230 h 311"/>
                <a:gd name="T84" fmla="*/ 206 w 231"/>
                <a:gd name="T85" fmla="*/ 224 h 311"/>
                <a:gd name="T86" fmla="*/ 207 w 231"/>
                <a:gd name="T87" fmla="*/ 221 h 311"/>
                <a:gd name="T88" fmla="*/ 213 w 231"/>
                <a:gd name="T89" fmla="*/ 219 h 311"/>
                <a:gd name="T90" fmla="*/ 217 w 231"/>
                <a:gd name="T91" fmla="*/ 219 h 311"/>
                <a:gd name="T92" fmla="*/ 220 w 231"/>
                <a:gd name="T93" fmla="*/ 216 h 311"/>
                <a:gd name="T94" fmla="*/ 225 w 231"/>
                <a:gd name="T95" fmla="*/ 207 h 311"/>
                <a:gd name="T96" fmla="*/ 229 w 231"/>
                <a:gd name="T97" fmla="*/ 26 h 311"/>
                <a:gd name="T98" fmla="*/ 16 w 231"/>
                <a:gd name="T99" fmla="*/ 163 h 311"/>
                <a:gd name="T100" fmla="*/ 22 w 231"/>
                <a:gd name="T101" fmla="*/ 160 h 311"/>
                <a:gd name="T102" fmla="*/ 13 w 231"/>
                <a:gd name="T103" fmla="*/ 165 h 311"/>
                <a:gd name="T104" fmla="*/ 12 w 231"/>
                <a:gd name="T105" fmla="*/ 16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1" h="311">
                  <a:moveTo>
                    <a:pt x="231" y="22"/>
                  </a:moveTo>
                  <a:cubicBezTo>
                    <a:pt x="227" y="23"/>
                    <a:pt x="227" y="23"/>
                    <a:pt x="227" y="23"/>
                  </a:cubicBezTo>
                  <a:cubicBezTo>
                    <a:pt x="225" y="23"/>
                    <a:pt x="224" y="23"/>
                    <a:pt x="222" y="23"/>
                  </a:cubicBezTo>
                  <a:cubicBezTo>
                    <a:pt x="220" y="23"/>
                    <a:pt x="218" y="23"/>
                    <a:pt x="216" y="23"/>
                  </a:cubicBezTo>
                  <a:cubicBezTo>
                    <a:pt x="215" y="23"/>
                    <a:pt x="214" y="23"/>
                    <a:pt x="213" y="23"/>
                  </a:cubicBezTo>
                  <a:cubicBezTo>
                    <a:pt x="212" y="23"/>
                    <a:pt x="212" y="23"/>
                    <a:pt x="211" y="23"/>
                  </a:cubicBezTo>
                  <a:cubicBezTo>
                    <a:pt x="199" y="13"/>
                    <a:pt x="199" y="13"/>
                    <a:pt x="199" y="13"/>
                  </a:cubicBezTo>
                  <a:cubicBezTo>
                    <a:pt x="175" y="23"/>
                    <a:pt x="175" y="23"/>
                    <a:pt x="175" y="23"/>
                  </a:cubicBezTo>
                  <a:cubicBezTo>
                    <a:pt x="163" y="41"/>
                    <a:pt x="163" y="41"/>
                    <a:pt x="163" y="41"/>
                  </a:cubicBezTo>
                  <a:cubicBezTo>
                    <a:pt x="123" y="34"/>
                    <a:pt x="123" y="34"/>
                    <a:pt x="123" y="34"/>
                  </a:cubicBezTo>
                  <a:cubicBezTo>
                    <a:pt x="88" y="8"/>
                    <a:pt x="88" y="8"/>
                    <a:pt x="88" y="8"/>
                  </a:cubicBezTo>
                  <a:cubicBezTo>
                    <a:pt x="59" y="8"/>
                    <a:pt x="59" y="8"/>
                    <a:pt x="59" y="8"/>
                  </a:cubicBezTo>
                  <a:cubicBezTo>
                    <a:pt x="59" y="6"/>
                    <a:pt x="58" y="5"/>
                    <a:pt x="57" y="4"/>
                  </a:cubicBezTo>
                  <a:cubicBezTo>
                    <a:pt x="56" y="3"/>
                    <a:pt x="55" y="2"/>
                    <a:pt x="55" y="1"/>
                  </a:cubicBezTo>
                  <a:cubicBezTo>
                    <a:pt x="54" y="0"/>
                    <a:pt x="54" y="0"/>
                    <a:pt x="54" y="0"/>
                  </a:cubicBezTo>
                  <a:cubicBezTo>
                    <a:pt x="13" y="1"/>
                    <a:pt x="13" y="1"/>
                    <a:pt x="13" y="1"/>
                  </a:cubicBezTo>
                  <a:cubicBezTo>
                    <a:pt x="2" y="13"/>
                    <a:pt x="2" y="13"/>
                    <a:pt x="2" y="13"/>
                  </a:cubicBezTo>
                  <a:cubicBezTo>
                    <a:pt x="3" y="14"/>
                    <a:pt x="3" y="14"/>
                    <a:pt x="3" y="14"/>
                  </a:cubicBezTo>
                  <a:cubicBezTo>
                    <a:pt x="4" y="16"/>
                    <a:pt x="4" y="18"/>
                    <a:pt x="4" y="20"/>
                  </a:cubicBezTo>
                  <a:cubicBezTo>
                    <a:pt x="4" y="23"/>
                    <a:pt x="5" y="25"/>
                    <a:pt x="6" y="27"/>
                  </a:cubicBezTo>
                  <a:cubicBezTo>
                    <a:pt x="7" y="27"/>
                    <a:pt x="7" y="28"/>
                    <a:pt x="7" y="28"/>
                  </a:cubicBezTo>
                  <a:cubicBezTo>
                    <a:pt x="8" y="29"/>
                    <a:pt x="8" y="30"/>
                    <a:pt x="9" y="30"/>
                  </a:cubicBezTo>
                  <a:cubicBezTo>
                    <a:pt x="10" y="31"/>
                    <a:pt x="10" y="31"/>
                    <a:pt x="11" y="31"/>
                  </a:cubicBezTo>
                  <a:cubicBezTo>
                    <a:pt x="11" y="31"/>
                    <a:pt x="12" y="31"/>
                    <a:pt x="12" y="31"/>
                  </a:cubicBezTo>
                  <a:cubicBezTo>
                    <a:pt x="14" y="32"/>
                    <a:pt x="16" y="32"/>
                    <a:pt x="15" y="35"/>
                  </a:cubicBezTo>
                  <a:cubicBezTo>
                    <a:pt x="15" y="36"/>
                    <a:pt x="15" y="36"/>
                    <a:pt x="15" y="37"/>
                  </a:cubicBezTo>
                  <a:cubicBezTo>
                    <a:pt x="15" y="38"/>
                    <a:pt x="14" y="38"/>
                    <a:pt x="14" y="39"/>
                  </a:cubicBezTo>
                  <a:cubicBezTo>
                    <a:pt x="14" y="40"/>
                    <a:pt x="14" y="40"/>
                    <a:pt x="14" y="41"/>
                  </a:cubicBezTo>
                  <a:cubicBezTo>
                    <a:pt x="14" y="42"/>
                    <a:pt x="14" y="42"/>
                    <a:pt x="14" y="42"/>
                  </a:cubicBezTo>
                  <a:cubicBezTo>
                    <a:pt x="14" y="44"/>
                    <a:pt x="14" y="44"/>
                    <a:pt x="14" y="44"/>
                  </a:cubicBezTo>
                  <a:cubicBezTo>
                    <a:pt x="14" y="46"/>
                    <a:pt x="14" y="48"/>
                    <a:pt x="16" y="49"/>
                  </a:cubicBezTo>
                  <a:cubicBezTo>
                    <a:pt x="17" y="50"/>
                    <a:pt x="17" y="50"/>
                    <a:pt x="17" y="50"/>
                  </a:cubicBezTo>
                  <a:cubicBezTo>
                    <a:pt x="17" y="50"/>
                    <a:pt x="17" y="50"/>
                    <a:pt x="17" y="50"/>
                  </a:cubicBezTo>
                  <a:cubicBezTo>
                    <a:pt x="18" y="50"/>
                    <a:pt x="18" y="50"/>
                    <a:pt x="19" y="50"/>
                  </a:cubicBezTo>
                  <a:cubicBezTo>
                    <a:pt x="19" y="51"/>
                    <a:pt x="19" y="52"/>
                    <a:pt x="19" y="53"/>
                  </a:cubicBezTo>
                  <a:cubicBezTo>
                    <a:pt x="19" y="53"/>
                    <a:pt x="19" y="54"/>
                    <a:pt x="19" y="54"/>
                  </a:cubicBezTo>
                  <a:cubicBezTo>
                    <a:pt x="20" y="57"/>
                    <a:pt x="20" y="57"/>
                    <a:pt x="22" y="60"/>
                  </a:cubicBezTo>
                  <a:cubicBezTo>
                    <a:pt x="23" y="61"/>
                    <a:pt x="24" y="63"/>
                    <a:pt x="25" y="64"/>
                  </a:cubicBezTo>
                  <a:cubicBezTo>
                    <a:pt x="26" y="65"/>
                    <a:pt x="26" y="65"/>
                    <a:pt x="26" y="65"/>
                  </a:cubicBezTo>
                  <a:cubicBezTo>
                    <a:pt x="26" y="66"/>
                    <a:pt x="27" y="67"/>
                    <a:pt x="27" y="67"/>
                  </a:cubicBezTo>
                  <a:cubicBezTo>
                    <a:pt x="28" y="68"/>
                    <a:pt x="28" y="68"/>
                    <a:pt x="28" y="69"/>
                  </a:cubicBezTo>
                  <a:cubicBezTo>
                    <a:pt x="30" y="71"/>
                    <a:pt x="29" y="74"/>
                    <a:pt x="29" y="77"/>
                  </a:cubicBezTo>
                  <a:cubicBezTo>
                    <a:pt x="28" y="79"/>
                    <a:pt x="28" y="82"/>
                    <a:pt x="28" y="84"/>
                  </a:cubicBezTo>
                  <a:cubicBezTo>
                    <a:pt x="29" y="86"/>
                    <a:pt x="29" y="87"/>
                    <a:pt x="30" y="89"/>
                  </a:cubicBezTo>
                  <a:cubicBezTo>
                    <a:pt x="31" y="90"/>
                    <a:pt x="31" y="92"/>
                    <a:pt x="32" y="93"/>
                  </a:cubicBezTo>
                  <a:cubicBezTo>
                    <a:pt x="32" y="96"/>
                    <a:pt x="31" y="100"/>
                    <a:pt x="29" y="103"/>
                  </a:cubicBezTo>
                  <a:cubicBezTo>
                    <a:pt x="27" y="106"/>
                    <a:pt x="26" y="108"/>
                    <a:pt x="26" y="110"/>
                  </a:cubicBezTo>
                  <a:cubicBezTo>
                    <a:pt x="26" y="111"/>
                    <a:pt x="26" y="112"/>
                    <a:pt x="25" y="112"/>
                  </a:cubicBezTo>
                  <a:cubicBezTo>
                    <a:pt x="24" y="112"/>
                    <a:pt x="23" y="113"/>
                    <a:pt x="21" y="115"/>
                  </a:cubicBezTo>
                  <a:cubicBezTo>
                    <a:pt x="20" y="116"/>
                    <a:pt x="20" y="116"/>
                    <a:pt x="20" y="116"/>
                  </a:cubicBezTo>
                  <a:cubicBezTo>
                    <a:pt x="17" y="119"/>
                    <a:pt x="17" y="119"/>
                    <a:pt x="16" y="122"/>
                  </a:cubicBezTo>
                  <a:cubicBezTo>
                    <a:pt x="16" y="124"/>
                    <a:pt x="15" y="125"/>
                    <a:pt x="14" y="125"/>
                  </a:cubicBezTo>
                  <a:cubicBezTo>
                    <a:pt x="13" y="126"/>
                    <a:pt x="13" y="127"/>
                    <a:pt x="12" y="128"/>
                  </a:cubicBezTo>
                  <a:cubicBezTo>
                    <a:pt x="12" y="128"/>
                    <a:pt x="12" y="129"/>
                    <a:pt x="12" y="130"/>
                  </a:cubicBezTo>
                  <a:cubicBezTo>
                    <a:pt x="12" y="131"/>
                    <a:pt x="12" y="131"/>
                    <a:pt x="11" y="132"/>
                  </a:cubicBezTo>
                  <a:cubicBezTo>
                    <a:pt x="11" y="132"/>
                    <a:pt x="10" y="132"/>
                    <a:pt x="9" y="132"/>
                  </a:cubicBezTo>
                  <a:cubicBezTo>
                    <a:pt x="7" y="133"/>
                    <a:pt x="7" y="133"/>
                    <a:pt x="7" y="133"/>
                  </a:cubicBezTo>
                  <a:cubicBezTo>
                    <a:pt x="7" y="135"/>
                    <a:pt x="7" y="135"/>
                    <a:pt x="7" y="135"/>
                  </a:cubicBezTo>
                  <a:cubicBezTo>
                    <a:pt x="7" y="139"/>
                    <a:pt x="6" y="143"/>
                    <a:pt x="4" y="144"/>
                  </a:cubicBezTo>
                  <a:cubicBezTo>
                    <a:pt x="3" y="145"/>
                    <a:pt x="3" y="145"/>
                    <a:pt x="3" y="145"/>
                  </a:cubicBezTo>
                  <a:cubicBezTo>
                    <a:pt x="3" y="146"/>
                    <a:pt x="3" y="146"/>
                    <a:pt x="3" y="146"/>
                  </a:cubicBezTo>
                  <a:cubicBezTo>
                    <a:pt x="2" y="147"/>
                    <a:pt x="2" y="150"/>
                    <a:pt x="1" y="152"/>
                  </a:cubicBezTo>
                  <a:cubicBezTo>
                    <a:pt x="0" y="153"/>
                    <a:pt x="0" y="153"/>
                    <a:pt x="0" y="153"/>
                  </a:cubicBezTo>
                  <a:cubicBezTo>
                    <a:pt x="1" y="154"/>
                    <a:pt x="1" y="154"/>
                    <a:pt x="1" y="154"/>
                  </a:cubicBezTo>
                  <a:cubicBezTo>
                    <a:pt x="2" y="155"/>
                    <a:pt x="3" y="156"/>
                    <a:pt x="4" y="157"/>
                  </a:cubicBezTo>
                  <a:cubicBezTo>
                    <a:pt x="4" y="157"/>
                    <a:pt x="4" y="158"/>
                    <a:pt x="4" y="158"/>
                  </a:cubicBezTo>
                  <a:cubicBezTo>
                    <a:pt x="5" y="159"/>
                    <a:pt x="6" y="160"/>
                    <a:pt x="7" y="161"/>
                  </a:cubicBezTo>
                  <a:cubicBezTo>
                    <a:pt x="7" y="163"/>
                    <a:pt x="8" y="164"/>
                    <a:pt x="9" y="166"/>
                  </a:cubicBezTo>
                  <a:cubicBezTo>
                    <a:pt x="9" y="166"/>
                    <a:pt x="9" y="166"/>
                    <a:pt x="9" y="166"/>
                  </a:cubicBezTo>
                  <a:cubicBezTo>
                    <a:pt x="9" y="166"/>
                    <a:pt x="8" y="166"/>
                    <a:pt x="8" y="166"/>
                  </a:cubicBezTo>
                  <a:cubicBezTo>
                    <a:pt x="7" y="166"/>
                    <a:pt x="7" y="166"/>
                    <a:pt x="7" y="166"/>
                  </a:cubicBezTo>
                  <a:cubicBezTo>
                    <a:pt x="6" y="167"/>
                    <a:pt x="6" y="167"/>
                    <a:pt x="6" y="167"/>
                  </a:cubicBezTo>
                  <a:cubicBezTo>
                    <a:pt x="6" y="168"/>
                    <a:pt x="5" y="169"/>
                    <a:pt x="4" y="170"/>
                  </a:cubicBezTo>
                  <a:cubicBezTo>
                    <a:pt x="3" y="172"/>
                    <a:pt x="1" y="174"/>
                    <a:pt x="1" y="178"/>
                  </a:cubicBezTo>
                  <a:cubicBezTo>
                    <a:pt x="1" y="179"/>
                    <a:pt x="1" y="179"/>
                    <a:pt x="1" y="179"/>
                  </a:cubicBezTo>
                  <a:cubicBezTo>
                    <a:pt x="3" y="180"/>
                    <a:pt x="3" y="180"/>
                    <a:pt x="3" y="180"/>
                  </a:cubicBezTo>
                  <a:cubicBezTo>
                    <a:pt x="3" y="180"/>
                    <a:pt x="4" y="180"/>
                    <a:pt x="4" y="181"/>
                  </a:cubicBezTo>
                  <a:cubicBezTo>
                    <a:pt x="4" y="182"/>
                    <a:pt x="4" y="183"/>
                    <a:pt x="3" y="185"/>
                  </a:cubicBezTo>
                  <a:cubicBezTo>
                    <a:pt x="1" y="186"/>
                    <a:pt x="1" y="186"/>
                    <a:pt x="1" y="186"/>
                  </a:cubicBezTo>
                  <a:cubicBezTo>
                    <a:pt x="3" y="188"/>
                    <a:pt x="3" y="188"/>
                    <a:pt x="3" y="188"/>
                  </a:cubicBezTo>
                  <a:cubicBezTo>
                    <a:pt x="9" y="191"/>
                    <a:pt x="15" y="195"/>
                    <a:pt x="20" y="198"/>
                  </a:cubicBezTo>
                  <a:cubicBezTo>
                    <a:pt x="25" y="201"/>
                    <a:pt x="30" y="204"/>
                    <a:pt x="34" y="207"/>
                  </a:cubicBezTo>
                  <a:cubicBezTo>
                    <a:pt x="40" y="210"/>
                    <a:pt x="46" y="214"/>
                    <a:pt x="52" y="218"/>
                  </a:cubicBezTo>
                  <a:cubicBezTo>
                    <a:pt x="54" y="219"/>
                    <a:pt x="54" y="219"/>
                    <a:pt x="54" y="219"/>
                  </a:cubicBezTo>
                  <a:cubicBezTo>
                    <a:pt x="66" y="226"/>
                    <a:pt x="79" y="234"/>
                    <a:pt x="92" y="242"/>
                  </a:cubicBezTo>
                  <a:cubicBezTo>
                    <a:pt x="94" y="243"/>
                    <a:pt x="95" y="244"/>
                    <a:pt x="97" y="245"/>
                  </a:cubicBezTo>
                  <a:cubicBezTo>
                    <a:pt x="100" y="247"/>
                    <a:pt x="104" y="248"/>
                    <a:pt x="106" y="251"/>
                  </a:cubicBezTo>
                  <a:cubicBezTo>
                    <a:pt x="108" y="254"/>
                    <a:pt x="109" y="257"/>
                    <a:pt x="109" y="260"/>
                  </a:cubicBezTo>
                  <a:cubicBezTo>
                    <a:pt x="109" y="261"/>
                    <a:pt x="109" y="262"/>
                    <a:pt x="108" y="264"/>
                  </a:cubicBezTo>
                  <a:cubicBezTo>
                    <a:pt x="107" y="266"/>
                    <a:pt x="107" y="267"/>
                    <a:pt x="107" y="268"/>
                  </a:cubicBezTo>
                  <a:cubicBezTo>
                    <a:pt x="108" y="270"/>
                    <a:pt x="109" y="270"/>
                    <a:pt x="110" y="271"/>
                  </a:cubicBezTo>
                  <a:cubicBezTo>
                    <a:pt x="112" y="271"/>
                    <a:pt x="112" y="271"/>
                    <a:pt x="113" y="272"/>
                  </a:cubicBezTo>
                  <a:cubicBezTo>
                    <a:pt x="113" y="273"/>
                    <a:pt x="113" y="274"/>
                    <a:pt x="113" y="274"/>
                  </a:cubicBezTo>
                  <a:cubicBezTo>
                    <a:pt x="113" y="275"/>
                    <a:pt x="113" y="276"/>
                    <a:pt x="114" y="277"/>
                  </a:cubicBezTo>
                  <a:cubicBezTo>
                    <a:pt x="115" y="278"/>
                    <a:pt x="116" y="278"/>
                    <a:pt x="117" y="279"/>
                  </a:cubicBezTo>
                  <a:cubicBezTo>
                    <a:pt x="118" y="279"/>
                    <a:pt x="118" y="279"/>
                    <a:pt x="118" y="279"/>
                  </a:cubicBezTo>
                  <a:cubicBezTo>
                    <a:pt x="156" y="311"/>
                    <a:pt x="156" y="311"/>
                    <a:pt x="156" y="311"/>
                  </a:cubicBezTo>
                  <a:cubicBezTo>
                    <a:pt x="156" y="308"/>
                    <a:pt x="156" y="308"/>
                    <a:pt x="156" y="308"/>
                  </a:cubicBezTo>
                  <a:cubicBezTo>
                    <a:pt x="156" y="307"/>
                    <a:pt x="157" y="307"/>
                    <a:pt x="157" y="307"/>
                  </a:cubicBezTo>
                  <a:cubicBezTo>
                    <a:pt x="157" y="307"/>
                    <a:pt x="157" y="307"/>
                    <a:pt x="158" y="306"/>
                  </a:cubicBezTo>
                  <a:cubicBezTo>
                    <a:pt x="158" y="306"/>
                    <a:pt x="159" y="306"/>
                    <a:pt x="160" y="306"/>
                  </a:cubicBezTo>
                  <a:cubicBezTo>
                    <a:pt x="163" y="303"/>
                    <a:pt x="164" y="300"/>
                    <a:pt x="165" y="297"/>
                  </a:cubicBezTo>
                  <a:cubicBezTo>
                    <a:pt x="166" y="295"/>
                    <a:pt x="166" y="294"/>
                    <a:pt x="167" y="293"/>
                  </a:cubicBezTo>
                  <a:cubicBezTo>
                    <a:pt x="168" y="292"/>
                    <a:pt x="169" y="291"/>
                    <a:pt x="170" y="290"/>
                  </a:cubicBezTo>
                  <a:cubicBezTo>
                    <a:pt x="170" y="288"/>
                    <a:pt x="171" y="287"/>
                    <a:pt x="171" y="285"/>
                  </a:cubicBezTo>
                  <a:cubicBezTo>
                    <a:pt x="171" y="284"/>
                    <a:pt x="172" y="283"/>
                    <a:pt x="172" y="282"/>
                  </a:cubicBezTo>
                  <a:cubicBezTo>
                    <a:pt x="173" y="280"/>
                    <a:pt x="173" y="279"/>
                    <a:pt x="174" y="277"/>
                  </a:cubicBezTo>
                  <a:cubicBezTo>
                    <a:pt x="174" y="276"/>
                    <a:pt x="174" y="275"/>
                    <a:pt x="174" y="274"/>
                  </a:cubicBezTo>
                  <a:cubicBezTo>
                    <a:pt x="174" y="274"/>
                    <a:pt x="174" y="274"/>
                    <a:pt x="174" y="274"/>
                  </a:cubicBezTo>
                  <a:cubicBezTo>
                    <a:pt x="175" y="273"/>
                    <a:pt x="175" y="272"/>
                    <a:pt x="175" y="271"/>
                  </a:cubicBezTo>
                  <a:cubicBezTo>
                    <a:pt x="176" y="271"/>
                    <a:pt x="176" y="270"/>
                    <a:pt x="176" y="269"/>
                  </a:cubicBezTo>
                  <a:cubicBezTo>
                    <a:pt x="176" y="269"/>
                    <a:pt x="176" y="268"/>
                    <a:pt x="177" y="268"/>
                  </a:cubicBezTo>
                  <a:cubicBezTo>
                    <a:pt x="177" y="267"/>
                    <a:pt x="178" y="267"/>
                    <a:pt x="179" y="266"/>
                  </a:cubicBezTo>
                  <a:cubicBezTo>
                    <a:pt x="180" y="265"/>
                    <a:pt x="181" y="264"/>
                    <a:pt x="182" y="261"/>
                  </a:cubicBezTo>
                  <a:cubicBezTo>
                    <a:pt x="182" y="260"/>
                    <a:pt x="182" y="259"/>
                    <a:pt x="183" y="257"/>
                  </a:cubicBezTo>
                  <a:cubicBezTo>
                    <a:pt x="183" y="256"/>
                    <a:pt x="183" y="255"/>
                    <a:pt x="183" y="253"/>
                  </a:cubicBezTo>
                  <a:cubicBezTo>
                    <a:pt x="184" y="252"/>
                    <a:pt x="184" y="251"/>
                    <a:pt x="184" y="251"/>
                  </a:cubicBezTo>
                  <a:cubicBezTo>
                    <a:pt x="184" y="250"/>
                    <a:pt x="184" y="250"/>
                    <a:pt x="184" y="249"/>
                  </a:cubicBezTo>
                  <a:cubicBezTo>
                    <a:pt x="184" y="249"/>
                    <a:pt x="184" y="248"/>
                    <a:pt x="184" y="248"/>
                  </a:cubicBezTo>
                  <a:cubicBezTo>
                    <a:pt x="185" y="247"/>
                    <a:pt x="185" y="247"/>
                    <a:pt x="185" y="246"/>
                  </a:cubicBezTo>
                  <a:cubicBezTo>
                    <a:pt x="187" y="239"/>
                    <a:pt x="190" y="239"/>
                    <a:pt x="192" y="239"/>
                  </a:cubicBezTo>
                  <a:cubicBezTo>
                    <a:pt x="192" y="239"/>
                    <a:pt x="192" y="239"/>
                    <a:pt x="193" y="239"/>
                  </a:cubicBezTo>
                  <a:cubicBezTo>
                    <a:pt x="194" y="239"/>
                    <a:pt x="194" y="239"/>
                    <a:pt x="195" y="239"/>
                  </a:cubicBezTo>
                  <a:cubicBezTo>
                    <a:pt x="196" y="239"/>
                    <a:pt x="196" y="239"/>
                    <a:pt x="197" y="239"/>
                  </a:cubicBezTo>
                  <a:cubicBezTo>
                    <a:pt x="200" y="238"/>
                    <a:pt x="202" y="235"/>
                    <a:pt x="203" y="231"/>
                  </a:cubicBezTo>
                  <a:cubicBezTo>
                    <a:pt x="203" y="231"/>
                    <a:pt x="203" y="230"/>
                    <a:pt x="203" y="230"/>
                  </a:cubicBezTo>
                  <a:cubicBezTo>
                    <a:pt x="203" y="230"/>
                    <a:pt x="203" y="229"/>
                    <a:pt x="203" y="229"/>
                  </a:cubicBezTo>
                  <a:cubicBezTo>
                    <a:pt x="203" y="229"/>
                    <a:pt x="204" y="229"/>
                    <a:pt x="204" y="228"/>
                  </a:cubicBezTo>
                  <a:cubicBezTo>
                    <a:pt x="205" y="227"/>
                    <a:pt x="205" y="225"/>
                    <a:pt x="206" y="224"/>
                  </a:cubicBezTo>
                  <a:cubicBezTo>
                    <a:pt x="206" y="223"/>
                    <a:pt x="206" y="223"/>
                    <a:pt x="206" y="223"/>
                  </a:cubicBezTo>
                  <a:cubicBezTo>
                    <a:pt x="206" y="222"/>
                    <a:pt x="206" y="222"/>
                    <a:pt x="206" y="221"/>
                  </a:cubicBezTo>
                  <a:cubicBezTo>
                    <a:pt x="206" y="221"/>
                    <a:pt x="207" y="221"/>
                    <a:pt x="207" y="221"/>
                  </a:cubicBezTo>
                  <a:cubicBezTo>
                    <a:pt x="208" y="221"/>
                    <a:pt x="208" y="221"/>
                    <a:pt x="209" y="221"/>
                  </a:cubicBezTo>
                  <a:cubicBezTo>
                    <a:pt x="210" y="220"/>
                    <a:pt x="211" y="220"/>
                    <a:pt x="212" y="219"/>
                  </a:cubicBezTo>
                  <a:cubicBezTo>
                    <a:pt x="212" y="219"/>
                    <a:pt x="213" y="219"/>
                    <a:pt x="213" y="219"/>
                  </a:cubicBezTo>
                  <a:cubicBezTo>
                    <a:pt x="213" y="219"/>
                    <a:pt x="214" y="219"/>
                    <a:pt x="214" y="219"/>
                  </a:cubicBezTo>
                  <a:cubicBezTo>
                    <a:pt x="215" y="219"/>
                    <a:pt x="215" y="219"/>
                    <a:pt x="216" y="219"/>
                  </a:cubicBezTo>
                  <a:cubicBezTo>
                    <a:pt x="217" y="219"/>
                    <a:pt x="217" y="219"/>
                    <a:pt x="217" y="219"/>
                  </a:cubicBezTo>
                  <a:cubicBezTo>
                    <a:pt x="217" y="219"/>
                    <a:pt x="217" y="219"/>
                    <a:pt x="217" y="219"/>
                  </a:cubicBezTo>
                  <a:cubicBezTo>
                    <a:pt x="218" y="219"/>
                    <a:pt x="219" y="218"/>
                    <a:pt x="220" y="216"/>
                  </a:cubicBezTo>
                  <a:cubicBezTo>
                    <a:pt x="220" y="216"/>
                    <a:pt x="220" y="216"/>
                    <a:pt x="220" y="216"/>
                  </a:cubicBezTo>
                  <a:cubicBezTo>
                    <a:pt x="220" y="215"/>
                    <a:pt x="221" y="214"/>
                    <a:pt x="221" y="214"/>
                  </a:cubicBezTo>
                  <a:cubicBezTo>
                    <a:pt x="222" y="213"/>
                    <a:pt x="224" y="211"/>
                    <a:pt x="224" y="209"/>
                  </a:cubicBezTo>
                  <a:cubicBezTo>
                    <a:pt x="225" y="207"/>
                    <a:pt x="225" y="207"/>
                    <a:pt x="225" y="207"/>
                  </a:cubicBezTo>
                  <a:cubicBezTo>
                    <a:pt x="207" y="181"/>
                    <a:pt x="207" y="181"/>
                    <a:pt x="207" y="181"/>
                  </a:cubicBezTo>
                  <a:cubicBezTo>
                    <a:pt x="207" y="62"/>
                    <a:pt x="207" y="62"/>
                    <a:pt x="207" y="62"/>
                  </a:cubicBezTo>
                  <a:cubicBezTo>
                    <a:pt x="229" y="26"/>
                    <a:pt x="229" y="26"/>
                    <a:pt x="229" y="26"/>
                  </a:cubicBezTo>
                  <a:lnTo>
                    <a:pt x="231" y="22"/>
                  </a:lnTo>
                  <a:close/>
                  <a:moveTo>
                    <a:pt x="23" y="160"/>
                  </a:moveTo>
                  <a:cubicBezTo>
                    <a:pt x="22" y="161"/>
                    <a:pt x="20" y="161"/>
                    <a:pt x="16" y="163"/>
                  </a:cubicBezTo>
                  <a:cubicBezTo>
                    <a:pt x="16" y="163"/>
                    <a:pt x="16" y="163"/>
                    <a:pt x="15" y="163"/>
                  </a:cubicBezTo>
                  <a:cubicBezTo>
                    <a:pt x="17" y="161"/>
                    <a:pt x="19" y="159"/>
                    <a:pt x="21" y="159"/>
                  </a:cubicBezTo>
                  <a:cubicBezTo>
                    <a:pt x="21" y="159"/>
                    <a:pt x="21" y="159"/>
                    <a:pt x="22" y="160"/>
                  </a:cubicBezTo>
                  <a:cubicBezTo>
                    <a:pt x="22" y="160"/>
                    <a:pt x="22" y="160"/>
                    <a:pt x="23" y="160"/>
                  </a:cubicBezTo>
                  <a:close/>
                  <a:moveTo>
                    <a:pt x="12" y="166"/>
                  </a:moveTo>
                  <a:cubicBezTo>
                    <a:pt x="12" y="166"/>
                    <a:pt x="13" y="166"/>
                    <a:pt x="13" y="165"/>
                  </a:cubicBezTo>
                  <a:cubicBezTo>
                    <a:pt x="13" y="165"/>
                    <a:pt x="13" y="165"/>
                    <a:pt x="13" y="165"/>
                  </a:cubicBezTo>
                  <a:cubicBezTo>
                    <a:pt x="13" y="166"/>
                    <a:pt x="13" y="166"/>
                    <a:pt x="13" y="167"/>
                  </a:cubicBezTo>
                  <a:cubicBezTo>
                    <a:pt x="13" y="166"/>
                    <a:pt x="12" y="166"/>
                    <a:pt x="12" y="166"/>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67" name="Freeform 67">
              <a:extLst>
                <a:ext uri="{FF2B5EF4-FFF2-40B4-BE49-F238E27FC236}">
                  <a16:creationId xmlns:a16="http://schemas.microsoft.com/office/drawing/2014/main" id="{BD46C216-21B1-46DC-B76E-2355B9783527}"/>
                </a:ext>
              </a:extLst>
            </p:cNvPr>
            <p:cNvSpPr>
              <a:spLocks/>
            </p:cNvSpPr>
            <p:nvPr/>
          </p:nvSpPr>
          <p:spPr bwMode="auto">
            <a:xfrm>
              <a:off x="4382721" y="1786104"/>
              <a:ext cx="606000" cy="840372"/>
            </a:xfrm>
            <a:custGeom>
              <a:avLst/>
              <a:gdLst>
                <a:gd name="T0" fmla="*/ 290 w 299"/>
                <a:gd name="T1" fmla="*/ 46 h 451"/>
                <a:gd name="T2" fmla="*/ 290 w 299"/>
                <a:gd name="T3" fmla="*/ 32 h 451"/>
                <a:gd name="T4" fmla="*/ 289 w 299"/>
                <a:gd name="T5" fmla="*/ 20 h 451"/>
                <a:gd name="T6" fmla="*/ 284 w 299"/>
                <a:gd name="T7" fmla="*/ 3 h 451"/>
                <a:gd name="T8" fmla="*/ 268 w 299"/>
                <a:gd name="T9" fmla="*/ 7 h 451"/>
                <a:gd name="T10" fmla="*/ 236 w 299"/>
                <a:gd name="T11" fmla="*/ 21 h 451"/>
                <a:gd name="T12" fmla="*/ 217 w 299"/>
                <a:gd name="T13" fmla="*/ 22 h 451"/>
                <a:gd name="T14" fmla="*/ 191 w 299"/>
                <a:gd name="T15" fmla="*/ 28 h 451"/>
                <a:gd name="T16" fmla="*/ 181 w 299"/>
                <a:gd name="T17" fmla="*/ 27 h 451"/>
                <a:gd name="T18" fmla="*/ 159 w 299"/>
                <a:gd name="T19" fmla="*/ 39 h 451"/>
                <a:gd name="T20" fmla="*/ 144 w 299"/>
                <a:gd name="T21" fmla="*/ 39 h 451"/>
                <a:gd name="T22" fmla="*/ 125 w 299"/>
                <a:gd name="T23" fmla="*/ 42 h 451"/>
                <a:gd name="T24" fmla="*/ 107 w 299"/>
                <a:gd name="T25" fmla="*/ 51 h 451"/>
                <a:gd name="T26" fmla="*/ 93 w 299"/>
                <a:gd name="T27" fmla="*/ 51 h 451"/>
                <a:gd name="T28" fmla="*/ 83 w 299"/>
                <a:gd name="T29" fmla="*/ 43 h 451"/>
                <a:gd name="T30" fmla="*/ 70 w 299"/>
                <a:gd name="T31" fmla="*/ 29 h 451"/>
                <a:gd name="T32" fmla="*/ 54 w 299"/>
                <a:gd name="T33" fmla="*/ 29 h 451"/>
                <a:gd name="T34" fmla="*/ 48 w 299"/>
                <a:gd name="T35" fmla="*/ 57 h 451"/>
                <a:gd name="T36" fmla="*/ 55 w 299"/>
                <a:gd name="T37" fmla="*/ 67 h 451"/>
                <a:gd name="T38" fmla="*/ 65 w 299"/>
                <a:gd name="T39" fmla="*/ 81 h 451"/>
                <a:gd name="T40" fmla="*/ 83 w 299"/>
                <a:gd name="T41" fmla="*/ 99 h 451"/>
                <a:gd name="T42" fmla="*/ 84 w 299"/>
                <a:gd name="T43" fmla="*/ 235 h 451"/>
                <a:gd name="T44" fmla="*/ 58 w 299"/>
                <a:gd name="T45" fmla="*/ 246 h 451"/>
                <a:gd name="T46" fmla="*/ 34 w 299"/>
                <a:gd name="T47" fmla="*/ 259 h 451"/>
                <a:gd name="T48" fmla="*/ 0 w 299"/>
                <a:gd name="T49" fmla="*/ 305 h 451"/>
                <a:gd name="T50" fmla="*/ 23 w 299"/>
                <a:gd name="T51" fmla="*/ 444 h 451"/>
                <a:gd name="T52" fmla="*/ 31 w 299"/>
                <a:gd name="T53" fmla="*/ 430 h 451"/>
                <a:gd name="T54" fmla="*/ 58 w 299"/>
                <a:gd name="T55" fmla="*/ 395 h 451"/>
                <a:gd name="T56" fmla="*/ 88 w 299"/>
                <a:gd name="T57" fmla="*/ 363 h 451"/>
                <a:gd name="T58" fmla="*/ 103 w 299"/>
                <a:gd name="T59" fmla="*/ 349 h 451"/>
                <a:gd name="T60" fmla="*/ 132 w 299"/>
                <a:gd name="T61" fmla="*/ 327 h 451"/>
                <a:gd name="T62" fmla="*/ 155 w 299"/>
                <a:gd name="T63" fmla="*/ 309 h 451"/>
                <a:gd name="T64" fmla="*/ 171 w 299"/>
                <a:gd name="T65" fmla="*/ 290 h 451"/>
                <a:gd name="T66" fmla="*/ 183 w 299"/>
                <a:gd name="T67" fmla="*/ 277 h 451"/>
                <a:gd name="T68" fmla="*/ 193 w 299"/>
                <a:gd name="T69" fmla="*/ 266 h 451"/>
                <a:gd name="T70" fmla="*/ 214 w 299"/>
                <a:gd name="T71" fmla="*/ 231 h 451"/>
                <a:gd name="T72" fmla="*/ 221 w 299"/>
                <a:gd name="T73" fmla="*/ 217 h 451"/>
                <a:gd name="T74" fmla="*/ 229 w 299"/>
                <a:gd name="T75" fmla="*/ 203 h 451"/>
                <a:gd name="T76" fmla="*/ 241 w 299"/>
                <a:gd name="T77" fmla="*/ 171 h 451"/>
                <a:gd name="T78" fmla="*/ 251 w 299"/>
                <a:gd name="T79" fmla="*/ 153 h 451"/>
                <a:gd name="T80" fmla="*/ 255 w 299"/>
                <a:gd name="T81" fmla="*/ 137 h 451"/>
                <a:gd name="T82" fmla="*/ 264 w 299"/>
                <a:gd name="T83" fmla="*/ 124 h 451"/>
                <a:gd name="T84" fmla="*/ 274 w 299"/>
                <a:gd name="T85" fmla="*/ 102 h 451"/>
                <a:gd name="T86" fmla="*/ 277 w 299"/>
                <a:gd name="T87" fmla="*/ 95 h 451"/>
                <a:gd name="T88" fmla="*/ 282 w 299"/>
                <a:gd name="T89" fmla="*/ 82 h 451"/>
                <a:gd name="T90" fmla="*/ 284 w 299"/>
                <a:gd name="T91" fmla="*/ 58 h 451"/>
                <a:gd name="T92" fmla="*/ 290 w 299"/>
                <a:gd name="T93" fmla="*/ 54 h 451"/>
                <a:gd name="T94" fmla="*/ 297 w 299"/>
                <a:gd name="T95" fmla="*/ 5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9" h="451">
                  <a:moveTo>
                    <a:pt x="294" y="49"/>
                  </a:moveTo>
                  <a:cubicBezTo>
                    <a:pt x="293" y="49"/>
                    <a:pt x="292" y="49"/>
                    <a:pt x="291" y="49"/>
                  </a:cubicBezTo>
                  <a:cubicBezTo>
                    <a:pt x="291" y="49"/>
                    <a:pt x="291" y="49"/>
                    <a:pt x="290" y="49"/>
                  </a:cubicBezTo>
                  <a:cubicBezTo>
                    <a:pt x="290" y="48"/>
                    <a:pt x="290" y="47"/>
                    <a:pt x="290" y="46"/>
                  </a:cubicBezTo>
                  <a:cubicBezTo>
                    <a:pt x="290" y="46"/>
                    <a:pt x="290" y="45"/>
                    <a:pt x="290" y="45"/>
                  </a:cubicBezTo>
                  <a:cubicBezTo>
                    <a:pt x="290" y="43"/>
                    <a:pt x="290" y="41"/>
                    <a:pt x="290" y="39"/>
                  </a:cubicBezTo>
                  <a:cubicBezTo>
                    <a:pt x="290" y="38"/>
                    <a:pt x="290" y="38"/>
                    <a:pt x="290" y="37"/>
                  </a:cubicBezTo>
                  <a:cubicBezTo>
                    <a:pt x="290" y="35"/>
                    <a:pt x="291" y="34"/>
                    <a:pt x="290" y="32"/>
                  </a:cubicBezTo>
                  <a:cubicBezTo>
                    <a:pt x="290" y="30"/>
                    <a:pt x="290" y="29"/>
                    <a:pt x="289" y="29"/>
                  </a:cubicBezTo>
                  <a:cubicBezTo>
                    <a:pt x="289" y="28"/>
                    <a:pt x="288" y="27"/>
                    <a:pt x="288" y="26"/>
                  </a:cubicBezTo>
                  <a:cubicBezTo>
                    <a:pt x="288" y="25"/>
                    <a:pt x="288" y="23"/>
                    <a:pt x="288" y="21"/>
                  </a:cubicBezTo>
                  <a:cubicBezTo>
                    <a:pt x="288" y="20"/>
                    <a:pt x="288" y="20"/>
                    <a:pt x="289" y="20"/>
                  </a:cubicBezTo>
                  <a:cubicBezTo>
                    <a:pt x="289" y="19"/>
                    <a:pt x="289" y="18"/>
                    <a:pt x="290" y="17"/>
                  </a:cubicBezTo>
                  <a:cubicBezTo>
                    <a:pt x="291" y="15"/>
                    <a:pt x="293" y="12"/>
                    <a:pt x="293" y="9"/>
                  </a:cubicBezTo>
                  <a:cubicBezTo>
                    <a:pt x="292" y="6"/>
                    <a:pt x="288" y="5"/>
                    <a:pt x="285" y="4"/>
                  </a:cubicBezTo>
                  <a:cubicBezTo>
                    <a:pt x="285" y="3"/>
                    <a:pt x="284" y="3"/>
                    <a:pt x="284" y="3"/>
                  </a:cubicBezTo>
                  <a:cubicBezTo>
                    <a:pt x="283" y="3"/>
                    <a:pt x="283" y="3"/>
                    <a:pt x="283" y="3"/>
                  </a:cubicBezTo>
                  <a:cubicBezTo>
                    <a:pt x="281" y="2"/>
                    <a:pt x="279" y="0"/>
                    <a:pt x="276" y="0"/>
                  </a:cubicBezTo>
                  <a:cubicBezTo>
                    <a:pt x="275" y="0"/>
                    <a:pt x="274" y="1"/>
                    <a:pt x="273" y="1"/>
                  </a:cubicBezTo>
                  <a:cubicBezTo>
                    <a:pt x="270" y="2"/>
                    <a:pt x="269" y="5"/>
                    <a:pt x="268" y="7"/>
                  </a:cubicBezTo>
                  <a:cubicBezTo>
                    <a:pt x="267" y="8"/>
                    <a:pt x="267" y="9"/>
                    <a:pt x="266" y="10"/>
                  </a:cubicBezTo>
                  <a:cubicBezTo>
                    <a:pt x="263" y="15"/>
                    <a:pt x="255" y="16"/>
                    <a:pt x="249" y="17"/>
                  </a:cubicBezTo>
                  <a:cubicBezTo>
                    <a:pt x="249" y="17"/>
                    <a:pt x="249" y="17"/>
                    <a:pt x="249" y="17"/>
                  </a:cubicBezTo>
                  <a:cubicBezTo>
                    <a:pt x="244" y="18"/>
                    <a:pt x="240" y="20"/>
                    <a:pt x="236" y="21"/>
                  </a:cubicBezTo>
                  <a:cubicBezTo>
                    <a:pt x="233" y="22"/>
                    <a:pt x="229" y="24"/>
                    <a:pt x="226" y="25"/>
                  </a:cubicBezTo>
                  <a:cubicBezTo>
                    <a:pt x="226" y="25"/>
                    <a:pt x="225" y="25"/>
                    <a:pt x="225" y="25"/>
                  </a:cubicBezTo>
                  <a:cubicBezTo>
                    <a:pt x="223" y="25"/>
                    <a:pt x="222" y="24"/>
                    <a:pt x="221" y="23"/>
                  </a:cubicBezTo>
                  <a:cubicBezTo>
                    <a:pt x="220" y="23"/>
                    <a:pt x="218" y="22"/>
                    <a:pt x="217" y="22"/>
                  </a:cubicBezTo>
                  <a:cubicBezTo>
                    <a:pt x="216" y="21"/>
                    <a:pt x="215" y="21"/>
                    <a:pt x="214" y="21"/>
                  </a:cubicBezTo>
                  <a:cubicBezTo>
                    <a:pt x="209" y="21"/>
                    <a:pt x="204" y="25"/>
                    <a:pt x="203" y="26"/>
                  </a:cubicBezTo>
                  <a:cubicBezTo>
                    <a:pt x="200" y="28"/>
                    <a:pt x="196" y="28"/>
                    <a:pt x="192" y="28"/>
                  </a:cubicBezTo>
                  <a:cubicBezTo>
                    <a:pt x="191" y="28"/>
                    <a:pt x="191" y="28"/>
                    <a:pt x="191" y="28"/>
                  </a:cubicBezTo>
                  <a:cubicBezTo>
                    <a:pt x="190" y="28"/>
                    <a:pt x="189" y="28"/>
                    <a:pt x="189" y="28"/>
                  </a:cubicBezTo>
                  <a:cubicBezTo>
                    <a:pt x="188" y="29"/>
                    <a:pt x="188" y="29"/>
                    <a:pt x="187" y="29"/>
                  </a:cubicBezTo>
                  <a:cubicBezTo>
                    <a:pt x="186" y="29"/>
                    <a:pt x="186" y="28"/>
                    <a:pt x="185" y="28"/>
                  </a:cubicBezTo>
                  <a:cubicBezTo>
                    <a:pt x="183" y="27"/>
                    <a:pt x="182" y="27"/>
                    <a:pt x="181" y="27"/>
                  </a:cubicBezTo>
                  <a:cubicBezTo>
                    <a:pt x="180" y="27"/>
                    <a:pt x="179" y="27"/>
                    <a:pt x="177" y="28"/>
                  </a:cubicBezTo>
                  <a:cubicBezTo>
                    <a:pt x="173" y="29"/>
                    <a:pt x="170" y="32"/>
                    <a:pt x="167" y="34"/>
                  </a:cubicBezTo>
                  <a:cubicBezTo>
                    <a:pt x="165" y="35"/>
                    <a:pt x="163" y="37"/>
                    <a:pt x="161" y="38"/>
                  </a:cubicBezTo>
                  <a:cubicBezTo>
                    <a:pt x="160" y="38"/>
                    <a:pt x="159" y="39"/>
                    <a:pt x="159" y="39"/>
                  </a:cubicBezTo>
                  <a:cubicBezTo>
                    <a:pt x="156" y="40"/>
                    <a:pt x="154" y="42"/>
                    <a:pt x="152" y="42"/>
                  </a:cubicBezTo>
                  <a:cubicBezTo>
                    <a:pt x="151" y="42"/>
                    <a:pt x="151" y="42"/>
                    <a:pt x="150" y="41"/>
                  </a:cubicBezTo>
                  <a:cubicBezTo>
                    <a:pt x="149" y="41"/>
                    <a:pt x="149" y="41"/>
                    <a:pt x="149" y="41"/>
                  </a:cubicBezTo>
                  <a:cubicBezTo>
                    <a:pt x="148" y="40"/>
                    <a:pt x="146" y="39"/>
                    <a:pt x="144" y="39"/>
                  </a:cubicBezTo>
                  <a:cubicBezTo>
                    <a:pt x="142" y="39"/>
                    <a:pt x="140" y="39"/>
                    <a:pt x="138" y="38"/>
                  </a:cubicBezTo>
                  <a:cubicBezTo>
                    <a:pt x="137" y="37"/>
                    <a:pt x="136" y="37"/>
                    <a:pt x="135" y="37"/>
                  </a:cubicBezTo>
                  <a:cubicBezTo>
                    <a:pt x="132" y="37"/>
                    <a:pt x="129" y="38"/>
                    <a:pt x="127" y="40"/>
                  </a:cubicBezTo>
                  <a:cubicBezTo>
                    <a:pt x="126" y="41"/>
                    <a:pt x="125" y="41"/>
                    <a:pt x="125" y="42"/>
                  </a:cubicBezTo>
                  <a:cubicBezTo>
                    <a:pt x="123" y="43"/>
                    <a:pt x="122" y="43"/>
                    <a:pt x="120" y="44"/>
                  </a:cubicBezTo>
                  <a:cubicBezTo>
                    <a:pt x="118" y="46"/>
                    <a:pt x="114" y="47"/>
                    <a:pt x="112" y="50"/>
                  </a:cubicBezTo>
                  <a:cubicBezTo>
                    <a:pt x="111" y="51"/>
                    <a:pt x="110" y="51"/>
                    <a:pt x="109" y="51"/>
                  </a:cubicBezTo>
                  <a:cubicBezTo>
                    <a:pt x="108" y="51"/>
                    <a:pt x="108" y="51"/>
                    <a:pt x="107" y="51"/>
                  </a:cubicBezTo>
                  <a:cubicBezTo>
                    <a:pt x="106" y="50"/>
                    <a:pt x="105" y="50"/>
                    <a:pt x="103" y="50"/>
                  </a:cubicBezTo>
                  <a:cubicBezTo>
                    <a:pt x="103" y="50"/>
                    <a:pt x="100" y="50"/>
                    <a:pt x="100" y="50"/>
                  </a:cubicBezTo>
                  <a:cubicBezTo>
                    <a:pt x="100" y="50"/>
                    <a:pt x="96" y="50"/>
                    <a:pt x="96" y="50"/>
                  </a:cubicBezTo>
                  <a:cubicBezTo>
                    <a:pt x="95" y="50"/>
                    <a:pt x="94" y="50"/>
                    <a:pt x="93" y="51"/>
                  </a:cubicBezTo>
                  <a:cubicBezTo>
                    <a:pt x="92" y="51"/>
                    <a:pt x="92" y="51"/>
                    <a:pt x="91" y="51"/>
                  </a:cubicBezTo>
                  <a:cubicBezTo>
                    <a:pt x="90" y="51"/>
                    <a:pt x="89" y="50"/>
                    <a:pt x="88" y="50"/>
                  </a:cubicBezTo>
                  <a:cubicBezTo>
                    <a:pt x="87" y="49"/>
                    <a:pt x="86" y="48"/>
                    <a:pt x="85" y="46"/>
                  </a:cubicBezTo>
                  <a:cubicBezTo>
                    <a:pt x="85" y="45"/>
                    <a:pt x="84" y="44"/>
                    <a:pt x="83" y="43"/>
                  </a:cubicBezTo>
                  <a:cubicBezTo>
                    <a:pt x="82" y="42"/>
                    <a:pt x="80" y="41"/>
                    <a:pt x="79" y="40"/>
                  </a:cubicBezTo>
                  <a:cubicBezTo>
                    <a:pt x="77" y="39"/>
                    <a:pt x="76" y="38"/>
                    <a:pt x="75" y="37"/>
                  </a:cubicBezTo>
                  <a:cubicBezTo>
                    <a:pt x="74" y="36"/>
                    <a:pt x="73" y="34"/>
                    <a:pt x="72" y="33"/>
                  </a:cubicBezTo>
                  <a:cubicBezTo>
                    <a:pt x="72" y="31"/>
                    <a:pt x="71" y="30"/>
                    <a:pt x="70" y="29"/>
                  </a:cubicBezTo>
                  <a:cubicBezTo>
                    <a:pt x="69" y="26"/>
                    <a:pt x="67" y="24"/>
                    <a:pt x="65" y="22"/>
                  </a:cubicBezTo>
                  <a:cubicBezTo>
                    <a:pt x="62" y="18"/>
                    <a:pt x="62" y="18"/>
                    <a:pt x="62" y="18"/>
                  </a:cubicBezTo>
                  <a:cubicBezTo>
                    <a:pt x="60" y="20"/>
                    <a:pt x="60" y="20"/>
                    <a:pt x="60" y="20"/>
                  </a:cubicBezTo>
                  <a:cubicBezTo>
                    <a:pt x="58" y="23"/>
                    <a:pt x="56" y="26"/>
                    <a:pt x="54" y="29"/>
                  </a:cubicBezTo>
                  <a:cubicBezTo>
                    <a:pt x="53" y="31"/>
                    <a:pt x="52" y="33"/>
                    <a:pt x="50" y="35"/>
                  </a:cubicBezTo>
                  <a:cubicBezTo>
                    <a:pt x="50" y="36"/>
                    <a:pt x="49" y="37"/>
                    <a:pt x="48" y="38"/>
                  </a:cubicBezTo>
                  <a:cubicBezTo>
                    <a:pt x="45" y="43"/>
                    <a:pt x="43" y="46"/>
                    <a:pt x="46" y="53"/>
                  </a:cubicBezTo>
                  <a:cubicBezTo>
                    <a:pt x="47" y="54"/>
                    <a:pt x="47" y="55"/>
                    <a:pt x="48" y="57"/>
                  </a:cubicBezTo>
                  <a:cubicBezTo>
                    <a:pt x="48" y="58"/>
                    <a:pt x="49" y="60"/>
                    <a:pt x="50" y="61"/>
                  </a:cubicBezTo>
                  <a:cubicBezTo>
                    <a:pt x="50" y="62"/>
                    <a:pt x="51" y="63"/>
                    <a:pt x="52" y="64"/>
                  </a:cubicBezTo>
                  <a:cubicBezTo>
                    <a:pt x="53" y="65"/>
                    <a:pt x="53" y="65"/>
                    <a:pt x="54" y="66"/>
                  </a:cubicBezTo>
                  <a:cubicBezTo>
                    <a:pt x="55" y="67"/>
                    <a:pt x="55" y="67"/>
                    <a:pt x="55" y="67"/>
                  </a:cubicBezTo>
                  <a:cubicBezTo>
                    <a:pt x="54" y="69"/>
                    <a:pt x="55" y="70"/>
                    <a:pt x="56" y="70"/>
                  </a:cubicBezTo>
                  <a:cubicBezTo>
                    <a:pt x="57" y="71"/>
                    <a:pt x="58" y="71"/>
                    <a:pt x="59" y="71"/>
                  </a:cubicBezTo>
                  <a:cubicBezTo>
                    <a:pt x="59" y="71"/>
                    <a:pt x="60" y="71"/>
                    <a:pt x="60" y="70"/>
                  </a:cubicBezTo>
                  <a:cubicBezTo>
                    <a:pt x="60" y="73"/>
                    <a:pt x="61" y="80"/>
                    <a:pt x="65" y="81"/>
                  </a:cubicBezTo>
                  <a:cubicBezTo>
                    <a:pt x="65" y="85"/>
                    <a:pt x="68" y="86"/>
                    <a:pt x="71" y="88"/>
                  </a:cubicBezTo>
                  <a:cubicBezTo>
                    <a:pt x="72" y="89"/>
                    <a:pt x="74" y="90"/>
                    <a:pt x="75" y="91"/>
                  </a:cubicBezTo>
                  <a:cubicBezTo>
                    <a:pt x="77" y="93"/>
                    <a:pt x="78" y="94"/>
                    <a:pt x="80" y="96"/>
                  </a:cubicBezTo>
                  <a:cubicBezTo>
                    <a:pt x="83" y="99"/>
                    <a:pt x="83" y="99"/>
                    <a:pt x="83" y="99"/>
                  </a:cubicBezTo>
                  <a:cubicBezTo>
                    <a:pt x="174" y="134"/>
                    <a:pt x="174" y="134"/>
                    <a:pt x="174" y="134"/>
                  </a:cubicBezTo>
                  <a:cubicBezTo>
                    <a:pt x="201" y="132"/>
                    <a:pt x="201" y="132"/>
                    <a:pt x="201" y="132"/>
                  </a:cubicBezTo>
                  <a:cubicBezTo>
                    <a:pt x="116" y="234"/>
                    <a:pt x="116" y="234"/>
                    <a:pt x="116" y="234"/>
                  </a:cubicBezTo>
                  <a:cubicBezTo>
                    <a:pt x="84" y="235"/>
                    <a:pt x="84" y="235"/>
                    <a:pt x="84" y="235"/>
                  </a:cubicBezTo>
                  <a:cubicBezTo>
                    <a:pt x="84" y="234"/>
                    <a:pt x="83" y="234"/>
                    <a:pt x="83" y="234"/>
                  </a:cubicBezTo>
                  <a:cubicBezTo>
                    <a:pt x="82" y="234"/>
                    <a:pt x="79" y="235"/>
                    <a:pt x="72" y="238"/>
                  </a:cubicBezTo>
                  <a:cubicBezTo>
                    <a:pt x="71" y="239"/>
                    <a:pt x="70" y="239"/>
                    <a:pt x="69" y="240"/>
                  </a:cubicBezTo>
                  <a:cubicBezTo>
                    <a:pt x="65" y="241"/>
                    <a:pt x="61" y="244"/>
                    <a:pt x="58" y="246"/>
                  </a:cubicBezTo>
                  <a:cubicBezTo>
                    <a:pt x="57" y="248"/>
                    <a:pt x="56" y="249"/>
                    <a:pt x="55" y="251"/>
                  </a:cubicBezTo>
                  <a:cubicBezTo>
                    <a:pt x="54" y="253"/>
                    <a:pt x="53" y="255"/>
                    <a:pt x="51" y="256"/>
                  </a:cubicBezTo>
                  <a:cubicBezTo>
                    <a:pt x="48" y="258"/>
                    <a:pt x="44" y="258"/>
                    <a:pt x="41" y="258"/>
                  </a:cubicBezTo>
                  <a:cubicBezTo>
                    <a:pt x="38" y="258"/>
                    <a:pt x="36" y="259"/>
                    <a:pt x="34" y="259"/>
                  </a:cubicBezTo>
                  <a:cubicBezTo>
                    <a:pt x="31" y="260"/>
                    <a:pt x="30" y="261"/>
                    <a:pt x="28" y="262"/>
                  </a:cubicBezTo>
                  <a:cubicBezTo>
                    <a:pt x="27" y="263"/>
                    <a:pt x="27" y="263"/>
                    <a:pt x="26" y="264"/>
                  </a:cubicBezTo>
                  <a:cubicBezTo>
                    <a:pt x="26" y="264"/>
                    <a:pt x="26" y="264"/>
                    <a:pt x="26" y="264"/>
                  </a:cubicBezTo>
                  <a:cubicBezTo>
                    <a:pt x="0" y="305"/>
                    <a:pt x="0" y="305"/>
                    <a:pt x="0" y="305"/>
                  </a:cubicBezTo>
                  <a:cubicBezTo>
                    <a:pt x="0" y="424"/>
                    <a:pt x="0" y="424"/>
                    <a:pt x="0" y="424"/>
                  </a:cubicBezTo>
                  <a:cubicBezTo>
                    <a:pt x="19" y="451"/>
                    <a:pt x="19" y="451"/>
                    <a:pt x="19" y="451"/>
                  </a:cubicBezTo>
                  <a:cubicBezTo>
                    <a:pt x="21" y="448"/>
                    <a:pt x="21" y="448"/>
                    <a:pt x="21" y="448"/>
                  </a:cubicBezTo>
                  <a:cubicBezTo>
                    <a:pt x="21" y="447"/>
                    <a:pt x="22" y="446"/>
                    <a:pt x="23" y="444"/>
                  </a:cubicBezTo>
                  <a:cubicBezTo>
                    <a:pt x="24" y="442"/>
                    <a:pt x="24" y="442"/>
                    <a:pt x="24" y="442"/>
                  </a:cubicBezTo>
                  <a:cubicBezTo>
                    <a:pt x="25" y="441"/>
                    <a:pt x="26" y="440"/>
                    <a:pt x="26" y="439"/>
                  </a:cubicBezTo>
                  <a:cubicBezTo>
                    <a:pt x="27" y="437"/>
                    <a:pt x="28" y="436"/>
                    <a:pt x="29" y="435"/>
                  </a:cubicBezTo>
                  <a:cubicBezTo>
                    <a:pt x="30" y="433"/>
                    <a:pt x="31" y="432"/>
                    <a:pt x="31" y="430"/>
                  </a:cubicBezTo>
                  <a:cubicBezTo>
                    <a:pt x="31" y="429"/>
                    <a:pt x="31" y="429"/>
                    <a:pt x="32" y="428"/>
                  </a:cubicBezTo>
                  <a:cubicBezTo>
                    <a:pt x="35" y="425"/>
                    <a:pt x="37" y="422"/>
                    <a:pt x="39" y="419"/>
                  </a:cubicBezTo>
                  <a:cubicBezTo>
                    <a:pt x="41" y="416"/>
                    <a:pt x="43" y="414"/>
                    <a:pt x="45" y="411"/>
                  </a:cubicBezTo>
                  <a:cubicBezTo>
                    <a:pt x="49" y="406"/>
                    <a:pt x="54" y="401"/>
                    <a:pt x="58" y="395"/>
                  </a:cubicBezTo>
                  <a:cubicBezTo>
                    <a:pt x="60" y="392"/>
                    <a:pt x="62" y="389"/>
                    <a:pt x="65" y="387"/>
                  </a:cubicBezTo>
                  <a:cubicBezTo>
                    <a:pt x="69" y="384"/>
                    <a:pt x="72" y="380"/>
                    <a:pt x="75" y="376"/>
                  </a:cubicBezTo>
                  <a:cubicBezTo>
                    <a:pt x="77" y="374"/>
                    <a:pt x="79" y="372"/>
                    <a:pt x="81" y="369"/>
                  </a:cubicBezTo>
                  <a:cubicBezTo>
                    <a:pt x="84" y="367"/>
                    <a:pt x="86" y="365"/>
                    <a:pt x="88" y="363"/>
                  </a:cubicBezTo>
                  <a:cubicBezTo>
                    <a:pt x="90" y="361"/>
                    <a:pt x="91" y="360"/>
                    <a:pt x="93" y="358"/>
                  </a:cubicBezTo>
                  <a:cubicBezTo>
                    <a:pt x="94" y="357"/>
                    <a:pt x="95" y="356"/>
                    <a:pt x="96" y="356"/>
                  </a:cubicBezTo>
                  <a:cubicBezTo>
                    <a:pt x="97" y="355"/>
                    <a:pt x="98" y="354"/>
                    <a:pt x="99" y="353"/>
                  </a:cubicBezTo>
                  <a:cubicBezTo>
                    <a:pt x="100" y="352"/>
                    <a:pt x="102" y="350"/>
                    <a:pt x="103" y="349"/>
                  </a:cubicBezTo>
                  <a:cubicBezTo>
                    <a:pt x="108" y="345"/>
                    <a:pt x="112" y="342"/>
                    <a:pt x="117" y="338"/>
                  </a:cubicBezTo>
                  <a:cubicBezTo>
                    <a:pt x="119" y="337"/>
                    <a:pt x="121" y="335"/>
                    <a:pt x="123" y="334"/>
                  </a:cubicBezTo>
                  <a:cubicBezTo>
                    <a:pt x="126" y="332"/>
                    <a:pt x="128" y="331"/>
                    <a:pt x="131" y="328"/>
                  </a:cubicBezTo>
                  <a:cubicBezTo>
                    <a:pt x="132" y="327"/>
                    <a:pt x="132" y="327"/>
                    <a:pt x="132" y="327"/>
                  </a:cubicBezTo>
                  <a:cubicBezTo>
                    <a:pt x="135" y="326"/>
                    <a:pt x="137" y="324"/>
                    <a:pt x="139" y="323"/>
                  </a:cubicBezTo>
                  <a:cubicBezTo>
                    <a:pt x="142" y="321"/>
                    <a:pt x="145" y="320"/>
                    <a:pt x="147" y="317"/>
                  </a:cubicBezTo>
                  <a:cubicBezTo>
                    <a:pt x="149" y="316"/>
                    <a:pt x="150" y="314"/>
                    <a:pt x="152" y="313"/>
                  </a:cubicBezTo>
                  <a:cubicBezTo>
                    <a:pt x="153" y="311"/>
                    <a:pt x="154" y="310"/>
                    <a:pt x="155" y="309"/>
                  </a:cubicBezTo>
                  <a:cubicBezTo>
                    <a:pt x="156" y="307"/>
                    <a:pt x="157" y="306"/>
                    <a:pt x="158" y="304"/>
                  </a:cubicBezTo>
                  <a:cubicBezTo>
                    <a:pt x="160" y="303"/>
                    <a:pt x="161" y="302"/>
                    <a:pt x="162" y="300"/>
                  </a:cubicBezTo>
                  <a:cubicBezTo>
                    <a:pt x="164" y="299"/>
                    <a:pt x="165" y="298"/>
                    <a:pt x="166" y="296"/>
                  </a:cubicBezTo>
                  <a:cubicBezTo>
                    <a:pt x="168" y="295"/>
                    <a:pt x="170" y="292"/>
                    <a:pt x="171" y="290"/>
                  </a:cubicBezTo>
                  <a:cubicBezTo>
                    <a:pt x="172" y="289"/>
                    <a:pt x="173" y="288"/>
                    <a:pt x="174" y="287"/>
                  </a:cubicBezTo>
                  <a:cubicBezTo>
                    <a:pt x="174" y="286"/>
                    <a:pt x="175" y="286"/>
                    <a:pt x="175" y="285"/>
                  </a:cubicBezTo>
                  <a:cubicBezTo>
                    <a:pt x="176" y="284"/>
                    <a:pt x="177" y="283"/>
                    <a:pt x="177" y="282"/>
                  </a:cubicBezTo>
                  <a:cubicBezTo>
                    <a:pt x="179" y="281"/>
                    <a:pt x="181" y="279"/>
                    <a:pt x="183" y="277"/>
                  </a:cubicBezTo>
                  <a:cubicBezTo>
                    <a:pt x="185" y="276"/>
                    <a:pt x="186" y="274"/>
                    <a:pt x="187" y="272"/>
                  </a:cubicBezTo>
                  <a:cubicBezTo>
                    <a:pt x="188" y="272"/>
                    <a:pt x="188" y="271"/>
                    <a:pt x="189" y="270"/>
                  </a:cubicBezTo>
                  <a:cubicBezTo>
                    <a:pt x="190" y="269"/>
                    <a:pt x="191" y="268"/>
                    <a:pt x="192" y="267"/>
                  </a:cubicBezTo>
                  <a:cubicBezTo>
                    <a:pt x="193" y="266"/>
                    <a:pt x="193" y="266"/>
                    <a:pt x="193" y="266"/>
                  </a:cubicBezTo>
                  <a:cubicBezTo>
                    <a:pt x="197" y="260"/>
                    <a:pt x="202" y="253"/>
                    <a:pt x="206" y="245"/>
                  </a:cubicBezTo>
                  <a:cubicBezTo>
                    <a:pt x="208" y="243"/>
                    <a:pt x="209" y="240"/>
                    <a:pt x="211" y="237"/>
                  </a:cubicBezTo>
                  <a:cubicBezTo>
                    <a:pt x="211" y="236"/>
                    <a:pt x="212" y="235"/>
                    <a:pt x="213" y="233"/>
                  </a:cubicBezTo>
                  <a:cubicBezTo>
                    <a:pt x="213" y="232"/>
                    <a:pt x="214" y="232"/>
                    <a:pt x="214" y="231"/>
                  </a:cubicBezTo>
                  <a:cubicBezTo>
                    <a:pt x="215" y="229"/>
                    <a:pt x="216" y="228"/>
                    <a:pt x="217" y="226"/>
                  </a:cubicBezTo>
                  <a:cubicBezTo>
                    <a:pt x="217" y="225"/>
                    <a:pt x="217" y="224"/>
                    <a:pt x="218" y="224"/>
                  </a:cubicBezTo>
                  <a:cubicBezTo>
                    <a:pt x="218" y="222"/>
                    <a:pt x="218" y="221"/>
                    <a:pt x="219" y="220"/>
                  </a:cubicBezTo>
                  <a:cubicBezTo>
                    <a:pt x="220" y="219"/>
                    <a:pt x="220" y="218"/>
                    <a:pt x="221" y="217"/>
                  </a:cubicBezTo>
                  <a:cubicBezTo>
                    <a:pt x="222" y="215"/>
                    <a:pt x="223" y="214"/>
                    <a:pt x="224" y="212"/>
                  </a:cubicBezTo>
                  <a:cubicBezTo>
                    <a:pt x="224" y="211"/>
                    <a:pt x="224" y="211"/>
                    <a:pt x="224" y="211"/>
                  </a:cubicBezTo>
                  <a:cubicBezTo>
                    <a:pt x="225" y="209"/>
                    <a:pt x="226" y="207"/>
                    <a:pt x="228" y="205"/>
                  </a:cubicBezTo>
                  <a:cubicBezTo>
                    <a:pt x="228" y="204"/>
                    <a:pt x="229" y="204"/>
                    <a:pt x="229" y="203"/>
                  </a:cubicBezTo>
                  <a:cubicBezTo>
                    <a:pt x="230" y="202"/>
                    <a:pt x="231" y="201"/>
                    <a:pt x="232" y="199"/>
                  </a:cubicBezTo>
                  <a:cubicBezTo>
                    <a:pt x="234" y="196"/>
                    <a:pt x="234" y="192"/>
                    <a:pt x="235" y="189"/>
                  </a:cubicBezTo>
                  <a:cubicBezTo>
                    <a:pt x="235" y="187"/>
                    <a:pt x="235" y="185"/>
                    <a:pt x="236" y="182"/>
                  </a:cubicBezTo>
                  <a:cubicBezTo>
                    <a:pt x="237" y="179"/>
                    <a:pt x="239" y="175"/>
                    <a:pt x="241" y="171"/>
                  </a:cubicBezTo>
                  <a:cubicBezTo>
                    <a:pt x="242" y="169"/>
                    <a:pt x="244" y="166"/>
                    <a:pt x="245" y="163"/>
                  </a:cubicBezTo>
                  <a:cubicBezTo>
                    <a:pt x="245" y="162"/>
                    <a:pt x="246" y="161"/>
                    <a:pt x="246" y="160"/>
                  </a:cubicBezTo>
                  <a:cubicBezTo>
                    <a:pt x="247" y="159"/>
                    <a:pt x="248" y="158"/>
                    <a:pt x="249" y="157"/>
                  </a:cubicBezTo>
                  <a:cubicBezTo>
                    <a:pt x="249" y="156"/>
                    <a:pt x="250" y="154"/>
                    <a:pt x="251" y="153"/>
                  </a:cubicBezTo>
                  <a:cubicBezTo>
                    <a:pt x="252" y="151"/>
                    <a:pt x="253" y="149"/>
                    <a:pt x="253" y="147"/>
                  </a:cubicBezTo>
                  <a:cubicBezTo>
                    <a:pt x="253" y="146"/>
                    <a:pt x="254" y="146"/>
                    <a:pt x="254" y="145"/>
                  </a:cubicBezTo>
                  <a:cubicBezTo>
                    <a:pt x="254" y="143"/>
                    <a:pt x="254" y="142"/>
                    <a:pt x="255" y="140"/>
                  </a:cubicBezTo>
                  <a:cubicBezTo>
                    <a:pt x="255" y="139"/>
                    <a:pt x="255" y="138"/>
                    <a:pt x="255" y="137"/>
                  </a:cubicBezTo>
                  <a:cubicBezTo>
                    <a:pt x="256" y="136"/>
                    <a:pt x="257" y="135"/>
                    <a:pt x="258" y="134"/>
                  </a:cubicBezTo>
                  <a:cubicBezTo>
                    <a:pt x="258" y="133"/>
                    <a:pt x="259" y="133"/>
                    <a:pt x="259" y="132"/>
                  </a:cubicBezTo>
                  <a:cubicBezTo>
                    <a:pt x="261" y="131"/>
                    <a:pt x="262" y="128"/>
                    <a:pt x="263" y="126"/>
                  </a:cubicBezTo>
                  <a:cubicBezTo>
                    <a:pt x="263" y="125"/>
                    <a:pt x="263" y="125"/>
                    <a:pt x="264" y="124"/>
                  </a:cubicBezTo>
                  <a:cubicBezTo>
                    <a:pt x="264" y="123"/>
                    <a:pt x="265" y="122"/>
                    <a:pt x="266" y="120"/>
                  </a:cubicBezTo>
                  <a:cubicBezTo>
                    <a:pt x="266" y="119"/>
                    <a:pt x="267" y="118"/>
                    <a:pt x="268" y="116"/>
                  </a:cubicBezTo>
                  <a:cubicBezTo>
                    <a:pt x="268" y="115"/>
                    <a:pt x="269" y="113"/>
                    <a:pt x="269" y="112"/>
                  </a:cubicBezTo>
                  <a:cubicBezTo>
                    <a:pt x="271" y="108"/>
                    <a:pt x="272" y="105"/>
                    <a:pt x="274" y="102"/>
                  </a:cubicBezTo>
                  <a:cubicBezTo>
                    <a:pt x="274" y="102"/>
                    <a:pt x="274" y="102"/>
                    <a:pt x="275" y="101"/>
                  </a:cubicBezTo>
                  <a:cubicBezTo>
                    <a:pt x="275" y="101"/>
                    <a:pt x="276" y="100"/>
                    <a:pt x="277" y="99"/>
                  </a:cubicBezTo>
                  <a:cubicBezTo>
                    <a:pt x="277" y="98"/>
                    <a:pt x="277" y="97"/>
                    <a:pt x="277" y="96"/>
                  </a:cubicBezTo>
                  <a:cubicBezTo>
                    <a:pt x="277" y="96"/>
                    <a:pt x="277" y="95"/>
                    <a:pt x="277" y="95"/>
                  </a:cubicBezTo>
                  <a:cubicBezTo>
                    <a:pt x="278" y="94"/>
                    <a:pt x="278" y="94"/>
                    <a:pt x="279" y="93"/>
                  </a:cubicBezTo>
                  <a:cubicBezTo>
                    <a:pt x="280" y="92"/>
                    <a:pt x="281" y="91"/>
                    <a:pt x="281" y="89"/>
                  </a:cubicBezTo>
                  <a:cubicBezTo>
                    <a:pt x="282" y="87"/>
                    <a:pt x="282" y="85"/>
                    <a:pt x="282" y="83"/>
                  </a:cubicBezTo>
                  <a:cubicBezTo>
                    <a:pt x="282" y="82"/>
                    <a:pt x="282" y="82"/>
                    <a:pt x="282" y="82"/>
                  </a:cubicBezTo>
                  <a:cubicBezTo>
                    <a:pt x="282" y="79"/>
                    <a:pt x="282" y="76"/>
                    <a:pt x="283" y="74"/>
                  </a:cubicBezTo>
                  <a:cubicBezTo>
                    <a:pt x="283" y="71"/>
                    <a:pt x="284" y="69"/>
                    <a:pt x="284" y="66"/>
                  </a:cubicBezTo>
                  <a:cubicBezTo>
                    <a:pt x="284" y="65"/>
                    <a:pt x="284" y="64"/>
                    <a:pt x="284" y="63"/>
                  </a:cubicBezTo>
                  <a:cubicBezTo>
                    <a:pt x="284" y="61"/>
                    <a:pt x="284" y="60"/>
                    <a:pt x="284" y="58"/>
                  </a:cubicBezTo>
                  <a:cubicBezTo>
                    <a:pt x="285" y="57"/>
                    <a:pt x="285" y="56"/>
                    <a:pt x="287" y="56"/>
                  </a:cubicBezTo>
                  <a:cubicBezTo>
                    <a:pt x="288" y="56"/>
                    <a:pt x="288" y="56"/>
                    <a:pt x="289" y="56"/>
                  </a:cubicBezTo>
                  <a:cubicBezTo>
                    <a:pt x="289" y="56"/>
                    <a:pt x="290" y="56"/>
                    <a:pt x="290" y="56"/>
                  </a:cubicBezTo>
                  <a:cubicBezTo>
                    <a:pt x="290" y="54"/>
                    <a:pt x="290" y="54"/>
                    <a:pt x="290" y="54"/>
                  </a:cubicBezTo>
                  <a:cubicBezTo>
                    <a:pt x="291" y="57"/>
                    <a:pt x="291" y="57"/>
                    <a:pt x="291" y="57"/>
                  </a:cubicBezTo>
                  <a:cubicBezTo>
                    <a:pt x="291" y="57"/>
                    <a:pt x="292" y="57"/>
                    <a:pt x="293" y="58"/>
                  </a:cubicBezTo>
                  <a:cubicBezTo>
                    <a:pt x="293" y="58"/>
                    <a:pt x="294" y="58"/>
                    <a:pt x="294" y="58"/>
                  </a:cubicBezTo>
                  <a:cubicBezTo>
                    <a:pt x="295" y="58"/>
                    <a:pt x="296" y="58"/>
                    <a:pt x="297" y="57"/>
                  </a:cubicBezTo>
                  <a:cubicBezTo>
                    <a:pt x="298" y="56"/>
                    <a:pt x="299" y="55"/>
                    <a:pt x="299" y="53"/>
                  </a:cubicBezTo>
                  <a:cubicBezTo>
                    <a:pt x="298" y="50"/>
                    <a:pt x="297" y="49"/>
                    <a:pt x="294" y="49"/>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68" name="Freeform 68">
              <a:extLst>
                <a:ext uri="{FF2B5EF4-FFF2-40B4-BE49-F238E27FC236}">
                  <a16:creationId xmlns:a16="http://schemas.microsoft.com/office/drawing/2014/main" id="{BA1CA1C8-D94B-4C82-BE77-AE67ABDF6124}"/>
                </a:ext>
              </a:extLst>
            </p:cNvPr>
            <p:cNvSpPr>
              <a:spLocks noEditPoints="1"/>
            </p:cNvSpPr>
            <p:nvPr/>
          </p:nvSpPr>
          <p:spPr bwMode="auto">
            <a:xfrm>
              <a:off x="2924080" y="3881898"/>
              <a:ext cx="947503" cy="782841"/>
            </a:xfrm>
            <a:custGeom>
              <a:avLst/>
              <a:gdLst>
                <a:gd name="T0" fmla="*/ 445 w 468"/>
                <a:gd name="T1" fmla="*/ 157 h 420"/>
                <a:gd name="T2" fmla="*/ 426 w 468"/>
                <a:gd name="T3" fmla="*/ 170 h 420"/>
                <a:gd name="T4" fmla="*/ 416 w 468"/>
                <a:gd name="T5" fmla="*/ 157 h 420"/>
                <a:gd name="T6" fmla="*/ 418 w 468"/>
                <a:gd name="T7" fmla="*/ 131 h 420"/>
                <a:gd name="T8" fmla="*/ 443 w 468"/>
                <a:gd name="T9" fmla="*/ 126 h 420"/>
                <a:gd name="T10" fmla="*/ 447 w 468"/>
                <a:gd name="T11" fmla="*/ 80 h 420"/>
                <a:gd name="T12" fmla="*/ 437 w 468"/>
                <a:gd name="T13" fmla="*/ 47 h 420"/>
                <a:gd name="T14" fmla="*/ 429 w 468"/>
                <a:gd name="T15" fmla="*/ 11 h 420"/>
                <a:gd name="T16" fmla="*/ 403 w 468"/>
                <a:gd name="T17" fmla="*/ 8 h 420"/>
                <a:gd name="T18" fmla="*/ 374 w 468"/>
                <a:gd name="T19" fmla="*/ 1 h 420"/>
                <a:gd name="T20" fmla="*/ 362 w 468"/>
                <a:gd name="T21" fmla="*/ 7 h 420"/>
                <a:gd name="T22" fmla="*/ 349 w 468"/>
                <a:gd name="T23" fmla="*/ 15 h 420"/>
                <a:gd name="T24" fmla="*/ 327 w 468"/>
                <a:gd name="T25" fmla="*/ 34 h 420"/>
                <a:gd name="T26" fmla="*/ 297 w 468"/>
                <a:gd name="T27" fmla="*/ 74 h 420"/>
                <a:gd name="T28" fmla="*/ 267 w 468"/>
                <a:gd name="T29" fmla="*/ 107 h 420"/>
                <a:gd name="T30" fmla="*/ 250 w 468"/>
                <a:gd name="T31" fmla="*/ 119 h 420"/>
                <a:gd name="T32" fmla="*/ 223 w 468"/>
                <a:gd name="T33" fmla="*/ 115 h 420"/>
                <a:gd name="T34" fmla="*/ 194 w 468"/>
                <a:gd name="T35" fmla="*/ 103 h 420"/>
                <a:gd name="T36" fmla="*/ 170 w 468"/>
                <a:gd name="T37" fmla="*/ 139 h 420"/>
                <a:gd name="T38" fmla="*/ 154 w 468"/>
                <a:gd name="T39" fmla="*/ 152 h 420"/>
                <a:gd name="T40" fmla="*/ 142 w 468"/>
                <a:gd name="T41" fmla="*/ 155 h 420"/>
                <a:gd name="T42" fmla="*/ 125 w 468"/>
                <a:gd name="T43" fmla="*/ 155 h 420"/>
                <a:gd name="T44" fmla="*/ 124 w 468"/>
                <a:gd name="T45" fmla="*/ 110 h 420"/>
                <a:gd name="T46" fmla="*/ 89 w 468"/>
                <a:gd name="T47" fmla="*/ 215 h 420"/>
                <a:gd name="T48" fmla="*/ 78 w 468"/>
                <a:gd name="T49" fmla="*/ 225 h 420"/>
                <a:gd name="T50" fmla="*/ 50 w 468"/>
                <a:gd name="T51" fmla="*/ 224 h 420"/>
                <a:gd name="T52" fmla="*/ 32 w 468"/>
                <a:gd name="T53" fmla="*/ 206 h 420"/>
                <a:gd name="T54" fmla="*/ 13 w 468"/>
                <a:gd name="T55" fmla="*/ 205 h 420"/>
                <a:gd name="T56" fmla="*/ 11 w 468"/>
                <a:gd name="T57" fmla="*/ 228 h 420"/>
                <a:gd name="T58" fmla="*/ 28 w 468"/>
                <a:gd name="T59" fmla="*/ 275 h 420"/>
                <a:gd name="T60" fmla="*/ 45 w 468"/>
                <a:gd name="T61" fmla="*/ 308 h 420"/>
                <a:gd name="T62" fmla="*/ 52 w 468"/>
                <a:gd name="T63" fmla="*/ 342 h 420"/>
                <a:gd name="T64" fmla="*/ 44 w 468"/>
                <a:gd name="T65" fmla="*/ 363 h 420"/>
                <a:gd name="T66" fmla="*/ 52 w 468"/>
                <a:gd name="T67" fmla="*/ 399 h 420"/>
                <a:gd name="T68" fmla="*/ 62 w 468"/>
                <a:gd name="T69" fmla="*/ 395 h 420"/>
                <a:gd name="T70" fmla="*/ 73 w 468"/>
                <a:gd name="T71" fmla="*/ 406 h 420"/>
                <a:gd name="T72" fmla="*/ 81 w 468"/>
                <a:gd name="T73" fmla="*/ 413 h 420"/>
                <a:gd name="T74" fmla="*/ 101 w 468"/>
                <a:gd name="T75" fmla="*/ 419 h 420"/>
                <a:gd name="T76" fmla="*/ 125 w 468"/>
                <a:gd name="T77" fmla="*/ 405 h 420"/>
                <a:gd name="T78" fmla="*/ 140 w 468"/>
                <a:gd name="T79" fmla="*/ 405 h 420"/>
                <a:gd name="T80" fmla="*/ 153 w 468"/>
                <a:gd name="T81" fmla="*/ 402 h 420"/>
                <a:gd name="T82" fmla="*/ 171 w 468"/>
                <a:gd name="T83" fmla="*/ 393 h 420"/>
                <a:gd name="T84" fmla="*/ 195 w 468"/>
                <a:gd name="T85" fmla="*/ 393 h 420"/>
                <a:gd name="T86" fmla="*/ 225 w 468"/>
                <a:gd name="T87" fmla="*/ 399 h 420"/>
                <a:gd name="T88" fmla="*/ 250 w 468"/>
                <a:gd name="T89" fmla="*/ 393 h 420"/>
                <a:gd name="T90" fmla="*/ 266 w 468"/>
                <a:gd name="T91" fmla="*/ 383 h 420"/>
                <a:gd name="T92" fmla="*/ 305 w 468"/>
                <a:gd name="T93" fmla="*/ 371 h 420"/>
                <a:gd name="T94" fmla="*/ 338 w 468"/>
                <a:gd name="T95" fmla="*/ 345 h 420"/>
                <a:gd name="T96" fmla="*/ 357 w 468"/>
                <a:gd name="T97" fmla="*/ 326 h 420"/>
                <a:gd name="T98" fmla="*/ 403 w 468"/>
                <a:gd name="T99" fmla="*/ 272 h 420"/>
                <a:gd name="T100" fmla="*/ 416 w 468"/>
                <a:gd name="T101" fmla="*/ 249 h 420"/>
                <a:gd name="T102" fmla="*/ 441 w 468"/>
                <a:gd name="T103" fmla="*/ 224 h 420"/>
                <a:gd name="T104" fmla="*/ 458 w 468"/>
                <a:gd name="T105" fmla="*/ 201 h 420"/>
                <a:gd name="T106" fmla="*/ 468 w 468"/>
                <a:gd name="T107" fmla="*/ 161 h 420"/>
                <a:gd name="T108" fmla="*/ 323 w 468"/>
                <a:gd name="T109" fmla="*/ 280 h 420"/>
                <a:gd name="T110" fmla="*/ 307 w 468"/>
                <a:gd name="T111" fmla="*/ 262 h 420"/>
                <a:gd name="T112" fmla="*/ 311 w 468"/>
                <a:gd name="T113" fmla="*/ 241 h 420"/>
                <a:gd name="T114" fmla="*/ 364 w 468"/>
                <a:gd name="T115" fmla="*/ 233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8" h="420">
                  <a:moveTo>
                    <a:pt x="468" y="161"/>
                  </a:moveTo>
                  <a:cubicBezTo>
                    <a:pt x="468" y="160"/>
                    <a:pt x="468" y="160"/>
                    <a:pt x="468" y="160"/>
                  </a:cubicBezTo>
                  <a:cubicBezTo>
                    <a:pt x="467" y="159"/>
                    <a:pt x="467" y="159"/>
                    <a:pt x="467" y="159"/>
                  </a:cubicBezTo>
                  <a:cubicBezTo>
                    <a:pt x="463" y="158"/>
                    <a:pt x="460" y="158"/>
                    <a:pt x="457" y="157"/>
                  </a:cubicBezTo>
                  <a:cubicBezTo>
                    <a:pt x="454" y="157"/>
                    <a:pt x="451" y="156"/>
                    <a:pt x="447" y="155"/>
                  </a:cubicBezTo>
                  <a:cubicBezTo>
                    <a:pt x="446" y="155"/>
                    <a:pt x="446" y="155"/>
                    <a:pt x="446" y="155"/>
                  </a:cubicBezTo>
                  <a:cubicBezTo>
                    <a:pt x="445" y="157"/>
                    <a:pt x="445" y="157"/>
                    <a:pt x="445" y="157"/>
                  </a:cubicBezTo>
                  <a:cubicBezTo>
                    <a:pt x="445" y="158"/>
                    <a:pt x="444" y="160"/>
                    <a:pt x="444" y="162"/>
                  </a:cubicBezTo>
                  <a:cubicBezTo>
                    <a:pt x="443" y="166"/>
                    <a:pt x="443" y="170"/>
                    <a:pt x="441" y="172"/>
                  </a:cubicBezTo>
                  <a:cubicBezTo>
                    <a:pt x="440" y="172"/>
                    <a:pt x="439" y="173"/>
                    <a:pt x="438" y="173"/>
                  </a:cubicBezTo>
                  <a:cubicBezTo>
                    <a:pt x="436" y="173"/>
                    <a:pt x="434" y="172"/>
                    <a:pt x="432" y="171"/>
                  </a:cubicBezTo>
                  <a:cubicBezTo>
                    <a:pt x="430" y="171"/>
                    <a:pt x="429" y="170"/>
                    <a:pt x="428" y="170"/>
                  </a:cubicBezTo>
                  <a:cubicBezTo>
                    <a:pt x="427" y="170"/>
                    <a:pt x="427" y="170"/>
                    <a:pt x="427" y="170"/>
                  </a:cubicBezTo>
                  <a:cubicBezTo>
                    <a:pt x="426" y="170"/>
                    <a:pt x="426" y="170"/>
                    <a:pt x="426" y="170"/>
                  </a:cubicBezTo>
                  <a:cubicBezTo>
                    <a:pt x="425" y="170"/>
                    <a:pt x="425" y="170"/>
                    <a:pt x="425" y="170"/>
                  </a:cubicBezTo>
                  <a:cubicBezTo>
                    <a:pt x="425" y="170"/>
                    <a:pt x="424" y="170"/>
                    <a:pt x="424" y="170"/>
                  </a:cubicBezTo>
                  <a:cubicBezTo>
                    <a:pt x="423" y="170"/>
                    <a:pt x="423" y="170"/>
                    <a:pt x="422" y="170"/>
                  </a:cubicBezTo>
                  <a:cubicBezTo>
                    <a:pt x="421" y="169"/>
                    <a:pt x="420" y="169"/>
                    <a:pt x="420" y="168"/>
                  </a:cubicBezTo>
                  <a:cubicBezTo>
                    <a:pt x="420" y="167"/>
                    <a:pt x="420" y="167"/>
                    <a:pt x="420" y="167"/>
                  </a:cubicBezTo>
                  <a:cubicBezTo>
                    <a:pt x="420" y="167"/>
                    <a:pt x="420" y="167"/>
                    <a:pt x="420" y="167"/>
                  </a:cubicBezTo>
                  <a:cubicBezTo>
                    <a:pt x="416" y="163"/>
                    <a:pt x="416" y="162"/>
                    <a:pt x="416" y="157"/>
                  </a:cubicBezTo>
                  <a:cubicBezTo>
                    <a:pt x="416" y="156"/>
                    <a:pt x="416" y="156"/>
                    <a:pt x="416" y="156"/>
                  </a:cubicBezTo>
                  <a:cubicBezTo>
                    <a:pt x="414" y="155"/>
                    <a:pt x="414" y="155"/>
                    <a:pt x="414" y="155"/>
                  </a:cubicBezTo>
                  <a:cubicBezTo>
                    <a:pt x="413" y="155"/>
                    <a:pt x="411" y="154"/>
                    <a:pt x="411" y="154"/>
                  </a:cubicBezTo>
                  <a:cubicBezTo>
                    <a:pt x="410" y="153"/>
                    <a:pt x="410" y="152"/>
                    <a:pt x="410" y="150"/>
                  </a:cubicBezTo>
                  <a:cubicBezTo>
                    <a:pt x="409" y="149"/>
                    <a:pt x="409" y="149"/>
                    <a:pt x="409" y="149"/>
                  </a:cubicBezTo>
                  <a:cubicBezTo>
                    <a:pt x="409" y="144"/>
                    <a:pt x="412" y="140"/>
                    <a:pt x="415" y="136"/>
                  </a:cubicBezTo>
                  <a:cubicBezTo>
                    <a:pt x="416" y="134"/>
                    <a:pt x="417" y="132"/>
                    <a:pt x="418" y="131"/>
                  </a:cubicBezTo>
                  <a:cubicBezTo>
                    <a:pt x="420" y="127"/>
                    <a:pt x="422" y="124"/>
                    <a:pt x="425" y="122"/>
                  </a:cubicBezTo>
                  <a:cubicBezTo>
                    <a:pt x="427" y="120"/>
                    <a:pt x="428" y="120"/>
                    <a:pt x="429" y="120"/>
                  </a:cubicBezTo>
                  <a:cubicBezTo>
                    <a:pt x="430" y="120"/>
                    <a:pt x="430" y="120"/>
                    <a:pt x="431" y="121"/>
                  </a:cubicBezTo>
                  <a:cubicBezTo>
                    <a:pt x="432" y="122"/>
                    <a:pt x="432" y="123"/>
                    <a:pt x="433" y="123"/>
                  </a:cubicBezTo>
                  <a:cubicBezTo>
                    <a:pt x="435" y="125"/>
                    <a:pt x="437" y="126"/>
                    <a:pt x="440" y="127"/>
                  </a:cubicBezTo>
                  <a:cubicBezTo>
                    <a:pt x="443" y="128"/>
                    <a:pt x="443" y="128"/>
                    <a:pt x="443" y="128"/>
                  </a:cubicBezTo>
                  <a:cubicBezTo>
                    <a:pt x="443" y="126"/>
                    <a:pt x="443" y="126"/>
                    <a:pt x="443" y="126"/>
                  </a:cubicBezTo>
                  <a:cubicBezTo>
                    <a:pt x="443" y="125"/>
                    <a:pt x="444" y="123"/>
                    <a:pt x="444" y="122"/>
                  </a:cubicBezTo>
                  <a:cubicBezTo>
                    <a:pt x="445" y="121"/>
                    <a:pt x="445" y="119"/>
                    <a:pt x="445" y="117"/>
                  </a:cubicBezTo>
                  <a:cubicBezTo>
                    <a:pt x="445" y="115"/>
                    <a:pt x="445" y="113"/>
                    <a:pt x="445" y="110"/>
                  </a:cubicBezTo>
                  <a:cubicBezTo>
                    <a:pt x="445" y="108"/>
                    <a:pt x="445" y="106"/>
                    <a:pt x="446" y="104"/>
                  </a:cubicBezTo>
                  <a:cubicBezTo>
                    <a:pt x="446" y="101"/>
                    <a:pt x="446" y="97"/>
                    <a:pt x="446" y="93"/>
                  </a:cubicBezTo>
                  <a:cubicBezTo>
                    <a:pt x="446" y="92"/>
                    <a:pt x="446" y="92"/>
                    <a:pt x="446" y="92"/>
                  </a:cubicBezTo>
                  <a:cubicBezTo>
                    <a:pt x="447" y="88"/>
                    <a:pt x="447" y="84"/>
                    <a:pt x="447" y="80"/>
                  </a:cubicBezTo>
                  <a:cubicBezTo>
                    <a:pt x="447" y="77"/>
                    <a:pt x="446" y="75"/>
                    <a:pt x="446" y="73"/>
                  </a:cubicBezTo>
                  <a:cubicBezTo>
                    <a:pt x="445" y="72"/>
                    <a:pt x="444" y="70"/>
                    <a:pt x="444" y="69"/>
                  </a:cubicBezTo>
                  <a:cubicBezTo>
                    <a:pt x="444" y="68"/>
                    <a:pt x="444" y="66"/>
                    <a:pt x="444" y="65"/>
                  </a:cubicBezTo>
                  <a:cubicBezTo>
                    <a:pt x="444" y="64"/>
                    <a:pt x="444" y="63"/>
                    <a:pt x="444" y="63"/>
                  </a:cubicBezTo>
                  <a:cubicBezTo>
                    <a:pt x="444" y="61"/>
                    <a:pt x="444" y="60"/>
                    <a:pt x="443" y="59"/>
                  </a:cubicBezTo>
                  <a:cubicBezTo>
                    <a:pt x="442" y="58"/>
                    <a:pt x="442" y="58"/>
                    <a:pt x="442" y="57"/>
                  </a:cubicBezTo>
                  <a:cubicBezTo>
                    <a:pt x="440" y="55"/>
                    <a:pt x="439" y="51"/>
                    <a:pt x="437" y="47"/>
                  </a:cubicBezTo>
                  <a:cubicBezTo>
                    <a:pt x="436" y="45"/>
                    <a:pt x="436" y="43"/>
                    <a:pt x="436" y="41"/>
                  </a:cubicBezTo>
                  <a:cubicBezTo>
                    <a:pt x="436" y="39"/>
                    <a:pt x="436" y="37"/>
                    <a:pt x="436" y="35"/>
                  </a:cubicBezTo>
                  <a:cubicBezTo>
                    <a:pt x="435" y="33"/>
                    <a:pt x="435" y="31"/>
                    <a:pt x="434" y="30"/>
                  </a:cubicBezTo>
                  <a:cubicBezTo>
                    <a:pt x="434" y="29"/>
                    <a:pt x="434" y="29"/>
                    <a:pt x="434" y="29"/>
                  </a:cubicBezTo>
                  <a:cubicBezTo>
                    <a:pt x="433" y="27"/>
                    <a:pt x="433" y="25"/>
                    <a:pt x="432" y="23"/>
                  </a:cubicBezTo>
                  <a:cubicBezTo>
                    <a:pt x="432" y="22"/>
                    <a:pt x="432" y="20"/>
                    <a:pt x="431" y="19"/>
                  </a:cubicBezTo>
                  <a:cubicBezTo>
                    <a:pt x="431" y="16"/>
                    <a:pt x="430" y="13"/>
                    <a:pt x="429" y="11"/>
                  </a:cubicBezTo>
                  <a:cubicBezTo>
                    <a:pt x="429" y="10"/>
                    <a:pt x="429" y="10"/>
                    <a:pt x="429" y="10"/>
                  </a:cubicBezTo>
                  <a:cubicBezTo>
                    <a:pt x="427" y="9"/>
                    <a:pt x="427" y="9"/>
                    <a:pt x="427" y="9"/>
                  </a:cubicBezTo>
                  <a:cubicBezTo>
                    <a:pt x="424" y="8"/>
                    <a:pt x="422" y="6"/>
                    <a:pt x="419" y="6"/>
                  </a:cubicBezTo>
                  <a:cubicBezTo>
                    <a:pt x="418" y="6"/>
                    <a:pt x="418" y="5"/>
                    <a:pt x="417" y="5"/>
                  </a:cubicBezTo>
                  <a:cubicBezTo>
                    <a:pt x="414" y="5"/>
                    <a:pt x="412" y="6"/>
                    <a:pt x="410" y="7"/>
                  </a:cubicBezTo>
                  <a:cubicBezTo>
                    <a:pt x="409" y="7"/>
                    <a:pt x="408" y="7"/>
                    <a:pt x="407" y="7"/>
                  </a:cubicBezTo>
                  <a:cubicBezTo>
                    <a:pt x="406" y="8"/>
                    <a:pt x="404" y="8"/>
                    <a:pt x="403" y="8"/>
                  </a:cubicBezTo>
                  <a:cubicBezTo>
                    <a:pt x="401" y="8"/>
                    <a:pt x="400" y="8"/>
                    <a:pt x="398" y="7"/>
                  </a:cubicBezTo>
                  <a:cubicBezTo>
                    <a:pt x="396" y="7"/>
                    <a:pt x="395" y="6"/>
                    <a:pt x="393" y="5"/>
                  </a:cubicBezTo>
                  <a:cubicBezTo>
                    <a:pt x="392" y="4"/>
                    <a:pt x="391" y="3"/>
                    <a:pt x="389" y="3"/>
                  </a:cubicBezTo>
                  <a:cubicBezTo>
                    <a:pt x="387" y="3"/>
                    <a:pt x="386" y="3"/>
                    <a:pt x="385" y="3"/>
                  </a:cubicBezTo>
                  <a:cubicBezTo>
                    <a:pt x="381" y="3"/>
                    <a:pt x="381" y="3"/>
                    <a:pt x="381" y="3"/>
                  </a:cubicBezTo>
                  <a:cubicBezTo>
                    <a:pt x="380" y="3"/>
                    <a:pt x="378" y="3"/>
                    <a:pt x="377" y="2"/>
                  </a:cubicBezTo>
                  <a:cubicBezTo>
                    <a:pt x="376" y="2"/>
                    <a:pt x="375" y="2"/>
                    <a:pt x="374" y="1"/>
                  </a:cubicBezTo>
                  <a:cubicBezTo>
                    <a:pt x="372" y="0"/>
                    <a:pt x="371" y="0"/>
                    <a:pt x="370" y="0"/>
                  </a:cubicBezTo>
                  <a:cubicBezTo>
                    <a:pt x="369" y="0"/>
                    <a:pt x="369" y="0"/>
                    <a:pt x="368" y="0"/>
                  </a:cubicBezTo>
                  <a:cubicBezTo>
                    <a:pt x="367" y="0"/>
                    <a:pt x="367" y="0"/>
                    <a:pt x="367" y="0"/>
                  </a:cubicBezTo>
                  <a:cubicBezTo>
                    <a:pt x="367" y="1"/>
                    <a:pt x="367" y="1"/>
                    <a:pt x="367" y="1"/>
                  </a:cubicBezTo>
                  <a:cubicBezTo>
                    <a:pt x="367" y="2"/>
                    <a:pt x="366" y="2"/>
                    <a:pt x="365" y="3"/>
                  </a:cubicBezTo>
                  <a:cubicBezTo>
                    <a:pt x="365" y="3"/>
                    <a:pt x="365" y="3"/>
                    <a:pt x="364" y="4"/>
                  </a:cubicBezTo>
                  <a:cubicBezTo>
                    <a:pt x="363" y="5"/>
                    <a:pt x="363" y="6"/>
                    <a:pt x="362" y="7"/>
                  </a:cubicBezTo>
                  <a:cubicBezTo>
                    <a:pt x="362" y="8"/>
                    <a:pt x="362" y="8"/>
                    <a:pt x="362" y="8"/>
                  </a:cubicBezTo>
                  <a:cubicBezTo>
                    <a:pt x="361" y="9"/>
                    <a:pt x="361" y="10"/>
                    <a:pt x="360" y="10"/>
                  </a:cubicBezTo>
                  <a:cubicBezTo>
                    <a:pt x="359" y="11"/>
                    <a:pt x="359" y="11"/>
                    <a:pt x="359" y="11"/>
                  </a:cubicBezTo>
                  <a:cubicBezTo>
                    <a:pt x="358" y="11"/>
                    <a:pt x="357" y="12"/>
                    <a:pt x="357" y="13"/>
                  </a:cubicBezTo>
                  <a:cubicBezTo>
                    <a:pt x="356" y="13"/>
                    <a:pt x="356" y="14"/>
                    <a:pt x="355" y="14"/>
                  </a:cubicBezTo>
                  <a:cubicBezTo>
                    <a:pt x="354" y="15"/>
                    <a:pt x="353" y="15"/>
                    <a:pt x="352" y="15"/>
                  </a:cubicBezTo>
                  <a:cubicBezTo>
                    <a:pt x="351" y="15"/>
                    <a:pt x="350" y="15"/>
                    <a:pt x="349" y="15"/>
                  </a:cubicBezTo>
                  <a:cubicBezTo>
                    <a:pt x="349" y="15"/>
                    <a:pt x="348" y="15"/>
                    <a:pt x="347" y="15"/>
                  </a:cubicBezTo>
                  <a:cubicBezTo>
                    <a:pt x="346" y="15"/>
                    <a:pt x="345" y="15"/>
                    <a:pt x="345" y="15"/>
                  </a:cubicBezTo>
                  <a:cubicBezTo>
                    <a:pt x="342" y="16"/>
                    <a:pt x="340" y="19"/>
                    <a:pt x="339" y="21"/>
                  </a:cubicBezTo>
                  <a:cubicBezTo>
                    <a:pt x="338" y="22"/>
                    <a:pt x="338" y="23"/>
                    <a:pt x="337" y="23"/>
                  </a:cubicBezTo>
                  <a:cubicBezTo>
                    <a:pt x="336" y="25"/>
                    <a:pt x="334" y="26"/>
                    <a:pt x="333" y="28"/>
                  </a:cubicBezTo>
                  <a:cubicBezTo>
                    <a:pt x="332" y="29"/>
                    <a:pt x="332" y="30"/>
                    <a:pt x="331" y="31"/>
                  </a:cubicBezTo>
                  <a:cubicBezTo>
                    <a:pt x="330" y="32"/>
                    <a:pt x="328" y="33"/>
                    <a:pt x="327" y="34"/>
                  </a:cubicBezTo>
                  <a:cubicBezTo>
                    <a:pt x="326" y="35"/>
                    <a:pt x="324" y="36"/>
                    <a:pt x="323" y="38"/>
                  </a:cubicBezTo>
                  <a:cubicBezTo>
                    <a:pt x="321" y="40"/>
                    <a:pt x="318" y="42"/>
                    <a:pt x="315" y="44"/>
                  </a:cubicBezTo>
                  <a:cubicBezTo>
                    <a:pt x="312" y="46"/>
                    <a:pt x="310" y="47"/>
                    <a:pt x="307" y="50"/>
                  </a:cubicBezTo>
                  <a:cubicBezTo>
                    <a:pt x="303" y="54"/>
                    <a:pt x="302" y="61"/>
                    <a:pt x="301" y="67"/>
                  </a:cubicBezTo>
                  <a:cubicBezTo>
                    <a:pt x="301" y="68"/>
                    <a:pt x="301" y="68"/>
                    <a:pt x="301" y="68"/>
                  </a:cubicBezTo>
                  <a:cubicBezTo>
                    <a:pt x="300" y="71"/>
                    <a:pt x="300" y="72"/>
                    <a:pt x="298" y="74"/>
                  </a:cubicBezTo>
                  <a:cubicBezTo>
                    <a:pt x="297" y="74"/>
                    <a:pt x="297" y="74"/>
                    <a:pt x="297" y="74"/>
                  </a:cubicBezTo>
                  <a:cubicBezTo>
                    <a:pt x="294" y="76"/>
                    <a:pt x="291" y="78"/>
                    <a:pt x="289" y="81"/>
                  </a:cubicBezTo>
                  <a:cubicBezTo>
                    <a:pt x="287" y="82"/>
                    <a:pt x="285" y="83"/>
                    <a:pt x="283" y="83"/>
                  </a:cubicBezTo>
                  <a:cubicBezTo>
                    <a:pt x="283" y="83"/>
                    <a:pt x="282" y="83"/>
                    <a:pt x="281" y="83"/>
                  </a:cubicBezTo>
                  <a:cubicBezTo>
                    <a:pt x="278" y="84"/>
                    <a:pt x="275" y="84"/>
                    <a:pt x="273" y="87"/>
                  </a:cubicBezTo>
                  <a:cubicBezTo>
                    <a:pt x="272" y="90"/>
                    <a:pt x="272" y="92"/>
                    <a:pt x="271" y="94"/>
                  </a:cubicBezTo>
                  <a:cubicBezTo>
                    <a:pt x="270" y="97"/>
                    <a:pt x="270" y="99"/>
                    <a:pt x="269" y="101"/>
                  </a:cubicBezTo>
                  <a:cubicBezTo>
                    <a:pt x="268" y="103"/>
                    <a:pt x="267" y="105"/>
                    <a:pt x="267" y="107"/>
                  </a:cubicBezTo>
                  <a:cubicBezTo>
                    <a:pt x="266" y="109"/>
                    <a:pt x="265" y="112"/>
                    <a:pt x="263" y="114"/>
                  </a:cubicBezTo>
                  <a:cubicBezTo>
                    <a:pt x="263" y="115"/>
                    <a:pt x="263" y="115"/>
                    <a:pt x="263" y="115"/>
                  </a:cubicBezTo>
                  <a:cubicBezTo>
                    <a:pt x="261" y="117"/>
                    <a:pt x="260" y="119"/>
                    <a:pt x="258" y="120"/>
                  </a:cubicBezTo>
                  <a:cubicBezTo>
                    <a:pt x="257" y="120"/>
                    <a:pt x="257" y="120"/>
                    <a:pt x="256" y="120"/>
                  </a:cubicBezTo>
                  <a:cubicBezTo>
                    <a:pt x="255" y="120"/>
                    <a:pt x="254" y="120"/>
                    <a:pt x="253" y="120"/>
                  </a:cubicBezTo>
                  <a:cubicBezTo>
                    <a:pt x="252" y="119"/>
                    <a:pt x="252" y="119"/>
                    <a:pt x="251" y="119"/>
                  </a:cubicBezTo>
                  <a:cubicBezTo>
                    <a:pt x="251" y="119"/>
                    <a:pt x="250" y="119"/>
                    <a:pt x="250" y="119"/>
                  </a:cubicBezTo>
                  <a:cubicBezTo>
                    <a:pt x="248" y="119"/>
                    <a:pt x="247" y="119"/>
                    <a:pt x="245" y="120"/>
                  </a:cubicBezTo>
                  <a:cubicBezTo>
                    <a:pt x="244" y="121"/>
                    <a:pt x="243" y="122"/>
                    <a:pt x="241" y="122"/>
                  </a:cubicBezTo>
                  <a:cubicBezTo>
                    <a:pt x="241" y="122"/>
                    <a:pt x="241" y="122"/>
                    <a:pt x="240" y="122"/>
                  </a:cubicBezTo>
                  <a:cubicBezTo>
                    <a:pt x="239" y="121"/>
                    <a:pt x="239" y="121"/>
                    <a:pt x="239" y="121"/>
                  </a:cubicBezTo>
                  <a:cubicBezTo>
                    <a:pt x="235" y="121"/>
                    <a:pt x="231" y="121"/>
                    <a:pt x="229" y="118"/>
                  </a:cubicBezTo>
                  <a:cubicBezTo>
                    <a:pt x="227" y="116"/>
                    <a:pt x="226" y="115"/>
                    <a:pt x="224" y="115"/>
                  </a:cubicBezTo>
                  <a:cubicBezTo>
                    <a:pt x="223" y="115"/>
                    <a:pt x="223" y="115"/>
                    <a:pt x="223" y="115"/>
                  </a:cubicBezTo>
                  <a:cubicBezTo>
                    <a:pt x="223" y="115"/>
                    <a:pt x="222" y="115"/>
                    <a:pt x="222" y="115"/>
                  </a:cubicBezTo>
                  <a:cubicBezTo>
                    <a:pt x="221" y="115"/>
                    <a:pt x="221" y="115"/>
                    <a:pt x="221" y="115"/>
                  </a:cubicBezTo>
                  <a:cubicBezTo>
                    <a:pt x="221" y="115"/>
                    <a:pt x="220" y="115"/>
                    <a:pt x="219" y="115"/>
                  </a:cubicBezTo>
                  <a:cubicBezTo>
                    <a:pt x="218" y="115"/>
                    <a:pt x="218" y="115"/>
                    <a:pt x="217" y="115"/>
                  </a:cubicBezTo>
                  <a:cubicBezTo>
                    <a:pt x="213" y="114"/>
                    <a:pt x="209" y="110"/>
                    <a:pt x="207" y="107"/>
                  </a:cubicBezTo>
                  <a:cubicBezTo>
                    <a:pt x="204" y="104"/>
                    <a:pt x="201" y="103"/>
                    <a:pt x="198" y="103"/>
                  </a:cubicBezTo>
                  <a:cubicBezTo>
                    <a:pt x="197" y="103"/>
                    <a:pt x="195" y="103"/>
                    <a:pt x="194" y="103"/>
                  </a:cubicBezTo>
                  <a:cubicBezTo>
                    <a:pt x="191" y="104"/>
                    <a:pt x="187" y="106"/>
                    <a:pt x="186" y="114"/>
                  </a:cubicBezTo>
                  <a:cubicBezTo>
                    <a:pt x="186" y="115"/>
                    <a:pt x="186" y="115"/>
                    <a:pt x="186" y="115"/>
                  </a:cubicBezTo>
                  <a:cubicBezTo>
                    <a:pt x="185" y="118"/>
                    <a:pt x="185" y="121"/>
                    <a:pt x="183" y="124"/>
                  </a:cubicBezTo>
                  <a:cubicBezTo>
                    <a:pt x="183" y="126"/>
                    <a:pt x="182" y="127"/>
                    <a:pt x="181" y="128"/>
                  </a:cubicBezTo>
                  <a:cubicBezTo>
                    <a:pt x="180" y="129"/>
                    <a:pt x="179" y="131"/>
                    <a:pt x="178" y="132"/>
                  </a:cubicBezTo>
                  <a:cubicBezTo>
                    <a:pt x="177" y="134"/>
                    <a:pt x="176" y="136"/>
                    <a:pt x="174" y="137"/>
                  </a:cubicBezTo>
                  <a:cubicBezTo>
                    <a:pt x="173" y="138"/>
                    <a:pt x="172" y="139"/>
                    <a:pt x="170" y="139"/>
                  </a:cubicBezTo>
                  <a:cubicBezTo>
                    <a:pt x="169" y="140"/>
                    <a:pt x="169" y="140"/>
                    <a:pt x="168" y="140"/>
                  </a:cubicBezTo>
                  <a:cubicBezTo>
                    <a:pt x="166" y="141"/>
                    <a:pt x="166" y="143"/>
                    <a:pt x="165" y="145"/>
                  </a:cubicBezTo>
                  <a:cubicBezTo>
                    <a:pt x="165" y="145"/>
                    <a:pt x="165" y="146"/>
                    <a:pt x="165" y="146"/>
                  </a:cubicBezTo>
                  <a:cubicBezTo>
                    <a:pt x="164" y="148"/>
                    <a:pt x="162" y="149"/>
                    <a:pt x="161" y="150"/>
                  </a:cubicBezTo>
                  <a:cubicBezTo>
                    <a:pt x="160" y="150"/>
                    <a:pt x="159" y="150"/>
                    <a:pt x="159" y="150"/>
                  </a:cubicBezTo>
                  <a:cubicBezTo>
                    <a:pt x="158" y="150"/>
                    <a:pt x="158" y="150"/>
                    <a:pt x="158" y="150"/>
                  </a:cubicBezTo>
                  <a:cubicBezTo>
                    <a:pt x="156" y="150"/>
                    <a:pt x="155" y="150"/>
                    <a:pt x="154" y="152"/>
                  </a:cubicBezTo>
                  <a:cubicBezTo>
                    <a:pt x="154" y="152"/>
                    <a:pt x="154" y="153"/>
                    <a:pt x="154" y="154"/>
                  </a:cubicBezTo>
                  <a:cubicBezTo>
                    <a:pt x="153" y="155"/>
                    <a:pt x="153" y="156"/>
                    <a:pt x="151" y="156"/>
                  </a:cubicBezTo>
                  <a:cubicBezTo>
                    <a:pt x="151" y="156"/>
                    <a:pt x="151" y="156"/>
                    <a:pt x="150" y="156"/>
                  </a:cubicBezTo>
                  <a:cubicBezTo>
                    <a:pt x="150" y="156"/>
                    <a:pt x="149" y="156"/>
                    <a:pt x="148" y="156"/>
                  </a:cubicBezTo>
                  <a:cubicBezTo>
                    <a:pt x="147" y="155"/>
                    <a:pt x="146" y="155"/>
                    <a:pt x="145" y="155"/>
                  </a:cubicBezTo>
                  <a:cubicBezTo>
                    <a:pt x="145" y="155"/>
                    <a:pt x="145" y="155"/>
                    <a:pt x="145" y="155"/>
                  </a:cubicBezTo>
                  <a:cubicBezTo>
                    <a:pt x="144" y="155"/>
                    <a:pt x="143" y="155"/>
                    <a:pt x="142" y="155"/>
                  </a:cubicBezTo>
                  <a:cubicBezTo>
                    <a:pt x="141" y="156"/>
                    <a:pt x="141" y="156"/>
                    <a:pt x="140" y="156"/>
                  </a:cubicBezTo>
                  <a:cubicBezTo>
                    <a:pt x="139" y="156"/>
                    <a:pt x="139" y="156"/>
                    <a:pt x="138" y="156"/>
                  </a:cubicBezTo>
                  <a:cubicBezTo>
                    <a:pt x="137" y="155"/>
                    <a:pt x="136" y="155"/>
                    <a:pt x="135" y="155"/>
                  </a:cubicBezTo>
                  <a:cubicBezTo>
                    <a:pt x="134" y="154"/>
                    <a:pt x="133" y="154"/>
                    <a:pt x="131" y="154"/>
                  </a:cubicBezTo>
                  <a:cubicBezTo>
                    <a:pt x="130" y="154"/>
                    <a:pt x="129" y="154"/>
                    <a:pt x="127" y="155"/>
                  </a:cubicBezTo>
                  <a:cubicBezTo>
                    <a:pt x="127" y="155"/>
                    <a:pt x="126" y="156"/>
                    <a:pt x="126" y="156"/>
                  </a:cubicBezTo>
                  <a:cubicBezTo>
                    <a:pt x="125" y="156"/>
                    <a:pt x="125" y="155"/>
                    <a:pt x="125" y="155"/>
                  </a:cubicBezTo>
                  <a:cubicBezTo>
                    <a:pt x="125" y="155"/>
                    <a:pt x="124" y="155"/>
                    <a:pt x="124" y="155"/>
                  </a:cubicBezTo>
                  <a:cubicBezTo>
                    <a:pt x="124" y="155"/>
                    <a:pt x="124" y="155"/>
                    <a:pt x="124" y="156"/>
                  </a:cubicBezTo>
                  <a:cubicBezTo>
                    <a:pt x="124" y="154"/>
                    <a:pt x="124" y="153"/>
                    <a:pt x="124" y="152"/>
                  </a:cubicBezTo>
                  <a:cubicBezTo>
                    <a:pt x="124" y="147"/>
                    <a:pt x="123" y="142"/>
                    <a:pt x="127" y="138"/>
                  </a:cubicBezTo>
                  <a:cubicBezTo>
                    <a:pt x="131" y="134"/>
                    <a:pt x="131" y="130"/>
                    <a:pt x="129" y="124"/>
                  </a:cubicBezTo>
                  <a:cubicBezTo>
                    <a:pt x="128" y="120"/>
                    <a:pt x="128" y="120"/>
                    <a:pt x="128" y="120"/>
                  </a:cubicBezTo>
                  <a:cubicBezTo>
                    <a:pt x="127" y="117"/>
                    <a:pt x="126" y="113"/>
                    <a:pt x="124" y="110"/>
                  </a:cubicBezTo>
                  <a:cubicBezTo>
                    <a:pt x="121" y="101"/>
                    <a:pt x="117" y="92"/>
                    <a:pt x="109" y="89"/>
                  </a:cubicBezTo>
                  <a:cubicBezTo>
                    <a:pt x="106" y="88"/>
                    <a:pt x="106" y="88"/>
                    <a:pt x="106" y="88"/>
                  </a:cubicBezTo>
                  <a:cubicBezTo>
                    <a:pt x="104" y="207"/>
                    <a:pt x="104" y="207"/>
                    <a:pt x="104" y="207"/>
                  </a:cubicBezTo>
                  <a:cubicBezTo>
                    <a:pt x="102" y="207"/>
                    <a:pt x="101" y="208"/>
                    <a:pt x="99" y="208"/>
                  </a:cubicBezTo>
                  <a:cubicBezTo>
                    <a:pt x="96" y="209"/>
                    <a:pt x="94" y="210"/>
                    <a:pt x="92" y="211"/>
                  </a:cubicBezTo>
                  <a:cubicBezTo>
                    <a:pt x="90" y="211"/>
                    <a:pt x="90" y="212"/>
                    <a:pt x="90" y="213"/>
                  </a:cubicBezTo>
                  <a:cubicBezTo>
                    <a:pt x="90" y="214"/>
                    <a:pt x="89" y="215"/>
                    <a:pt x="89" y="215"/>
                  </a:cubicBezTo>
                  <a:cubicBezTo>
                    <a:pt x="88" y="216"/>
                    <a:pt x="87" y="217"/>
                    <a:pt x="85" y="217"/>
                  </a:cubicBezTo>
                  <a:cubicBezTo>
                    <a:pt x="85" y="217"/>
                    <a:pt x="85" y="217"/>
                    <a:pt x="84" y="217"/>
                  </a:cubicBezTo>
                  <a:cubicBezTo>
                    <a:pt x="83" y="218"/>
                    <a:pt x="83" y="218"/>
                    <a:pt x="83" y="218"/>
                  </a:cubicBezTo>
                  <a:cubicBezTo>
                    <a:pt x="83" y="219"/>
                    <a:pt x="83" y="219"/>
                    <a:pt x="83" y="219"/>
                  </a:cubicBezTo>
                  <a:cubicBezTo>
                    <a:pt x="83" y="221"/>
                    <a:pt x="83" y="223"/>
                    <a:pt x="81" y="224"/>
                  </a:cubicBezTo>
                  <a:cubicBezTo>
                    <a:pt x="81" y="225"/>
                    <a:pt x="80" y="225"/>
                    <a:pt x="80" y="225"/>
                  </a:cubicBezTo>
                  <a:cubicBezTo>
                    <a:pt x="79" y="225"/>
                    <a:pt x="79" y="225"/>
                    <a:pt x="78" y="225"/>
                  </a:cubicBezTo>
                  <a:cubicBezTo>
                    <a:pt x="77" y="224"/>
                    <a:pt x="76" y="224"/>
                    <a:pt x="75" y="223"/>
                  </a:cubicBezTo>
                  <a:cubicBezTo>
                    <a:pt x="74" y="222"/>
                    <a:pt x="73" y="222"/>
                    <a:pt x="71" y="222"/>
                  </a:cubicBezTo>
                  <a:cubicBezTo>
                    <a:pt x="68" y="222"/>
                    <a:pt x="68" y="222"/>
                    <a:pt x="68" y="222"/>
                  </a:cubicBezTo>
                  <a:cubicBezTo>
                    <a:pt x="65" y="222"/>
                    <a:pt x="62" y="222"/>
                    <a:pt x="59" y="222"/>
                  </a:cubicBezTo>
                  <a:cubicBezTo>
                    <a:pt x="58" y="222"/>
                    <a:pt x="57" y="223"/>
                    <a:pt x="56" y="223"/>
                  </a:cubicBezTo>
                  <a:cubicBezTo>
                    <a:pt x="54" y="223"/>
                    <a:pt x="53" y="224"/>
                    <a:pt x="51" y="224"/>
                  </a:cubicBezTo>
                  <a:cubicBezTo>
                    <a:pt x="51" y="224"/>
                    <a:pt x="50" y="224"/>
                    <a:pt x="50" y="224"/>
                  </a:cubicBezTo>
                  <a:cubicBezTo>
                    <a:pt x="49" y="223"/>
                    <a:pt x="49" y="223"/>
                    <a:pt x="49" y="223"/>
                  </a:cubicBezTo>
                  <a:cubicBezTo>
                    <a:pt x="47" y="218"/>
                    <a:pt x="47" y="218"/>
                    <a:pt x="41" y="217"/>
                  </a:cubicBezTo>
                  <a:cubicBezTo>
                    <a:pt x="39" y="217"/>
                    <a:pt x="39" y="217"/>
                    <a:pt x="39" y="217"/>
                  </a:cubicBezTo>
                  <a:cubicBezTo>
                    <a:pt x="36" y="217"/>
                    <a:pt x="34" y="217"/>
                    <a:pt x="32" y="213"/>
                  </a:cubicBezTo>
                  <a:cubicBezTo>
                    <a:pt x="31" y="211"/>
                    <a:pt x="31" y="211"/>
                    <a:pt x="31" y="210"/>
                  </a:cubicBezTo>
                  <a:cubicBezTo>
                    <a:pt x="32" y="210"/>
                    <a:pt x="32" y="209"/>
                    <a:pt x="32" y="208"/>
                  </a:cubicBezTo>
                  <a:cubicBezTo>
                    <a:pt x="32" y="208"/>
                    <a:pt x="32" y="207"/>
                    <a:pt x="32" y="206"/>
                  </a:cubicBezTo>
                  <a:cubicBezTo>
                    <a:pt x="33" y="205"/>
                    <a:pt x="33" y="204"/>
                    <a:pt x="32" y="203"/>
                  </a:cubicBezTo>
                  <a:cubicBezTo>
                    <a:pt x="31" y="201"/>
                    <a:pt x="30" y="200"/>
                    <a:pt x="29" y="199"/>
                  </a:cubicBezTo>
                  <a:cubicBezTo>
                    <a:pt x="27" y="198"/>
                    <a:pt x="26" y="197"/>
                    <a:pt x="25" y="196"/>
                  </a:cubicBezTo>
                  <a:cubicBezTo>
                    <a:pt x="25" y="195"/>
                    <a:pt x="25" y="195"/>
                    <a:pt x="25" y="195"/>
                  </a:cubicBezTo>
                  <a:cubicBezTo>
                    <a:pt x="24" y="195"/>
                    <a:pt x="24" y="195"/>
                    <a:pt x="24" y="195"/>
                  </a:cubicBezTo>
                  <a:cubicBezTo>
                    <a:pt x="23" y="195"/>
                    <a:pt x="23" y="195"/>
                    <a:pt x="23" y="195"/>
                  </a:cubicBezTo>
                  <a:cubicBezTo>
                    <a:pt x="17" y="195"/>
                    <a:pt x="15" y="200"/>
                    <a:pt x="13" y="205"/>
                  </a:cubicBezTo>
                  <a:cubicBezTo>
                    <a:pt x="11" y="210"/>
                    <a:pt x="11" y="210"/>
                    <a:pt x="7" y="211"/>
                  </a:cubicBezTo>
                  <a:cubicBezTo>
                    <a:pt x="6" y="211"/>
                    <a:pt x="5" y="211"/>
                    <a:pt x="5" y="211"/>
                  </a:cubicBezTo>
                  <a:cubicBezTo>
                    <a:pt x="0" y="212"/>
                    <a:pt x="0" y="212"/>
                    <a:pt x="0" y="212"/>
                  </a:cubicBezTo>
                  <a:cubicBezTo>
                    <a:pt x="3" y="215"/>
                    <a:pt x="3" y="215"/>
                    <a:pt x="3" y="215"/>
                  </a:cubicBezTo>
                  <a:cubicBezTo>
                    <a:pt x="4" y="216"/>
                    <a:pt x="6" y="217"/>
                    <a:pt x="7" y="220"/>
                  </a:cubicBezTo>
                  <a:cubicBezTo>
                    <a:pt x="7" y="220"/>
                    <a:pt x="7" y="221"/>
                    <a:pt x="8" y="222"/>
                  </a:cubicBezTo>
                  <a:cubicBezTo>
                    <a:pt x="9" y="224"/>
                    <a:pt x="10" y="226"/>
                    <a:pt x="11" y="228"/>
                  </a:cubicBezTo>
                  <a:cubicBezTo>
                    <a:pt x="12" y="230"/>
                    <a:pt x="13" y="233"/>
                    <a:pt x="14" y="236"/>
                  </a:cubicBezTo>
                  <a:cubicBezTo>
                    <a:pt x="15" y="238"/>
                    <a:pt x="16" y="241"/>
                    <a:pt x="17" y="243"/>
                  </a:cubicBezTo>
                  <a:cubicBezTo>
                    <a:pt x="18" y="245"/>
                    <a:pt x="18" y="247"/>
                    <a:pt x="19" y="249"/>
                  </a:cubicBezTo>
                  <a:cubicBezTo>
                    <a:pt x="19" y="250"/>
                    <a:pt x="19" y="251"/>
                    <a:pt x="20" y="252"/>
                  </a:cubicBezTo>
                  <a:cubicBezTo>
                    <a:pt x="20" y="254"/>
                    <a:pt x="21" y="256"/>
                    <a:pt x="21" y="258"/>
                  </a:cubicBezTo>
                  <a:cubicBezTo>
                    <a:pt x="22" y="260"/>
                    <a:pt x="22" y="263"/>
                    <a:pt x="23" y="265"/>
                  </a:cubicBezTo>
                  <a:cubicBezTo>
                    <a:pt x="24" y="269"/>
                    <a:pt x="26" y="272"/>
                    <a:pt x="28" y="275"/>
                  </a:cubicBezTo>
                  <a:cubicBezTo>
                    <a:pt x="29" y="277"/>
                    <a:pt x="29" y="277"/>
                    <a:pt x="29" y="277"/>
                  </a:cubicBezTo>
                  <a:cubicBezTo>
                    <a:pt x="30" y="279"/>
                    <a:pt x="31" y="282"/>
                    <a:pt x="32" y="284"/>
                  </a:cubicBezTo>
                  <a:cubicBezTo>
                    <a:pt x="33" y="287"/>
                    <a:pt x="34" y="289"/>
                    <a:pt x="35" y="291"/>
                  </a:cubicBezTo>
                  <a:cubicBezTo>
                    <a:pt x="36" y="293"/>
                    <a:pt x="36" y="294"/>
                    <a:pt x="37" y="295"/>
                  </a:cubicBezTo>
                  <a:cubicBezTo>
                    <a:pt x="38" y="297"/>
                    <a:pt x="39" y="299"/>
                    <a:pt x="40" y="302"/>
                  </a:cubicBezTo>
                  <a:cubicBezTo>
                    <a:pt x="41" y="303"/>
                    <a:pt x="42" y="304"/>
                    <a:pt x="43" y="306"/>
                  </a:cubicBezTo>
                  <a:cubicBezTo>
                    <a:pt x="44" y="307"/>
                    <a:pt x="45" y="307"/>
                    <a:pt x="45" y="308"/>
                  </a:cubicBezTo>
                  <a:cubicBezTo>
                    <a:pt x="46" y="309"/>
                    <a:pt x="46" y="310"/>
                    <a:pt x="47" y="311"/>
                  </a:cubicBezTo>
                  <a:cubicBezTo>
                    <a:pt x="47" y="312"/>
                    <a:pt x="48" y="313"/>
                    <a:pt x="48" y="314"/>
                  </a:cubicBezTo>
                  <a:cubicBezTo>
                    <a:pt x="49" y="315"/>
                    <a:pt x="49" y="315"/>
                    <a:pt x="49" y="315"/>
                  </a:cubicBezTo>
                  <a:cubicBezTo>
                    <a:pt x="49" y="315"/>
                    <a:pt x="50" y="316"/>
                    <a:pt x="50" y="317"/>
                  </a:cubicBezTo>
                  <a:cubicBezTo>
                    <a:pt x="52" y="321"/>
                    <a:pt x="52" y="327"/>
                    <a:pt x="52" y="332"/>
                  </a:cubicBezTo>
                  <a:cubicBezTo>
                    <a:pt x="52" y="333"/>
                    <a:pt x="52" y="334"/>
                    <a:pt x="52" y="336"/>
                  </a:cubicBezTo>
                  <a:cubicBezTo>
                    <a:pt x="52" y="338"/>
                    <a:pt x="53" y="340"/>
                    <a:pt x="52" y="342"/>
                  </a:cubicBezTo>
                  <a:cubicBezTo>
                    <a:pt x="52" y="345"/>
                    <a:pt x="50" y="348"/>
                    <a:pt x="47" y="349"/>
                  </a:cubicBezTo>
                  <a:cubicBezTo>
                    <a:pt x="47" y="349"/>
                    <a:pt x="47" y="348"/>
                    <a:pt x="46" y="348"/>
                  </a:cubicBezTo>
                  <a:cubicBezTo>
                    <a:pt x="45" y="348"/>
                    <a:pt x="44" y="347"/>
                    <a:pt x="43" y="347"/>
                  </a:cubicBezTo>
                  <a:cubicBezTo>
                    <a:pt x="42" y="347"/>
                    <a:pt x="41" y="348"/>
                    <a:pt x="41" y="348"/>
                  </a:cubicBezTo>
                  <a:cubicBezTo>
                    <a:pt x="39" y="351"/>
                    <a:pt x="40" y="354"/>
                    <a:pt x="40" y="356"/>
                  </a:cubicBezTo>
                  <a:cubicBezTo>
                    <a:pt x="41" y="356"/>
                    <a:pt x="41" y="356"/>
                    <a:pt x="41" y="356"/>
                  </a:cubicBezTo>
                  <a:cubicBezTo>
                    <a:pt x="41" y="359"/>
                    <a:pt x="43" y="361"/>
                    <a:pt x="44" y="363"/>
                  </a:cubicBezTo>
                  <a:cubicBezTo>
                    <a:pt x="45" y="365"/>
                    <a:pt x="46" y="366"/>
                    <a:pt x="47" y="367"/>
                  </a:cubicBezTo>
                  <a:cubicBezTo>
                    <a:pt x="48" y="369"/>
                    <a:pt x="49" y="371"/>
                    <a:pt x="50" y="373"/>
                  </a:cubicBezTo>
                  <a:cubicBezTo>
                    <a:pt x="55" y="379"/>
                    <a:pt x="57" y="383"/>
                    <a:pt x="54" y="388"/>
                  </a:cubicBezTo>
                  <a:cubicBezTo>
                    <a:pt x="54" y="388"/>
                    <a:pt x="54" y="388"/>
                    <a:pt x="53" y="389"/>
                  </a:cubicBezTo>
                  <a:cubicBezTo>
                    <a:pt x="52" y="390"/>
                    <a:pt x="52" y="391"/>
                    <a:pt x="51" y="392"/>
                  </a:cubicBezTo>
                  <a:cubicBezTo>
                    <a:pt x="51" y="394"/>
                    <a:pt x="51" y="396"/>
                    <a:pt x="52" y="398"/>
                  </a:cubicBezTo>
                  <a:cubicBezTo>
                    <a:pt x="52" y="399"/>
                    <a:pt x="52" y="399"/>
                    <a:pt x="52" y="399"/>
                  </a:cubicBezTo>
                  <a:cubicBezTo>
                    <a:pt x="52" y="399"/>
                    <a:pt x="52" y="399"/>
                    <a:pt x="52" y="399"/>
                  </a:cubicBezTo>
                  <a:cubicBezTo>
                    <a:pt x="53" y="401"/>
                    <a:pt x="54" y="404"/>
                    <a:pt x="56" y="404"/>
                  </a:cubicBezTo>
                  <a:cubicBezTo>
                    <a:pt x="57" y="404"/>
                    <a:pt x="57" y="404"/>
                    <a:pt x="57" y="404"/>
                  </a:cubicBezTo>
                  <a:cubicBezTo>
                    <a:pt x="60" y="402"/>
                    <a:pt x="59" y="399"/>
                    <a:pt x="59" y="398"/>
                  </a:cubicBezTo>
                  <a:cubicBezTo>
                    <a:pt x="59" y="398"/>
                    <a:pt x="59" y="397"/>
                    <a:pt x="59" y="397"/>
                  </a:cubicBezTo>
                  <a:cubicBezTo>
                    <a:pt x="59" y="397"/>
                    <a:pt x="59" y="396"/>
                    <a:pt x="59" y="396"/>
                  </a:cubicBezTo>
                  <a:cubicBezTo>
                    <a:pt x="60" y="395"/>
                    <a:pt x="61" y="395"/>
                    <a:pt x="62" y="395"/>
                  </a:cubicBezTo>
                  <a:cubicBezTo>
                    <a:pt x="64" y="395"/>
                    <a:pt x="65" y="396"/>
                    <a:pt x="65" y="396"/>
                  </a:cubicBezTo>
                  <a:cubicBezTo>
                    <a:pt x="65" y="399"/>
                    <a:pt x="65" y="402"/>
                    <a:pt x="68" y="404"/>
                  </a:cubicBezTo>
                  <a:cubicBezTo>
                    <a:pt x="69" y="405"/>
                    <a:pt x="69" y="405"/>
                    <a:pt x="69" y="405"/>
                  </a:cubicBezTo>
                  <a:cubicBezTo>
                    <a:pt x="70" y="404"/>
                    <a:pt x="70" y="404"/>
                    <a:pt x="70" y="404"/>
                  </a:cubicBezTo>
                  <a:cubicBezTo>
                    <a:pt x="70" y="404"/>
                    <a:pt x="71" y="404"/>
                    <a:pt x="71" y="404"/>
                  </a:cubicBezTo>
                  <a:cubicBezTo>
                    <a:pt x="72" y="404"/>
                    <a:pt x="72" y="404"/>
                    <a:pt x="72" y="404"/>
                  </a:cubicBezTo>
                  <a:cubicBezTo>
                    <a:pt x="72" y="404"/>
                    <a:pt x="73" y="405"/>
                    <a:pt x="73" y="406"/>
                  </a:cubicBezTo>
                  <a:cubicBezTo>
                    <a:pt x="74" y="406"/>
                    <a:pt x="74" y="406"/>
                    <a:pt x="75" y="406"/>
                  </a:cubicBezTo>
                  <a:cubicBezTo>
                    <a:pt x="75" y="406"/>
                    <a:pt x="76" y="406"/>
                    <a:pt x="76" y="406"/>
                  </a:cubicBezTo>
                  <a:cubicBezTo>
                    <a:pt x="76" y="406"/>
                    <a:pt x="76" y="406"/>
                    <a:pt x="76" y="406"/>
                  </a:cubicBezTo>
                  <a:cubicBezTo>
                    <a:pt x="77" y="406"/>
                    <a:pt x="78" y="406"/>
                    <a:pt x="78" y="407"/>
                  </a:cubicBezTo>
                  <a:cubicBezTo>
                    <a:pt x="78" y="407"/>
                    <a:pt x="78" y="408"/>
                    <a:pt x="78" y="408"/>
                  </a:cubicBezTo>
                  <a:cubicBezTo>
                    <a:pt x="78" y="409"/>
                    <a:pt x="78" y="410"/>
                    <a:pt x="79" y="411"/>
                  </a:cubicBezTo>
                  <a:cubicBezTo>
                    <a:pt x="80" y="412"/>
                    <a:pt x="81" y="412"/>
                    <a:pt x="81" y="413"/>
                  </a:cubicBezTo>
                  <a:cubicBezTo>
                    <a:pt x="82" y="413"/>
                    <a:pt x="82" y="413"/>
                    <a:pt x="82" y="413"/>
                  </a:cubicBezTo>
                  <a:cubicBezTo>
                    <a:pt x="82" y="413"/>
                    <a:pt x="83" y="414"/>
                    <a:pt x="83" y="414"/>
                  </a:cubicBezTo>
                  <a:cubicBezTo>
                    <a:pt x="84" y="415"/>
                    <a:pt x="84" y="415"/>
                    <a:pt x="85" y="416"/>
                  </a:cubicBezTo>
                  <a:cubicBezTo>
                    <a:pt x="87" y="417"/>
                    <a:pt x="89" y="417"/>
                    <a:pt x="90" y="418"/>
                  </a:cubicBezTo>
                  <a:cubicBezTo>
                    <a:pt x="91" y="418"/>
                    <a:pt x="92" y="418"/>
                    <a:pt x="92" y="419"/>
                  </a:cubicBezTo>
                  <a:cubicBezTo>
                    <a:pt x="94" y="419"/>
                    <a:pt x="96" y="420"/>
                    <a:pt x="99" y="420"/>
                  </a:cubicBezTo>
                  <a:cubicBezTo>
                    <a:pt x="100" y="420"/>
                    <a:pt x="100" y="420"/>
                    <a:pt x="101" y="419"/>
                  </a:cubicBezTo>
                  <a:cubicBezTo>
                    <a:pt x="103" y="419"/>
                    <a:pt x="105" y="416"/>
                    <a:pt x="107" y="414"/>
                  </a:cubicBezTo>
                  <a:cubicBezTo>
                    <a:pt x="108" y="413"/>
                    <a:pt x="108" y="412"/>
                    <a:pt x="108" y="412"/>
                  </a:cubicBezTo>
                  <a:cubicBezTo>
                    <a:pt x="109" y="411"/>
                    <a:pt x="110" y="409"/>
                    <a:pt x="111" y="409"/>
                  </a:cubicBezTo>
                  <a:cubicBezTo>
                    <a:pt x="113" y="408"/>
                    <a:pt x="114" y="408"/>
                    <a:pt x="116" y="408"/>
                  </a:cubicBezTo>
                  <a:cubicBezTo>
                    <a:pt x="117" y="408"/>
                    <a:pt x="119" y="408"/>
                    <a:pt x="121" y="407"/>
                  </a:cubicBezTo>
                  <a:cubicBezTo>
                    <a:pt x="122" y="407"/>
                    <a:pt x="122" y="406"/>
                    <a:pt x="123" y="406"/>
                  </a:cubicBezTo>
                  <a:cubicBezTo>
                    <a:pt x="124" y="405"/>
                    <a:pt x="124" y="405"/>
                    <a:pt x="125" y="405"/>
                  </a:cubicBezTo>
                  <a:cubicBezTo>
                    <a:pt x="125" y="405"/>
                    <a:pt x="126" y="405"/>
                    <a:pt x="126" y="405"/>
                  </a:cubicBezTo>
                  <a:cubicBezTo>
                    <a:pt x="127" y="405"/>
                    <a:pt x="129" y="405"/>
                    <a:pt x="130" y="405"/>
                  </a:cubicBezTo>
                  <a:cubicBezTo>
                    <a:pt x="130" y="405"/>
                    <a:pt x="131" y="406"/>
                    <a:pt x="131" y="406"/>
                  </a:cubicBezTo>
                  <a:cubicBezTo>
                    <a:pt x="132" y="406"/>
                    <a:pt x="134" y="407"/>
                    <a:pt x="135" y="407"/>
                  </a:cubicBezTo>
                  <a:cubicBezTo>
                    <a:pt x="135" y="407"/>
                    <a:pt x="135" y="407"/>
                    <a:pt x="135" y="407"/>
                  </a:cubicBezTo>
                  <a:cubicBezTo>
                    <a:pt x="137" y="407"/>
                    <a:pt x="138" y="406"/>
                    <a:pt x="139" y="406"/>
                  </a:cubicBezTo>
                  <a:cubicBezTo>
                    <a:pt x="139" y="405"/>
                    <a:pt x="140" y="405"/>
                    <a:pt x="140" y="405"/>
                  </a:cubicBezTo>
                  <a:cubicBezTo>
                    <a:pt x="141" y="405"/>
                    <a:pt x="141" y="405"/>
                    <a:pt x="142" y="405"/>
                  </a:cubicBezTo>
                  <a:cubicBezTo>
                    <a:pt x="143" y="405"/>
                    <a:pt x="144" y="405"/>
                    <a:pt x="145" y="405"/>
                  </a:cubicBezTo>
                  <a:cubicBezTo>
                    <a:pt x="146" y="405"/>
                    <a:pt x="146" y="405"/>
                    <a:pt x="146" y="405"/>
                  </a:cubicBezTo>
                  <a:cubicBezTo>
                    <a:pt x="147" y="406"/>
                    <a:pt x="148" y="406"/>
                    <a:pt x="149" y="406"/>
                  </a:cubicBezTo>
                  <a:cubicBezTo>
                    <a:pt x="150" y="406"/>
                    <a:pt x="151" y="405"/>
                    <a:pt x="152" y="404"/>
                  </a:cubicBezTo>
                  <a:cubicBezTo>
                    <a:pt x="153" y="404"/>
                    <a:pt x="153" y="403"/>
                    <a:pt x="153" y="402"/>
                  </a:cubicBezTo>
                  <a:cubicBezTo>
                    <a:pt x="153" y="402"/>
                    <a:pt x="153" y="402"/>
                    <a:pt x="153" y="402"/>
                  </a:cubicBezTo>
                  <a:cubicBezTo>
                    <a:pt x="154" y="401"/>
                    <a:pt x="154" y="401"/>
                    <a:pt x="155" y="401"/>
                  </a:cubicBezTo>
                  <a:cubicBezTo>
                    <a:pt x="155" y="400"/>
                    <a:pt x="155" y="400"/>
                    <a:pt x="155" y="400"/>
                  </a:cubicBezTo>
                  <a:cubicBezTo>
                    <a:pt x="157" y="399"/>
                    <a:pt x="158" y="398"/>
                    <a:pt x="158" y="397"/>
                  </a:cubicBezTo>
                  <a:cubicBezTo>
                    <a:pt x="158" y="397"/>
                    <a:pt x="159" y="397"/>
                    <a:pt x="159" y="396"/>
                  </a:cubicBezTo>
                  <a:cubicBezTo>
                    <a:pt x="159" y="396"/>
                    <a:pt x="161" y="396"/>
                    <a:pt x="162" y="396"/>
                  </a:cubicBezTo>
                  <a:cubicBezTo>
                    <a:pt x="163" y="395"/>
                    <a:pt x="163" y="395"/>
                    <a:pt x="164" y="395"/>
                  </a:cubicBezTo>
                  <a:cubicBezTo>
                    <a:pt x="166" y="394"/>
                    <a:pt x="168" y="393"/>
                    <a:pt x="171" y="393"/>
                  </a:cubicBezTo>
                  <a:cubicBezTo>
                    <a:pt x="171" y="393"/>
                    <a:pt x="171" y="393"/>
                    <a:pt x="172" y="393"/>
                  </a:cubicBezTo>
                  <a:cubicBezTo>
                    <a:pt x="174" y="393"/>
                    <a:pt x="177" y="394"/>
                    <a:pt x="179" y="394"/>
                  </a:cubicBezTo>
                  <a:cubicBezTo>
                    <a:pt x="180" y="394"/>
                    <a:pt x="181" y="394"/>
                    <a:pt x="182" y="395"/>
                  </a:cubicBezTo>
                  <a:cubicBezTo>
                    <a:pt x="182" y="395"/>
                    <a:pt x="182" y="395"/>
                    <a:pt x="182" y="395"/>
                  </a:cubicBezTo>
                  <a:cubicBezTo>
                    <a:pt x="184" y="395"/>
                    <a:pt x="186" y="395"/>
                    <a:pt x="188" y="396"/>
                  </a:cubicBezTo>
                  <a:cubicBezTo>
                    <a:pt x="189" y="396"/>
                    <a:pt x="190" y="396"/>
                    <a:pt x="190" y="396"/>
                  </a:cubicBezTo>
                  <a:cubicBezTo>
                    <a:pt x="193" y="396"/>
                    <a:pt x="194" y="395"/>
                    <a:pt x="195" y="393"/>
                  </a:cubicBezTo>
                  <a:cubicBezTo>
                    <a:pt x="195" y="392"/>
                    <a:pt x="196" y="391"/>
                    <a:pt x="199" y="391"/>
                  </a:cubicBezTo>
                  <a:cubicBezTo>
                    <a:pt x="202" y="391"/>
                    <a:pt x="207" y="393"/>
                    <a:pt x="210" y="394"/>
                  </a:cubicBezTo>
                  <a:cubicBezTo>
                    <a:pt x="212" y="395"/>
                    <a:pt x="213" y="396"/>
                    <a:pt x="214" y="396"/>
                  </a:cubicBezTo>
                  <a:cubicBezTo>
                    <a:pt x="215" y="396"/>
                    <a:pt x="216" y="396"/>
                    <a:pt x="217" y="396"/>
                  </a:cubicBezTo>
                  <a:cubicBezTo>
                    <a:pt x="218" y="397"/>
                    <a:pt x="219" y="397"/>
                    <a:pt x="220" y="397"/>
                  </a:cubicBezTo>
                  <a:cubicBezTo>
                    <a:pt x="220" y="397"/>
                    <a:pt x="220" y="398"/>
                    <a:pt x="221" y="398"/>
                  </a:cubicBezTo>
                  <a:cubicBezTo>
                    <a:pt x="222" y="399"/>
                    <a:pt x="223" y="399"/>
                    <a:pt x="225" y="399"/>
                  </a:cubicBezTo>
                  <a:cubicBezTo>
                    <a:pt x="226" y="399"/>
                    <a:pt x="226" y="399"/>
                    <a:pt x="226" y="399"/>
                  </a:cubicBezTo>
                  <a:cubicBezTo>
                    <a:pt x="228" y="399"/>
                    <a:pt x="230" y="399"/>
                    <a:pt x="232" y="398"/>
                  </a:cubicBezTo>
                  <a:cubicBezTo>
                    <a:pt x="234" y="397"/>
                    <a:pt x="235" y="396"/>
                    <a:pt x="236" y="394"/>
                  </a:cubicBezTo>
                  <a:cubicBezTo>
                    <a:pt x="236" y="394"/>
                    <a:pt x="236" y="393"/>
                    <a:pt x="236" y="393"/>
                  </a:cubicBezTo>
                  <a:cubicBezTo>
                    <a:pt x="237" y="392"/>
                    <a:pt x="239" y="391"/>
                    <a:pt x="240" y="391"/>
                  </a:cubicBezTo>
                  <a:cubicBezTo>
                    <a:pt x="241" y="391"/>
                    <a:pt x="243" y="392"/>
                    <a:pt x="244" y="392"/>
                  </a:cubicBezTo>
                  <a:cubicBezTo>
                    <a:pt x="246" y="393"/>
                    <a:pt x="248" y="393"/>
                    <a:pt x="250" y="393"/>
                  </a:cubicBezTo>
                  <a:cubicBezTo>
                    <a:pt x="251" y="393"/>
                    <a:pt x="253" y="393"/>
                    <a:pt x="254" y="393"/>
                  </a:cubicBezTo>
                  <a:cubicBezTo>
                    <a:pt x="255" y="392"/>
                    <a:pt x="256" y="391"/>
                    <a:pt x="257" y="390"/>
                  </a:cubicBezTo>
                  <a:cubicBezTo>
                    <a:pt x="257" y="389"/>
                    <a:pt x="257" y="389"/>
                    <a:pt x="257" y="389"/>
                  </a:cubicBezTo>
                  <a:cubicBezTo>
                    <a:pt x="258" y="388"/>
                    <a:pt x="259" y="387"/>
                    <a:pt x="260" y="386"/>
                  </a:cubicBezTo>
                  <a:cubicBezTo>
                    <a:pt x="260" y="386"/>
                    <a:pt x="261" y="385"/>
                    <a:pt x="261" y="385"/>
                  </a:cubicBezTo>
                  <a:cubicBezTo>
                    <a:pt x="263" y="384"/>
                    <a:pt x="264" y="383"/>
                    <a:pt x="266" y="383"/>
                  </a:cubicBezTo>
                  <a:cubicBezTo>
                    <a:pt x="266" y="383"/>
                    <a:pt x="266" y="383"/>
                    <a:pt x="266" y="383"/>
                  </a:cubicBezTo>
                  <a:cubicBezTo>
                    <a:pt x="268" y="383"/>
                    <a:pt x="269" y="384"/>
                    <a:pt x="270" y="384"/>
                  </a:cubicBezTo>
                  <a:cubicBezTo>
                    <a:pt x="272" y="385"/>
                    <a:pt x="274" y="385"/>
                    <a:pt x="276" y="385"/>
                  </a:cubicBezTo>
                  <a:cubicBezTo>
                    <a:pt x="278" y="385"/>
                    <a:pt x="280" y="385"/>
                    <a:pt x="281" y="384"/>
                  </a:cubicBezTo>
                  <a:cubicBezTo>
                    <a:pt x="283" y="384"/>
                    <a:pt x="284" y="383"/>
                    <a:pt x="286" y="382"/>
                  </a:cubicBezTo>
                  <a:cubicBezTo>
                    <a:pt x="289" y="381"/>
                    <a:pt x="293" y="379"/>
                    <a:pt x="296" y="377"/>
                  </a:cubicBezTo>
                  <a:cubicBezTo>
                    <a:pt x="298" y="375"/>
                    <a:pt x="298" y="375"/>
                    <a:pt x="298" y="375"/>
                  </a:cubicBezTo>
                  <a:cubicBezTo>
                    <a:pt x="300" y="374"/>
                    <a:pt x="302" y="372"/>
                    <a:pt x="305" y="371"/>
                  </a:cubicBezTo>
                  <a:cubicBezTo>
                    <a:pt x="306" y="369"/>
                    <a:pt x="308" y="368"/>
                    <a:pt x="310" y="367"/>
                  </a:cubicBezTo>
                  <a:cubicBezTo>
                    <a:pt x="312" y="366"/>
                    <a:pt x="314" y="366"/>
                    <a:pt x="315" y="364"/>
                  </a:cubicBezTo>
                  <a:cubicBezTo>
                    <a:pt x="318" y="362"/>
                    <a:pt x="321" y="360"/>
                    <a:pt x="323" y="358"/>
                  </a:cubicBezTo>
                  <a:cubicBezTo>
                    <a:pt x="325" y="357"/>
                    <a:pt x="328" y="354"/>
                    <a:pt x="330" y="352"/>
                  </a:cubicBezTo>
                  <a:cubicBezTo>
                    <a:pt x="331" y="351"/>
                    <a:pt x="332" y="350"/>
                    <a:pt x="333" y="349"/>
                  </a:cubicBezTo>
                  <a:cubicBezTo>
                    <a:pt x="334" y="348"/>
                    <a:pt x="335" y="347"/>
                    <a:pt x="336" y="346"/>
                  </a:cubicBezTo>
                  <a:cubicBezTo>
                    <a:pt x="337" y="346"/>
                    <a:pt x="338" y="345"/>
                    <a:pt x="338" y="345"/>
                  </a:cubicBezTo>
                  <a:cubicBezTo>
                    <a:pt x="339" y="344"/>
                    <a:pt x="340" y="344"/>
                    <a:pt x="340" y="343"/>
                  </a:cubicBezTo>
                  <a:cubicBezTo>
                    <a:pt x="342" y="341"/>
                    <a:pt x="342" y="341"/>
                    <a:pt x="342" y="341"/>
                  </a:cubicBezTo>
                  <a:cubicBezTo>
                    <a:pt x="343" y="340"/>
                    <a:pt x="344" y="339"/>
                    <a:pt x="345" y="338"/>
                  </a:cubicBezTo>
                  <a:cubicBezTo>
                    <a:pt x="346" y="337"/>
                    <a:pt x="347" y="336"/>
                    <a:pt x="348" y="335"/>
                  </a:cubicBezTo>
                  <a:cubicBezTo>
                    <a:pt x="349" y="334"/>
                    <a:pt x="350" y="333"/>
                    <a:pt x="351" y="332"/>
                  </a:cubicBezTo>
                  <a:cubicBezTo>
                    <a:pt x="352" y="331"/>
                    <a:pt x="352" y="330"/>
                    <a:pt x="353" y="329"/>
                  </a:cubicBezTo>
                  <a:cubicBezTo>
                    <a:pt x="354" y="328"/>
                    <a:pt x="356" y="327"/>
                    <a:pt x="357" y="326"/>
                  </a:cubicBezTo>
                  <a:cubicBezTo>
                    <a:pt x="357" y="325"/>
                    <a:pt x="357" y="325"/>
                    <a:pt x="357" y="325"/>
                  </a:cubicBezTo>
                  <a:cubicBezTo>
                    <a:pt x="361" y="321"/>
                    <a:pt x="363" y="318"/>
                    <a:pt x="367" y="315"/>
                  </a:cubicBezTo>
                  <a:cubicBezTo>
                    <a:pt x="370" y="312"/>
                    <a:pt x="373" y="310"/>
                    <a:pt x="376" y="307"/>
                  </a:cubicBezTo>
                  <a:cubicBezTo>
                    <a:pt x="384" y="299"/>
                    <a:pt x="391" y="290"/>
                    <a:pt x="398" y="281"/>
                  </a:cubicBezTo>
                  <a:cubicBezTo>
                    <a:pt x="400" y="278"/>
                    <a:pt x="400" y="278"/>
                    <a:pt x="400" y="278"/>
                  </a:cubicBezTo>
                  <a:cubicBezTo>
                    <a:pt x="401" y="277"/>
                    <a:pt x="401" y="275"/>
                    <a:pt x="402" y="274"/>
                  </a:cubicBezTo>
                  <a:cubicBezTo>
                    <a:pt x="402" y="273"/>
                    <a:pt x="402" y="273"/>
                    <a:pt x="403" y="272"/>
                  </a:cubicBezTo>
                  <a:cubicBezTo>
                    <a:pt x="404" y="270"/>
                    <a:pt x="405" y="269"/>
                    <a:pt x="406" y="267"/>
                  </a:cubicBezTo>
                  <a:cubicBezTo>
                    <a:pt x="407" y="266"/>
                    <a:pt x="407" y="266"/>
                    <a:pt x="407" y="266"/>
                  </a:cubicBezTo>
                  <a:cubicBezTo>
                    <a:pt x="408" y="264"/>
                    <a:pt x="409" y="262"/>
                    <a:pt x="409" y="261"/>
                  </a:cubicBezTo>
                  <a:cubicBezTo>
                    <a:pt x="410" y="260"/>
                    <a:pt x="410" y="260"/>
                    <a:pt x="410" y="260"/>
                  </a:cubicBezTo>
                  <a:cubicBezTo>
                    <a:pt x="410" y="259"/>
                    <a:pt x="411" y="257"/>
                    <a:pt x="412" y="256"/>
                  </a:cubicBezTo>
                  <a:cubicBezTo>
                    <a:pt x="413" y="255"/>
                    <a:pt x="413" y="255"/>
                    <a:pt x="413" y="255"/>
                  </a:cubicBezTo>
                  <a:cubicBezTo>
                    <a:pt x="414" y="253"/>
                    <a:pt x="415" y="251"/>
                    <a:pt x="416" y="249"/>
                  </a:cubicBezTo>
                  <a:cubicBezTo>
                    <a:pt x="417" y="247"/>
                    <a:pt x="418" y="245"/>
                    <a:pt x="420" y="243"/>
                  </a:cubicBezTo>
                  <a:cubicBezTo>
                    <a:pt x="421" y="241"/>
                    <a:pt x="422" y="240"/>
                    <a:pt x="424" y="239"/>
                  </a:cubicBezTo>
                  <a:cubicBezTo>
                    <a:pt x="425" y="238"/>
                    <a:pt x="425" y="238"/>
                    <a:pt x="425" y="238"/>
                  </a:cubicBezTo>
                  <a:cubicBezTo>
                    <a:pt x="426" y="237"/>
                    <a:pt x="427" y="236"/>
                    <a:pt x="428" y="235"/>
                  </a:cubicBezTo>
                  <a:cubicBezTo>
                    <a:pt x="428" y="234"/>
                    <a:pt x="429" y="233"/>
                    <a:pt x="430" y="233"/>
                  </a:cubicBezTo>
                  <a:cubicBezTo>
                    <a:pt x="432" y="231"/>
                    <a:pt x="434" y="229"/>
                    <a:pt x="436" y="228"/>
                  </a:cubicBezTo>
                  <a:cubicBezTo>
                    <a:pt x="438" y="227"/>
                    <a:pt x="439" y="225"/>
                    <a:pt x="441" y="224"/>
                  </a:cubicBezTo>
                  <a:cubicBezTo>
                    <a:pt x="442" y="223"/>
                    <a:pt x="443" y="222"/>
                    <a:pt x="444" y="221"/>
                  </a:cubicBezTo>
                  <a:cubicBezTo>
                    <a:pt x="445" y="221"/>
                    <a:pt x="446" y="220"/>
                    <a:pt x="447" y="220"/>
                  </a:cubicBezTo>
                  <a:cubicBezTo>
                    <a:pt x="448" y="219"/>
                    <a:pt x="450" y="218"/>
                    <a:pt x="451" y="216"/>
                  </a:cubicBezTo>
                  <a:cubicBezTo>
                    <a:pt x="454" y="214"/>
                    <a:pt x="454" y="212"/>
                    <a:pt x="455" y="210"/>
                  </a:cubicBezTo>
                  <a:cubicBezTo>
                    <a:pt x="455" y="209"/>
                    <a:pt x="455" y="208"/>
                    <a:pt x="455" y="208"/>
                  </a:cubicBezTo>
                  <a:cubicBezTo>
                    <a:pt x="455" y="206"/>
                    <a:pt x="456" y="205"/>
                    <a:pt x="456" y="204"/>
                  </a:cubicBezTo>
                  <a:cubicBezTo>
                    <a:pt x="457" y="203"/>
                    <a:pt x="457" y="202"/>
                    <a:pt x="458" y="201"/>
                  </a:cubicBezTo>
                  <a:cubicBezTo>
                    <a:pt x="458" y="199"/>
                    <a:pt x="459" y="197"/>
                    <a:pt x="459" y="195"/>
                  </a:cubicBezTo>
                  <a:cubicBezTo>
                    <a:pt x="459" y="194"/>
                    <a:pt x="459" y="193"/>
                    <a:pt x="459" y="192"/>
                  </a:cubicBezTo>
                  <a:cubicBezTo>
                    <a:pt x="460" y="187"/>
                    <a:pt x="462" y="182"/>
                    <a:pt x="463" y="177"/>
                  </a:cubicBezTo>
                  <a:cubicBezTo>
                    <a:pt x="465" y="174"/>
                    <a:pt x="465" y="174"/>
                    <a:pt x="465" y="174"/>
                  </a:cubicBezTo>
                  <a:cubicBezTo>
                    <a:pt x="465" y="173"/>
                    <a:pt x="465" y="172"/>
                    <a:pt x="466" y="171"/>
                  </a:cubicBezTo>
                  <a:cubicBezTo>
                    <a:pt x="467" y="170"/>
                    <a:pt x="468" y="168"/>
                    <a:pt x="468" y="166"/>
                  </a:cubicBezTo>
                  <a:cubicBezTo>
                    <a:pt x="468" y="164"/>
                    <a:pt x="468" y="163"/>
                    <a:pt x="468" y="161"/>
                  </a:cubicBezTo>
                  <a:close/>
                  <a:moveTo>
                    <a:pt x="359" y="252"/>
                  </a:moveTo>
                  <a:cubicBezTo>
                    <a:pt x="359" y="255"/>
                    <a:pt x="360" y="257"/>
                    <a:pt x="356" y="260"/>
                  </a:cubicBezTo>
                  <a:cubicBezTo>
                    <a:pt x="354" y="261"/>
                    <a:pt x="350" y="262"/>
                    <a:pt x="346" y="263"/>
                  </a:cubicBezTo>
                  <a:cubicBezTo>
                    <a:pt x="346" y="263"/>
                    <a:pt x="346" y="263"/>
                    <a:pt x="346" y="263"/>
                  </a:cubicBezTo>
                  <a:cubicBezTo>
                    <a:pt x="345" y="263"/>
                    <a:pt x="343" y="263"/>
                    <a:pt x="342" y="264"/>
                  </a:cubicBezTo>
                  <a:cubicBezTo>
                    <a:pt x="337" y="265"/>
                    <a:pt x="333" y="269"/>
                    <a:pt x="331" y="275"/>
                  </a:cubicBezTo>
                  <a:cubicBezTo>
                    <a:pt x="329" y="278"/>
                    <a:pt x="326" y="280"/>
                    <a:pt x="323" y="280"/>
                  </a:cubicBezTo>
                  <a:cubicBezTo>
                    <a:pt x="320" y="280"/>
                    <a:pt x="318" y="279"/>
                    <a:pt x="317" y="277"/>
                  </a:cubicBezTo>
                  <a:cubicBezTo>
                    <a:pt x="316" y="276"/>
                    <a:pt x="316" y="276"/>
                    <a:pt x="316" y="275"/>
                  </a:cubicBezTo>
                  <a:cubicBezTo>
                    <a:pt x="316" y="274"/>
                    <a:pt x="316" y="274"/>
                    <a:pt x="316" y="273"/>
                  </a:cubicBezTo>
                  <a:cubicBezTo>
                    <a:pt x="315" y="272"/>
                    <a:pt x="315" y="272"/>
                    <a:pt x="314" y="272"/>
                  </a:cubicBezTo>
                  <a:cubicBezTo>
                    <a:pt x="314" y="272"/>
                    <a:pt x="313" y="271"/>
                    <a:pt x="313" y="271"/>
                  </a:cubicBezTo>
                  <a:cubicBezTo>
                    <a:pt x="312" y="270"/>
                    <a:pt x="312" y="269"/>
                    <a:pt x="312" y="268"/>
                  </a:cubicBezTo>
                  <a:cubicBezTo>
                    <a:pt x="310" y="265"/>
                    <a:pt x="309" y="262"/>
                    <a:pt x="307" y="262"/>
                  </a:cubicBezTo>
                  <a:cubicBezTo>
                    <a:pt x="307" y="262"/>
                    <a:pt x="307" y="262"/>
                    <a:pt x="307" y="262"/>
                  </a:cubicBezTo>
                  <a:cubicBezTo>
                    <a:pt x="306" y="261"/>
                    <a:pt x="306" y="260"/>
                    <a:pt x="306" y="259"/>
                  </a:cubicBezTo>
                  <a:cubicBezTo>
                    <a:pt x="305" y="258"/>
                    <a:pt x="305" y="256"/>
                    <a:pt x="304" y="255"/>
                  </a:cubicBezTo>
                  <a:cubicBezTo>
                    <a:pt x="304" y="254"/>
                    <a:pt x="303" y="253"/>
                    <a:pt x="302" y="252"/>
                  </a:cubicBezTo>
                  <a:cubicBezTo>
                    <a:pt x="301" y="251"/>
                    <a:pt x="300" y="250"/>
                    <a:pt x="302" y="248"/>
                  </a:cubicBezTo>
                  <a:cubicBezTo>
                    <a:pt x="303" y="246"/>
                    <a:pt x="305" y="245"/>
                    <a:pt x="307" y="244"/>
                  </a:cubicBezTo>
                  <a:cubicBezTo>
                    <a:pt x="308" y="243"/>
                    <a:pt x="310" y="242"/>
                    <a:pt x="311" y="241"/>
                  </a:cubicBezTo>
                  <a:cubicBezTo>
                    <a:pt x="313" y="239"/>
                    <a:pt x="315" y="236"/>
                    <a:pt x="316" y="234"/>
                  </a:cubicBezTo>
                  <a:cubicBezTo>
                    <a:pt x="319" y="230"/>
                    <a:pt x="322" y="225"/>
                    <a:pt x="326" y="223"/>
                  </a:cubicBezTo>
                  <a:cubicBezTo>
                    <a:pt x="329" y="221"/>
                    <a:pt x="329" y="221"/>
                    <a:pt x="329" y="221"/>
                  </a:cubicBezTo>
                  <a:cubicBezTo>
                    <a:pt x="334" y="218"/>
                    <a:pt x="339" y="215"/>
                    <a:pt x="343" y="215"/>
                  </a:cubicBezTo>
                  <a:cubicBezTo>
                    <a:pt x="346" y="215"/>
                    <a:pt x="350" y="217"/>
                    <a:pt x="352" y="220"/>
                  </a:cubicBezTo>
                  <a:cubicBezTo>
                    <a:pt x="354" y="222"/>
                    <a:pt x="355" y="224"/>
                    <a:pt x="357" y="225"/>
                  </a:cubicBezTo>
                  <a:cubicBezTo>
                    <a:pt x="360" y="228"/>
                    <a:pt x="362" y="230"/>
                    <a:pt x="364" y="233"/>
                  </a:cubicBezTo>
                  <a:cubicBezTo>
                    <a:pt x="365" y="236"/>
                    <a:pt x="365" y="240"/>
                    <a:pt x="364" y="243"/>
                  </a:cubicBezTo>
                  <a:cubicBezTo>
                    <a:pt x="363" y="245"/>
                    <a:pt x="361" y="246"/>
                    <a:pt x="360" y="246"/>
                  </a:cubicBezTo>
                  <a:cubicBezTo>
                    <a:pt x="358" y="247"/>
                    <a:pt x="358" y="247"/>
                    <a:pt x="358" y="247"/>
                  </a:cubicBezTo>
                  <a:cubicBezTo>
                    <a:pt x="358" y="248"/>
                    <a:pt x="358" y="248"/>
                    <a:pt x="358" y="248"/>
                  </a:cubicBezTo>
                  <a:cubicBezTo>
                    <a:pt x="358" y="250"/>
                    <a:pt x="358" y="251"/>
                    <a:pt x="359" y="252"/>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69" name="Freeform 69">
              <a:extLst>
                <a:ext uri="{FF2B5EF4-FFF2-40B4-BE49-F238E27FC236}">
                  <a16:creationId xmlns:a16="http://schemas.microsoft.com/office/drawing/2014/main" id="{0A9AAF92-8812-4795-A72A-95F47F906396}"/>
                </a:ext>
              </a:extLst>
            </p:cNvPr>
            <p:cNvSpPr>
              <a:spLocks/>
            </p:cNvSpPr>
            <p:nvPr/>
          </p:nvSpPr>
          <p:spPr bwMode="auto">
            <a:xfrm>
              <a:off x="3739892" y="3166862"/>
              <a:ext cx="624972" cy="1012967"/>
            </a:xfrm>
            <a:custGeom>
              <a:avLst/>
              <a:gdLst>
                <a:gd name="T0" fmla="*/ 303 w 309"/>
                <a:gd name="T1" fmla="*/ 119 h 544"/>
                <a:gd name="T2" fmla="*/ 302 w 309"/>
                <a:gd name="T3" fmla="*/ 92 h 544"/>
                <a:gd name="T4" fmla="*/ 303 w 309"/>
                <a:gd name="T5" fmla="*/ 70 h 544"/>
                <a:gd name="T6" fmla="*/ 300 w 309"/>
                <a:gd name="T7" fmla="*/ 28 h 544"/>
                <a:gd name="T8" fmla="*/ 301 w 309"/>
                <a:gd name="T9" fmla="*/ 0 h 544"/>
                <a:gd name="T10" fmla="*/ 262 w 309"/>
                <a:gd name="T11" fmla="*/ 24 h 544"/>
                <a:gd name="T12" fmla="*/ 241 w 309"/>
                <a:gd name="T13" fmla="*/ 31 h 544"/>
                <a:gd name="T14" fmla="*/ 219 w 309"/>
                <a:gd name="T15" fmla="*/ 38 h 544"/>
                <a:gd name="T16" fmla="*/ 190 w 309"/>
                <a:gd name="T17" fmla="*/ 40 h 544"/>
                <a:gd name="T18" fmla="*/ 179 w 309"/>
                <a:gd name="T19" fmla="*/ 41 h 544"/>
                <a:gd name="T20" fmla="*/ 159 w 309"/>
                <a:gd name="T21" fmla="*/ 36 h 544"/>
                <a:gd name="T22" fmla="*/ 137 w 309"/>
                <a:gd name="T23" fmla="*/ 38 h 544"/>
                <a:gd name="T24" fmla="*/ 131 w 309"/>
                <a:gd name="T25" fmla="*/ 80 h 544"/>
                <a:gd name="T26" fmla="*/ 162 w 309"/>
                <a:gd name="T27" fmla="*/ 157 h 544"/>
                <a:gd name="T28" fmla="*/ 152 w 309"/>
                <a:gd name="T29" fmla="*/ 187 h 544"/>
                <a:gd name="T30" fmla="*/ 141 w 309"/>
                <a:gd name="T31" fmla="*/ 220 h 544"/>
                <a:gd name="T32" fmla="*/ 123 w 309"/>
                <a:gd name="T33" fmla="*/ 192 h 544"/>
                <a:gd name="T34" fmla="*/ 121 w 309"/>
                <a:gd name="T35" fmla="*/ 172 h 544"/>
                <a:gd name="T36" fmla="*/ 101 w 309"/>
                <a:gd name="T37" fmla="*/ 134 h 544"/>
                <a:gd name="T38" fmla="*/ 85 w 309"/>
                <a:gd name="T39" fmla="*/ 117 h 544"/>
                <a:gd name="T40" fmla="*/ 3 w 309"/>
                <a:gd name="T41" fmla="*/ 157 h 544"/>
                <a:gd name="T42" fmla="*/ 47 w 309"/>
                <a:gd name="T43" fmla="*/ 193 h 544"/>
                <a:gd name="T44" fmla="*/ 66 w 309"/>
                <a:gd name="T45" fmla="*/ 199 h 544"/>
                <a:gd name="T46" fmla="*/ 79 w 309"/>
                <a:gd name="T47" fmla="*/ 222 h 544"/>
                <a:gd name="T48" fmla="*/ 79 w 309"/>
                <a:gd name="T49" fmla="*/ 262 h 544"/>
                <a:gd name="T50" fmla="*/ 70 w 309"/>
                <a:gd name="T51" fmla="*/ 278 h 544"/>
                <a:gd name="T52" fmla="*/ 76 w 309"/>
                <a:gd name="T53" fmla="*/ 304 h 544"/>
                <a:gd name="T54" fmla="*/ 64 w 309"/>
                <a:gd name="T55" fmla="*/ 333 h 544"/>
                <a:gd name="T56" fmla="*/ 59 w 309"/>
                <a:gd name="T57" fmla="*/ 355 h 544"/>
                <a:gd name="T58" fmla="*/ 28 w 309"/>
                <a:gd name="T59" fmla="*/ 403 h 544"/>
                <a:gd name="T60" fmla="*/ 38 w 309"/>
                <a:gd name="T61" fmla="*/ 442 h 544"/>
                <a:gd name="T62" fmla="*/ 44 w 309"/>
                <a:gd name="T63" fmla="*/ 464 h 544"/>
                <a:gd name="T64" fmla="*/ 42 w 309"/>
                <a:gd name="T65" fmla="*/ 501 h 544"/>
                <a:gd name="T66" fmla="*/ 43 w 309"/>
                <a:gd name="T67" fmla="*/ 522 h 544"/>
                <a:gd name="T68" fmla="*/ 53 w 309"/>
                <a:gd name="T69" fmla="*/ 542 h 544"/>
                <a:gd name="T70" fmla="*/ 69 w 309"/>
                <a:gd name="T71" fmla="*/ 527 h 544"/>
                <a:gd name="T72" fmla="*/ 72 w 309"/>
                <a:gd name="T73" fmla="*/ 495 h 544"/>
                <a:gd name="T74" fmla="*/ 89 w 309"/>
                <a:gd name="T75" fmla="*/ 487 h 544"/>
                <a:gd name="T76" fmla="*/ 113 w 309"/>
                <a:gd name="T77" fmla="*/ 477 h 544"/>
                <a:gd name="T78" fmla="*/ 144 w 309"/>
                <a:gd name="T79" fmla="*/ 439 h 544"/>
                <a:gd name="T80" fmla="*/ 143 w 309"/>
                <a:gd name="T81" fmla="*/ 430 h 544"/>
                <a:gd name="T82" fmla="*/ 147 w 309"/>
                <a:gd name="T83" fmla="*/ 409 h 544"/>
                <a:gd name="T84" fmla="*/ 142 w 309"/>
                <a:gd name="T85" fmla="*/ 384 h 544"/>
                <a:gd name="T86" fmla="*/ 139 w 309"/>
                <a:gd name="T87" fmla="*/ 365 h 544"/>
                <a:gd name="T88" fmla="*/ 134 w 309"/>
                <a:gd name="T89" fmla="*/ 340 h 544"/>
                <a:gd name="T90" fmla="*/ 126 w 309"/>
                <a:gd name="T91" fmla="*/ 326 h 544"/>
                <a:gd name="T92" fmla="*/ 149 w 309"/>
                <a:gd name="T93" fmla="*/ 295 h 544"/>
                <a:gd name="T94" fmla="*/ 166 w 309"/>
                <a:gd name="T95" fmla="*/ 280 h 544"/>
                <a:gd name="T96" fmla="*/ 178 w 309"/>
                <a:gd name="T97" fmla="*/ 269 h 544"/>
                <a:gd name="T98" fmla="*/ 193 w 309"/>
                <a:gd name="T99" fmla="*/ 251 h 544"/>
                <a:gd name="T100" fmla="*/ 229 w 309"/>
                <a:gd name="T101" fmla="*/ 225 h 544"/>
                <a:gd name="T102" fmla="*/ 260 w 309"/>
                <a:gd name="T103" fmla="*/ 211 h 544"/>
                <a:gd name="T104" fmla="*/ 279 w 309"/>
                <a:gd name="T105" fmla="*/ 192 h 544"/>
                <a:gd name="T106" fmla="*/ 291 w 309"/>
                <a:gd name="T107" fmla="*/ 177 h 544"/>
                <a:gd name="T108" fmla="*/ 299 w 309"/>
                <a:gd name="T109" fmla="*/ 166 h 544"/>
                <a:gd name="T110" fmla="*/ 302 w 309"/>
                <a:gd name="T111" fmla="*/ 155 h 544"/>
                <a:gd name="T112" fmla="*/ 306 w 309"/>
                <a:gd name="T113" fmla="*/ 147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9" h="544">
                  <a:moveTo>
                    <a:pt x="308" y="135"/>
                  </a:moveTo>
                  <a:cubicBezTo>
                    <a:pt x="309" y="134"/>
                    <a:pt x="309" y="132"/>
                    <a:pt x="308" y="130"/>
                  </a:cubicBezTo>
                  <a:cubicBezTo>
                    <a:pt x="308" y="129"/>
                    <a:pt x="307" y="128"/>
                    <a:pt x="306" y="127"/>
                  </a:cubicBezTo>
                  <a:cubicBezTo>
                    <a:pt x="306" y="127"/>
                    <a:pt x="306" y="126"/>
                    <a:pt x="306" y="126"/>
                  </a:cubicBezTo>
                  <a:cubicBezTo>
                    <a:pt x="306" y="123"/>
                    <a:pt x="304" y="122"/>
                    <a:pt x="302" y="122"/>
                  </a:cubicBezTo>
                  <a:cubicBezTo>
                    <a:pt x="302" y="121"/>
                    <a:pt x="303" y="120"/>
                    <a:pt x="303" y="119"/>
                  </a:cubicBezTo>
                  <a:cubicBezTo>
                    <a:pt x="303" y="119"/>
                    <a:pt x="303" y="119"/>
                    <a:pt x="303" y="118"/>
                  </a:cubicBezTo>
                  <a:cubicBezTo>
                    <a:pt x="303" y="116"/>
                    <a:pt x="303" y="115"/>
                    <a:pt x="303" y="113"/>
                  </a:cubicBezTo>
                  <a:cubicBezTo>
                    <a:pt x="302" y="113"/>
                    <a:pt x="302" y="112"/>
                    <a:pt x="302" y="111"/>
                  </a:cubicBezTo>
                  <a:cubicBezTo>
                    <a:pt x="302" y="109"/>
                    <a:pt x="302" y="106"/>
                    <a:pt x="302" y="104"/>
                  </a:cubicBezTo>
                  <a:cubicBezTo>
                    <a:pt x="302" y="102"/>
                    <a:pt x="302" y="100"/>
                    <a:pt x="302" y="99"/>
                  </a:cubicBezTo>
                  <a:cubicBezTo>
                    <a:pt x="302" y="97"/>
                    <a:pt x="302" y="94"/>
                    <a:pt x="302" y="92"/>
                  </a:cubicBezTo>
                  <a:cubicBezTo>
                    <a:pt x="302" y="90"/>
                    <a:pt x="301" y="87"/>
                    <a:pt x="301" y="85"/>
                  </a:cubicBezTo>
                  <a:cubicBezTo>
                    <a:pt x="301" y="84"/>
                    <a:pt x="301" y="84"/>
                    <a:pt x="301" y="84"/>
                  </a:cubicBezTo>
                  <a:cubicBezTo>
                    <a:pt x="302" y="83"/>
                    <a:pt x="302" y="81"/>
                    <a:pt x="302" y="79"/>
                  </a:cubicBezTo>
                  <a:cubicBezTo>
                    <a:pt x="302" y="79"/>
                    <a:pt x="302" y="79"/>
                    <a:pt x="302" y="79"/>
                  </a:cubicBezTo>
                  <a:cubicBezTo>
                    <a:pt x="303" y="77"/>
                    <a:pt x="304" y="76"/>
                    <a:pt x="303" y="73"/>
                  </a:cubicBezTo>
                  <a:cubicBezTo>
                    <a:pt x="303" y="72"/>
                    <a:pt x="303" y="71"/>
                    <a:pt x="303" y="70"/>
                  </a:cubicBezTo>
                  <a:cubicBezTo>
                    <a:pt x="302" y="69"/>
                    <a:pt x="302" y="68"/>
                    <a:pt x="302" y="67"/>
                  </a:cubicBezTo>
                  <a:cubicBezTo>
                    <a:pt x="301" y="65"/>
                    <a:pt x="301" y="62"/>
                    <a:pt x="301" y="59"/>
                  </a:cubicBezTo>
                  <a:cubicBezTo>
                    <a:pt x="302" y="56"/>
                    <a:pt x="301" y="52"/>
                    <a:pt x="301" y="48"/>
                  </a:cubicBezTo>
                  <a:cubicBezTo>
                    <a:pt x="301" y="45"/>
                    <a:pt x="300" y="41"/>
                    <a:pt x="300" y="38"/>
                  </a:cubicBezTo>
                  <a:cubicBezTo>
                    <a:pt x="300" y="36"/>
                    <a:pt x="300" y="35"/>
                    <a:pt x="300" y="33"/>
                  </a:cubicBezTo>
                  <a:cubicBezTo>
                    <a:pt x="300" y="31"/>
                    <a:pt x="299" y="29"/>
                    <a:pt x="300" y="28"/>
                  </a:cubicBezTo>
                  <a:cubicBezTo>
                    <a:pt x="300" y="26"/>
                    <a:pt x="300" y="25"/>
                    <a:pt x="301" y="24"/>
                  </a:cubicBezTo>
                  <a:cubicBezTo>
                    <a:pt x="302" y="23"/>
                    <a:pt x="303" y="21"/>
                    <a:pt x="303" y="18"/>
                  </a:cubicBezTo>
                  <a:cubicBezTo>
                    <a:pt x="303" y="15"/>
                    <a:pt x="303" y="12"/>
                    <a:pt x="304" y="9"/>
                  </a:cubicBezTo>
                  <a:cubicBezTo>
                    <a:pt x="305" y="6"/>
                    <a:pt x="304" y="3"/>
                    <a:pt x="303" y="2"/>
                  </a:cubicBezTo>
                  <a:cubicBezTo>
                    <a:pt x="303" y="0"/>
                    <a:pt x="303" y="0"/>
                    <a:pt x="303" y="0"/>
                  </a:cubicBezTo>
                  <a:cubicBezTo>
                    <a:pt x="301" y="0"/>
                    <a:pt x="301" y="0"/>
                    <a:pt x="301" y="0"/>
                  </a:cubicBezTo>
                  <a:cubicBezTo>
                    <a:pt x="296" y="1"/>
                    <a:pt x="292" y="5"/>
                    <a:pt x="288" y="8"/>
                  </a:cubicBezTo>
                  <a:cubicBezTo>
                    <a:pt x="287" y="10"/>
                    <a:pt x="285" y="11"/>
                    <a:pt x="283" y="13"/>
                  </a:cubicBezTo>
                  <a:cubicBezTo>
                    <a:pt x="281" y="14"/>
                    <a:pt x="279" y="15"/>
                    <a:pt x="277" y="15"/>
                  </a:cubicBezTo>
                  <a:cubicBezTo>
                    <a:pt x="275" y="16"/>
                    <a:pt x="273" y="17"/>
                    <a:pt x="272" y="18"/>
                  </a:cubicBezTo>
                  <a:cubicBezTo>
                    <a:pt x="270" y="19"/>
                    <a:pt x="269" y="20"/>
                    <a:pt x="268" y="20"/>
                  </a:cubicBezTo>
                  <a:cubicBezTo>
                    <a:pt x="267" y="22"/>
                    <a:pt x="265" y="23"/>
                    <a:pt x="262" y="24"/>
                  </a:cubicBezTo>
                  <a:cubicBezTo>
                    <a:pt x="262" y="24"/>
                    <a:pt x="261" y="24"/>
                    <a:pt x="261" y="24"/>
                  </a:cubicBezTo>
                  <a:cubicBezTo>
                    <a:pt x="260" y="24"/>
                    <a:pt x="259" y="24"/>
                    <a:pt x="258" y="24"/>
                  </a:cubicBezTo>
                  <a:cubicBezTo>
                    <a:pt x="257" y="23"/>
                    <a:pt x="256" y="23"/>
                    <a:pt x="255" y="23"/>
                  </a:cubicBezTo>
                  <a:cubicBezTo>
                    <a:pt x="254" y="23"/>
                    <a:pt x="252" y="24"/>
                    <a:pt x="249" y="25"/>
                  </a:cubicBezTo>
                  <a:cubicBezTo>
                    <a:pt x="248" y="26"/>
                    <a:pt x="247" y="27"/>
                    <a:pt x="246" y="28"/>
                  </a:cubicBezTo>
                  <a:cubicBezTo>
                    <a:pt x="245" y="30"/>
                    <a:pt x="243" y="31"/>
                    <a:pt x="241" y="31"/>
                  </a:cubicBezTo>
                  <a:cubicBezTo>
                    <a:pt x="240" y="31"/>
                    <a:pt x="239" y="31"/>
                    <a:pt x="238" y="30"/>
                  </a:cubicBezTo>
                  <a:cubicBezTo>
                    <a:pt x="237" y="30"/>
                    <a:pt x="236" y="29"/>
                    <a:pt x="235" y="29"/>
                  </a:cubicBezTo>
                  <a:cubicBezTo>
                    <a:pt x="233" y="28"/>
                    <a:pt x="232" y="27"/>
                    <a:pt x="230" y="27"/>
                  </a:cubicBezTo>
                  <a:cubicBezTo>
                    <a:pt x="229" y="27"/>
                    <a:pt x="228" y="27"/>
                    <a:pt x="226" y="28"/>
                  </a:cubicBezTo>
                  <a:cubicBezTo>
                    <a:pt x="224" y="30"/>
                    <a:pt x="223" y="32"/>
                    <a:pt x="222" y="33"/>
                  </a:cubicBezTo>
                  <a:cubicBezTo>
                    <a:pt x="221" y="35"/>
                    <a:pt x="220" y="36"/>
                    <a:pt x="219" y="38"/>
                  </a:cubicBezTo>
                  <a:cubicBezTo>
                    <a:pt x="216" y="40"/>
                    <a:pt x="214" y="42"/>
                    <a:pt x="211" y="42"/>
                  </a:cubicBezTo>
                  <a:cubicBezTo>
                    <a:pt x="209" y="42"/>
                    <a:pt x="208" y="41"/>
                    <a:pt x="206" y="40"/>
                  </a:cubicBezTo>
                  <a:cubicBezTo>
                    <a:pt x="205" y="40"/>
                    <a:pt x="205" y="40"/>
                    <a:pt x="204" y="39"/>
                  </a:cubicBezTo>
                  <a:cubicBezTo>
                    <a:pt x="201" y="38"/>
                    <a:pt x="199" y="37"/>
                    <a:pt x="197" y="37"/>
                  </a:cubicBezTo>
                  <a:cubicBezTo>
                    <a:pt x="195" y="37"/>
                    <a:pt x="194" y="38"/>
                    <a:pt x="193" y="38"/>
                  </a:cubicBezTo>
                  <a:cubicBezTo>
                    <a:pt x="192" y="38"/>
                    <a:pt x="191" y="39"/>
                    <a:pt x="190" y="40"/>
                  </a:cubicBezTo>
                  <a:cubicBezTo>
                    <a:pt x="190" y="40"/>
                    <a:pt x="189" y="41"/>
                    <a:pt x="188" y="41"/>
                  </a:cubicBezTo>
                  <a:cubicBezTo>
                    <a:pt x="187" y="41"/>
                    <a:pt x="187" y="41"/>
                    <a:pt x="187" y="41"/>
                  </a:cubicBezTo>
                  <a:cubicBezTo>
                    <a:pt x="186" y="41"/>
                    <a:pt x="186" y="41"/>
                    <a:pt x="185" y="41"/>
                  </a:cubicBezTo>
                  <a:cubicBezTo>
                    <a:pt x="185" y="40"/>
                    <a:pt x="184" y="40"/>
                    <a:pt x="183" y="40"/>
                  </a:cubicBezTo>
                  <a:cubicBezTo>
                    <a:pt x="182" y="40"/>
                    <a:pt x="182" y="40"/>
                    <a:pt x="181" y="41"/>
                  </a:cubicBezTo>
                  <a:cubicBezTo>
                    <a:pt x="181" y="41"/>
                    <a:pt x="180" y="41"/>
                    <a:pt x="179" y="41"/>
                  </a:cubicBezTo>
                  <a:cubicBezTo>
                    <a:pt x="179" y="41"/>
                    <a:pt x="179" y="41"/>
                    <a:pt x="179" y="41"/>
                  </a:cubicBezTo>
                  <a:cubicBezTo>
                    <a:pt x="177" y="41"/>
                    <a:pt x="175" y="39"/>
                    <a:pt x="174" y="38"/>
                  </a:cubicBezTo>
                  <a:cubicBezTo>
                    <a:pt x="173" y="36"/>
                    <a:pt x="172" y="35"/>
                    <a:pt x="170" y="34"/>
                  </a:cubicBezTo>
                  <a:cubicBezTo>
                    <a:pt x="168" y="33"/>
                    <a:pt x="167" y="33"/>
                    <a:pt x="166" y="33"/>
                  </a:cubicBezTo>
                  <a:cubicBezTo>
                    <a:pt x="165" y="33"/>
                    <a:pt x="164" y="33"/>
                    <a:pt x="162" y="34"/>
                  </a:cubicBezTo>
                  <a:cubicBezTo>
                    <a:pt x="161" y="35"/>
                    <a:pt x="160" y="36"/>
                    <a:pt x="159" y="36"/>
                  </a:cubicBezTo>
                  <a:cubicBezTo>
                    <a:pt x="156" y="37"/>
                    <a:pt x="154" y="38"/>
                    <a:pt x="151" y="38"/>
                  </a:cubicBezTo>
                  <a:cubicBezTo>
                    <a:pt x="149" y="38"/>
                    <a:pt x="148" y="38"/>
                    <a:pt x="146" y="38"/>
                  </a:cubicBezTo>
                  <a:cubicBezTo>
                    <a:pt x="145" y="37"/>
                    <a:pt x="145" y="37"/>
                    <a:pt x="145" y="37"/>
                  </a:cubicBezTo>
                  <a:cubicBezTo>
                    <a:pt x="145" y="37"/>
                    <a:pt x="145" y="37"/>
                    <a:pt x="144" y="37"/>
                  </a:cubicBezTo>
                  <a:cubicBezTo>
                    <a:pt x="143" y="37"/>
                    <a:pt x="141" y="38"/>
                    <a:pt x="140" y="38"/>
                  </a:cubicBezTo>
                  <a:cubicBezTo>
                    <a:pt x="137" y="38"/>
                    <a:pt x="137" y="38"/>
                    <a:pt x="137" y="38"/>
                  </a:cubicBezTo>
                  <a:cubicBezTo>
                    <a:pt x="137" y="40"/>
                    <a:pt x="137" y="40"/>
                    <a:pt x="137" y="40"/>
                  </a:cubicBezTo>
                  <a:cubicBezTo>
                    <a:pt x="137" y="43"/>
                    <a:pt x="136" y="46"/>
                    <a:pt x="135" y="48"/>
                  </a:cubicBezTo>
                  <a:cubicBezTo>
                    <a:pt x="135" y="50"/>
                    <a:pt x="134" y="51"/>
                    <a:pt x="134" y="52"/>
                  </a:cubicBezTo>
                  <a:cubicBezTo>
                    <a:pt x="133" y="54"/>
                    <a:pt x="132" y="56"/>
                    <a:pt x="131" y="59"/>
                  </a:cubicBezTo>
                  <a:cubicBezTo>
                    <a:pt x="131" y="63"/>
                    <a:pt x="131" y="67"/>
                    <a:pt x="131" y="70"/>
                  </a:cubicBezTo>
                  <a:cubicBezTo>
                    <a:pt x="131" y="74"/>
                    <a:pt x="132" y="77"/>
                    <a:pt x="131" y="80"/>
                  </a:cubicBezTo>
                  <a:cubicBezTo>
                    <a:pt x="130" y="86"/>
                    <a:pt x="131" y="90"/>
                    <a:pt x="132" y="94"/>
                  </a:cubicBezTo>
                  <a:cubicBezTo>
                    <a:pt x="133" y="100"/>
                    <a:pt x="135" y="105"/>
                    <a:pt x="138" y="111"/>
                  </a:cubicBezTo>
                  <a:cubicBezTo>
                    <a:pt x="138" y="111"/>
                    <a:pt x="138" y="111"/>
                    <a:pt x="138" y="111"/>
                  </a:cubicBezTo>
                  <a:cubicBezTo>
                    <a:pt x="139" y="112"/>
                    <a:pt x="139" y="112"/>
                    <a:pt x="139" y="112"/>
                  </a:cubicBezTo>
                  <a:cubicBezTo>
                    <a:pt x="153" y="116"/>
                    <a:pt x="160" y="135"/>
                    <a:pt x="162" y="147"/>
                  </a:cubicBezTo>
                  <a:cubicBezTo>
                    <a:pt x="162" y="150"/>
                    <a:pt x="162" y="154"/>
                    <a:pt x="162" y="157"/>
                  </a:cubicBezTo>
                  <a:cubicBezTo>
                    <a:pt x="162" y="158"/>
                    <a:pt x="162" y="158"/>
                    <a:pt x="162" y="158"/>
                  </a:cubicBezTo>
                  <a:cubicBezTo>
                    <a:pt x="162" y="159"/>
                    <a:pt x="162" y="160"/>
                    <a:pt x="161" y="161"/>
                  </a:cubicBezTo>
                  <a:cubicBezTo>
                    <a:pt x="161" y="163"/>
                    <a:pt x="162" y="166"/>
                    <a:pt x="162" y="168"/>
                  </a:cubicBezTo>
                  <a:cubicBezTo>
                    <a:pt x="162" y="171"/>
                    <a:pt x="162" y="173"/>
                    <a:pt x="162" y="175"/>
                  </a:cubicBezTo>
                  <a:cubicBezTo>
                    <a:pt x="162" y="181"/>
                    <a:pt x="160" y="185"/>
                    <a:pt x="157" y="186"/>
                  </a:cubicBezTo>
                  <a:cubicBezTo>
                    <a:pt x="155" y="187"/>
                    <a:pt x="153" y="187"/>
                    <a:pt x="152" y="187"/>
                  </a:cubicBezTo>
                  <a:cubicBezTo>
                    <a:pt x="149" y="187"/>
                    <a:pt x="148" y="188"/>
                    <a:pt x="146" y="191"/>
                  </a:cubicBezTo>
                  <a:cubicBezTo>
                    <a:pt x="146" y="192"/>
                    <a:pt x="145" y="193"/>
                    <a:pt x="145" y="193"/>
                  </a:cubicBezTo>
                  <a:cubicBezTo>
                    <a:pt x="143" y="197"/>
                    <a:pt x="141" y="200"/>
                    <a:pt x="142" y="203"/>
                  </a:cubicBezTo>
                  <a:cubicBezTo>
                    <a:pt x="142" y="205"/>
                    <a:pt x="143" y="207"/>
                    <a:pt x="143" y="208"/>
                  </a:cubicBezTo>
                  <a:cubicBezTo>
                    <a:pt x="144" y="212"/>
                    <a:pt x="145" y="215"/>
                    <a:pt x="145" y="219"/>
                  </a:cubicBezTo>
                  <a:cubicBezTo>
                    <a:pt x="144" y="220"/>
                    <a:pt x="142" y="220"/>
                    <a:pt x="141" y="220"/>
                  </a:cubicBezTo>
                  <a:cubicBezTo>
                    <a:pt x="140" y="220"/>
                    <a:pt x="140" y="220"/>
                    <a:pt x="139" y="220"/>
                  </a:cubicBezTo>
                  <a:cubicBezTo>
                    <a:pt x="139" y="219"/>
                    <a:pt x="138" y="219"/>
                    <a:pt x="138" y="216"/>
                  </a:cubicBezTo>
                  <a:cubicBezTo>
                    <a:pt x="138" y="214"/>
                    <a:pt x="138" y="213"/>
                    <a:pt x="138" y="212"/>
                  </a:cubicBezTo>
                  <a:cubicBezTo>
                    <a:pt x="139" y="209"/>
                    <a:pt x="139" y="208"/>
                    <a:pt x="136" y="205"/>
                  </a:cubicBezTo>
                  <a:cubicBezTo>
                    <a:pt x="135" y="205"/>
                    <a:pt x="134" y="204"/>
                    <a:pt x="133" y="203"/>
                  </a:cubicBezTo>
                  <a:cubicBezTo>
                    <a:pt x="129" y="200"/>
                    <a:pt x="125" y="196"/>
                    <a:pt x="123" y="192"/>
                  </a:cubicBezTo>
                  <a:cubicBezTo>
                    <a:pt x="122" y="191"/>
                    <a:pt x="122" y="190"/>
                    <a:pt x="122" y="189"/>
                  </a:cubicBezTo>
                  <a:cubicBezTo>
                    <a:pt x="122" y="188"/>
                    <a:pt x="122" y="188"/>
                    <a:pt x="122" y="187"/>
                  </a:cubicBezTo>
                  <a:cubicBezTo>
                    <a:pt x="122" y="185"/>
                    <a:pt x="121" y="184"/>
                    <a:pt x="120" y="183"/>
                  </a:cubicBezTo>
                  <a:cubicBezTo>
                    <a:pt x="120" y="182"/>
                    <a:pt x="120" y="182"/>
                    <a:pt x="119" y="181"/>
                  </a:cubicBezTo>
                  <a:cubicBezTo>
                    <a:pt x="118" y="177"/>
                    <a:pt x="118" y="177"/>
                    <a:pt x="119" y="175"/>
                  </a:cubicBezTo>
                  <a:cubicBezTo>
                    <a:pt x="120" y="174"/>
                    <a:pt x="120" y="173"/>
                    <a:pt x="121" y="172"/>
                  </a:cubicBezTo>
                  <a:cubicBezTo>
                    <a:pt x="122" y="171"/>
                    <a:pt x="122" y="169"/>
                    <a:pt x="122" y="167"/>
                  </a:cubicBezTo>
                  <a:cubicBezTo>
                    <a:pt x="123" y="166"/>
                    <a:pt x="123" y="164"/>
                    <a:pt x="124" y="163"/>
                  </a:cubicBezTo>
                  <a:cubicBezTo>
                    <a:pt x="128" y="155"/>
                    <a:pt x="130" y="142"/>
                    <a:pt x="124" y="134"/>
                  </a:cubicBezTo>
                  <a:cubicBezTo>
                    <a:pt x="123" y="131"/>
                    <a:pt x="120" y="130"/>
                    <a:pt x="118" y="130"/>
                  </a:cubicBezTo>
                  <a:cubicBezTo>
                    <a:pt x="115" y="130"/>
                    <a:pt x="113" y="131"/>
                    <a:pt x="110" y="132"/>
                  </a:cubicBezTo>
                  <a:cubicBezTo>
                    <a:pt x="107" y="133"/>
                    <a:pt x="104" y="134"/>
                    <a:pt x="101" y="134"/>
                  </a:cubicBezTo>
                  <a:cubicBezTo>
                    <a:pt x="101" y="134"/>
                    <a:pt x="101" y="134"/>
                    <a:pt x="101" y="134"/>
                  </a:cubicBezTo>
                  <a:cubicBezTo>
                    <a:pt x="98" y="134"/>
                    <a:pt x="95" y="129"/>
                    <a:pt x="93" y="125"/>
                  </a:cubicBezTo>
                  <a:cubicBezTo>
                    <a:pt x="91" y="122"/>
                    <a:pt x="90" y="120"/>
                    <a:pt x="89" y="119"/>
                  </a:cubicBezTo>
                  <a:cubicBezTo>
                    <a:pt x="88" y="118"/>
                    <a:pt x="88" y="117"/>
                    <a:pt x="88" y="117"/>
                  </a:cubicBezTo>
                  <a:cubicBezTo>
                    <a:pt x="87" y="116"/>
                    <a:pt x="87" y="116"/>
                    <a:pt x="87" y="116"/>
                  </a:cubicBezTo>
                  <a:cubicBezTo>
                    <a:pt x="85" y="117"/>
                    <a:pt x="85" y="117"/>
                    <a:pt x="85" y="117"/>
                  </a:cubicBezTo>
                  <a:cubicBezTo>
                    <a:pt x="85" y="117"/>
                    <a:pt x="85" y="117"/>
                    <a:pt x="84" y="117"/>
                  </a:cubicBezTo>
                  <a:cubicBezTo>
                    <a:pt x="84" y="117"/>
                    <a:pt x="83" y="117"/>
                    <a:pt x="83" y="117"/>
                  </a:cubicBezTo>
                  <a:cubicBezTo>
                    <a:pt x="2" y="149"/>
                    <a:pt x="2" y="149"/>
                    <a:pt x="2" y="149"/>
                  </a:cubicBezTo>
                  <a:cubicBezTo>
                    <a:pt x="0" y="149"/>
                    <a:pt x="0" y="149"/>
                    <a:pt x="0" y="149"/>
                  </a:cubicBezTo>
                  <a:cubicBezTo>
                    <a:pt x="1" y="151"/>
                    <a:pt x="1" y="151"/>
                    <a:pt x="1" y="151"/>
                  </a:cubicBezTo>
                  <a:cubicBezTo>
                    <a:pt x="1" y="152"/>
                    <a:pt x="1" y="154"/>
                    <a:pt x="3" y="157"/>
                  </a:cubicBezTo>
                  <a:cubicBezTo>
                    <a:pt x="4" y="160"/>
                    <a:pt x="5" y="163"/>
                    <a:pt x="6" y="166"/>
                  </a:cubicBezTo>
                  <a:cubicBezTo>
                    <a:pt x="7" y="183"/>
                    <a:pt x="7" y="183"/>
                    <a:pt x="7" y="183"/>
                  </a:cubicBezTo>
                  <a:cubicBezTo>
                    <a:pt x="29" y="183"/>
                    <a:pt x="29" y="183"/>
                    <a:pt x="29" y="183"/>
                  </a:cubicBezTo>
                  <a:cubicBezTo>
                    <a:pt x="30" y="184"/>
                    <a:pt x="31" y="184"/>
                    <a:pt x="32" y="185"/>
                  </a:cubicBezTo>
                  <a:cubicBezTo>
                    <a:pt x="33" y="187"/>
                    <a:pt x="35" y="188"/>
                    <a:pt x="38" y="188"/>
                  </a:cubicBezTo>
                  <a:cubicBezTo>
                    <a:pt x="42" y="189"/>
                    <a:pt x="44" y="189"/>
                    <a:pt x="47" y="193"/>
                  </a:cubicBezTo>
                  <a:cubicBezTo>
                    <a:pt x="48" y="194"/>
                    <a:pt x="48" y="194"/>
                    <a:pt x="48" y="194"/>
                  </a:cubicBezTo>
                  <a:cubicBezTo>
                    <a:pt x="50" y="196"/>
                    <a:pt x="52" y="198"/>
                    <a:pt x="56" y="198"/>
                  </a:cubicBezTo>
                  <a:cubicBezTo>
                    <a:pt x="56" y="198"/>
                    <a:pt x="56" y="198"/>
                    <a:pt x="56" y="198"/>
                  </a:cubicBezTo>
                  <a:cubicBezTo>
                    <a:pt x="56" y="198"/>
                    <a:pt x="57" y="198"/>
                    <a:pt x="58" y="198"/>
                  </a:cubicBezTo>
                  <a:cubicBezTo>
                    <a:pt x="59" y="198"/>
                    <a:pt x="60" y="198"/>
                    <a:pt x="61" y="198"/>
                  </a:cubicBezTo>
                  <a:cubicBezTo>
                    <a:pt x="62" y="198"/>
                    <a:pt x="64" y="198"/>
                    <a:pt x="66" y="199"/>
                  </a:cubicBezTo>
                  <a:cubicBezTo>
                    <a:pt x="68" y="200"/>
                    <a:pt x="69" y="201"/>
                    <a:pt x="71" y="202"/>
                  </a:cubicBezTo>
                  <a:cubicBezTo>
                    <a:pt x="72" y="203"/>
                    <a:pt x="73" y="204"/>
                    <a:pt x="75" y="205"/>
                  </a:cubicBezTo>
                  <a:cubicBezTo>
                    <a:pt x="78" y="207"/>
                    <a:pt x="78" y="208"/>
                    <a:pt x="77" y="211"/>
                  </a:cubicBezTo>
                  <a:cubicBezTo>
                    <a:pt x="77" y="211"/>
                    <a:pt x="77" y="212"/>
                    <a:pt x="76" y="213"/>
                  </a:cubicBezTo>
                  <a:cubicBezTo>
                    <a:pt x="76" y="216"/>
                    <a:pt x="77" y="217"/>
                    <a:pt x="78" y="219"/>
                  </a:cubicBezTo>
                  <a:cubicBezTo>
                    <a:pt x="78" y="220"/>
                    <a:pt x="78" y="221"/>
                    <a:pt x="79" y="222"/>
                  </a:cubicBezTo>
                  <a:cubicBezTo>
                    <a:pt x="80" y="225"/>
                    <a:pt x="79" y="227"/>
                    <a:pt x="79" y="229"/>
                  </a:cubicBezTo>
                  <a:cubicBezTo>
                    <a:pt x="79" y="230"/>
                    <a:pt x="79" y="231"/>
                    <a:pt x="79" y="232"/>
                  </a:cubicBezTo>
                  <a:cubicBezTo>
                    <a:pt x="79" y="235"/>
                    <a:pt x="79" y="238"/>
                    <a:pt x="79" y="241"/>
                  </a:cubicBezTo>
                  <a:cubicBezTo>
                    <a:pt x="79" y="244"/>
                    <a:pt x="78" y="247"/>
                    <a:pt x="78" y="250"/>
                  </a:cubicBezTo>
                  <a:cubicBezTo>
                    <a:pt x="78" y="251"/>
                    <a:pt x="78" y="253"/>
                    <a:pt x="79" y="254"/>
                  </a:cubicBezTo>
                  <a:cubicBezTo>
                    <a:pt x="79" y="257"/>
                    <a:pt x="79" y="261"/>
                    <a:pt x="79" y="262"/>
                  </a:cubicBezTo>
                  <a:cubicBezTo>
                    <a:pt x="78" y="263"/>
                    <a:pt x="78" y="264"/>
                    <a:pt x="77" y="264"/>
                  </a:cubicBezTo>
                  <a:cubicBezTo>
                    <a:pt x="76" y="265"/>
                    <a:pt x="76" y="266"/>
                    <a:pt x="75" y="267"/>
                  </a:cubicBezTo>
                  <a:cubicBezTo>
                    <a:pt x="75" y="268"/>
                    <a:pt x="75" y="269"/>
                    <a:pt x="75" y="270"/>
                  </a:cubicBezTo>
                  <a:cubicBezTo>
                    <a:pt x="75" y="271"/>
                    <a:pt x="75" y="273"/>
                    <a:pt x="74" y="274"/>
                  </a:cubicBezTo>
                  <a:cubicBezTo>
                    <a:pt x="74" y="274"/>
                    <a:pt x="73" y="275"/>
                    <a:pt x="72" y="275"/>
                  </a:cubicBezTo>
                  <a:cubicBezTo>
                    <a:pt x="71" y="276"/>
                    <a:pt x="70" y="276"/>
                    <a:pt x="70" y="278"/>
                  </a:cubicBezTo>
                  <a:cubicBezTo>
                    <a:pt x="70" y="279"/>
                    <a:pt x="71" y="280"/>
                    <a:pt x="72" y="282"/>
                  </a:cubicBezTo>
                  <a:cubicBezTo>
                    <a:pt x="73" y="282"/>
                    <a:pt x="73" y="283"/>
                    <a:pt x="74" y="284"/>
                  </a:cubicBezTo>
                  <a:cubicBezTo>
                    <a:pt x="74" y="286"/>
                    <a:pt x="74" y="287"/>
                    <a:pt x="74" y="288"/>
                  </a:cubicBezTo>
                  <a:cubicBezTo>
                    <a:pt x="73" y="289"/>
                    <a:pt x="73" y="289"/>
                    <a:pt x="73" y="289"/>
                  </a:cubicBezTo>
                  <a:cubicBezTo>
                    <a:pt x="72" y="293"/>
                    <a:pt x="72" y="299"/>
                    <a:pt x="74" y="301"/>
                  </a:cubicBezTo>
                  <a:cubicBezTo>
                    <a:pt x="74" y="303"/>
                    <a:pt x="75" y="303"/>
                    <a:pt x="76" y="304"/>
                  </a:cubicBezTo>
                  <a:cubicBezTo>
                    <a:pt x="77" y="306"/>
                    <a:pt x="79" y="307"/>
                    <a:pt x="78" y="310"/>
                  </a:cubicBezTo>
                  <a:cubicBezTo>
                    <a:pt x="78" y="313"/>
                    <a:pt x="77" y="315"/>
                    <a:pt x="75" y="317"/>
                  </a:cubicBezTo>
                  <a:cubicBezTo>
                    <a:pt x="75" y="318"/>
                    <a:pt x="74" y="319"/>
                    <a:pt x="73" y="320"/>
                  </a:cubicBezTo>
                  <a:cubicBezTo>
                    <a:pt x="72" y="324"/>
                    <a:pt x="70" y="327"/>
                    <a:pt x="68" y="330"/>
                  </a:cubicBezTo>
                  <a:cubicBezTo>
                    <a:pt x="67" y="332"/>
                    <a:pt x="67" y="332"/>
                    <a:pt x="66" y="333"/>
                  </a:cubicBezTo>
                  <a:cubicBezTo>
                    <a:pt x="65" y="333"/>
                    <a:pt x="65" y="333"/>
                    <a:pt x="64" y="333"/>
                  </a:cubicBezTo>
                  <a:cubicBezTo>
                    <a:pt x="62" y="335"/>
                    <a:pt x="62" y="335"/>
                    <a:pt x="62" y="337"/>
                  </a:cubicBezTo>
                  <a:cubicBezTo>
                    <a:pt x="62" y="339"/>
                    <a:pt x="62" y="340"/>
                    <a:pt x="62" y="341"/>
                  </a:cubicBezTo>
                  <a:cubicBezTo>
                    <a:pt x="62" y="344"/>
                    <a:pt x="62" y="346"/>
                    <a:pt x="61" y="349"/>
                  </a:cubicBezTo>
                  <a:cubicBezTo>
                    <a:pt x="60" y="349"/>
                    <a:pt x="60" y="350"/>
                    <a:pt x="60" y="350"/>
                  </a:cubicBezTo>
                  <a:cubicBezTo>
                    <a:pt x="59" y="351"/>
                    <a:pt x="59" y="352"/>
                    <a:pt x="59" y="353"/>
                  </a:cubicBezTo>
                  <a:cubicBezTo>
                    <a:pt x="59" y="354"/>
                    <a:pt x="59" y="355"/>
                    <a:pt x="59" y="355"/>
                  </a:cubicBezTo>
                  <a:cubicBezTo>
                    <a:pt x="59" y="358"/>
                    <a:pt x="59" y="359"/>
                    <a:pt x="57" y="361"/>
                  </a:cubicBezTo>
                  <a:cubicBezTo>
                    <a:pt x="57" y="362"/>
                    <a:pt x="56" y="362"/>
                    <a:pt x="55" y="363"/>
                  </a:cubicBezTo>
                  <a:cubicBezTo>
                    <a:pt x="54" y="365"/>
                    <a:pt x="54" y="365"/>
                    <a:pt x="54" y="365"/>
                  </a:cubicBezTo>
                  <a:cubicBezTo>
                    <a:pt x="26" y="395"/>
                    <a:pt x="26" y="395"/>
                    <a:pt x="26" y="395"/>
                  </a:cubicBezTo>
                  <a:cubicBezTo>
                    <a:pt x="26" y="396"/>
                    <a:pt x="26" y="396"/>
                    <a:pt x="26" y="396"/>
                  </a:cubicBezTo>
                  <a:cubicBezTo>
                    <a:pt x="27" y="398"/>
                    <a:pt x="27" y="401"/>
                    <a:pt x="28" y="403"/>
                  </a:cubicBezTo>
                  <a:cubicBezTo>
                    <a:pt x="28" y="405"/>
                    <a:pt x="28" y="406"/>
                    <a:pt x="29" y="407"/>
                  </a:cubicBezTo>
                  <a:cubicBezTo>
                    <a:pt x="29" y="409"/>
                    <a:pt x="30" y="411"/>
                    <a:pt x="30" y="413"/>
                  </a:cubicBezTo>
                  <a:cubicBezTo>
                    <a:pt x="31" y="415"/>
                    <a:pt x="32" y="417"/>
                    <a:pt x="32" y="419"/>
                  </a:cubicBezTo>
                  <a:cubicBezTo>
                    <a:pt x="33" y="421"/>
                    <a:pt x="33" y="423"/>
                    <a:pt x="33" y="425"/>
                  </a:cubicBezTo>
                  <a:cubicBezTo>
                    <a:pt x="33" y="427"/>
                    <a:pt x="33" y="429"/>
                    <a:pt x="33" y="431"/>
                  </a:cubicBezTo>
                  <a:cubicBezTo>
                    <a:pt x="35" y="436"/>
                    <a:pt x="37" y="439"/>
                    <a:pt x="38" y="442"/>
                  </a:cubicBezTo>
                  <a:cubicBezTo>
                    <a:pt x="39" y="442"/>
                    <a:pt x="39" y="443"/>
                    <a:pt x="39" y="443"/>
                  </a:cubicBezTo>
                  <a:cubicBezTo>
                    <a:pt x="40" y="444"/>
                    <a:pt x="41" y="445"/>
                    <a:pt x="41" y="447"/>
                  </a:cubicBezTo>
                  <a:cubicBezTo>
                    <a:pt x="41" y="447"/>
                    <a:pt x="41" y="448"/>
                    <a:pt x="41" y="449"/>
                  </a:cubicBezTo>
                  <a:cubicBezTo>
                    <a:pt x="41" y="450"/>
                    <a:pt x="40" y="452"/>
                    <a:pt x="41" y="453"/>
                  </a:cubicBezTo>
                  <a:cubicBezTo>
                    <a:pt x="41" y="455"/>
                    <a:pt x="42" y="456"/>
                    <a:pt x="42" y="458"/>
                  </a:cubicBezTo>
                  <a:cubicBezTo>
                    <a:pt x="43" y="460"/>
                    <a:pt x="44" y="461"/>
                    <a:pt x="44" y="464"/>
                  </a:cubicBezTo>
                  <a:cubicBezTo>
                    <a:pt x="44" y="468"/>
                    <a:pt x="43" y="472"/>
                    <a:pt x="43" y="476"/>
                  </a:cubicBezTo>
                  <a:cubicBezTo>
                    <a:pt x="43" y="476"/>
                    <a:pt x="43" y="476"/>
                    <a:pt x="43" y="476"/>
                  </a:cubicBezTo>
                  <a:cubicBezTo>
                    <a:pt x="43" y="480"/>
                    <a:pt x="42" y="484"/>
                    <a:pt x="42" y="488"/>
                  </a:cubicBezTo>
                  <a:cubicBezTo>
                    <a:pt x="42" y="490"/>
                    <a:pt x="42" y="492"/>
                    <a:pt x="42" y="494"/>
                  </a:cubicBezTo>
                  <a:cubicBezTo>
                    <a:pt x="42" y="494"/>
                    <a:pt x="42" y="494"/>
                    <a:pt x="42" y="494"/>
                  </a:cubicBezTo>
                  <a:cubicBezTo>
                    <a:pt x="42" y="496"/>
                    <a:pt x="42" y="499"/>
                    <a:pt x="42" y="501"/>
                  </a:cubicBezTo>
                  <a:cubicBezTo>
                    <a:pt x="42" y="503"/>
                    <a:pt x="41" y="504"/>
                    <a:pt x="41" y="506"/>
                  </a:cubicBezTo>
                  <a:cubicBezTo>
                    <a:pt x="40" y="508"/>
                    <a:pt x="40" y="509"/>
                    <a:pt x="39" y="511"/>
                  </a:cubicBezTo>
                  <a:cubicBezTo>
                    <a:pt x="39" y="512"/>
                    <a:pt x="39" y="512"/>
                    <a:pt x="39" y="512"/>
                  </a:cubicBezTo>
                  <a:cubicBezTo>
                    <a:pt x="41" y="513"/>
                    <a:pt x="41" y="513"/>
                    <a:pt x="41" y="513"/>
                  </a:cubicBezTo>
                  <a:cubicBezTo>
                    <a:pt x="41" y="514"/>
                    <a:pt x="41" y="514"/>
                    <a:pt x="42" y="514"/>
                  </a:cubicBezTo>
                  <a:cubicBezTo>
                    <a:pt x="44" y="516"/>
                    <a:pt x="44" y="518"/>
                    <a:pt x="43" y="522"/>
                  </a:cubicBezTo>
                  <a:cubicBezTo>
                    <a:pt x="43" y="523"/>
                    <a:pt x="43" y="525"/>
                    <a:pt x="43" y="526"/>
                  </a:cubicBezTo>
                  <a:cubicBezTo>
                    <a:pt x="43" y="527"/>
                    <a:pt x="43" y="527"/>
                    <a:pt x="43" y="527"/>
                  </a:cubicBezTo>
                  <a:cubicBezTo>
                    <a:pt x="43" y="531"/>
                    <a:pt x="44" y="534"/>
                    <a:pt x="43" y="538"/>
                  </a:cubicBezTo>
                  <a:cubicBezTo>
                    <a:pt x="43" y="539"/>
                    <a:pt x="43" y="539"/>
                    <a:pt x="43" y="539"/>
                  </a:cubicBezTo>
                  <a:cubicBezTo>
                    <a:pt x="44" y="540"/>
                    <a:pt x="44" y="540"/>
                    <a:pt x="44" y="540"/>
                  </a:cubicBezTo>
                  <a:cubicBezTo>
                    <a:pt x="47" y="541"/>
                    <a:pt x="51" y="541"/>
                    <a:pt x="53" y="542"/>
                  </a:cubicBezTo>
                  <a:cubicBezTo>
                    <a:pt x="56" y="542"/>
                    <a:pt x="60" y="542"/>
                    <a:pt x="63" y="543"/>
                  </a:cubicBezTo>
                  <a:cubicBezTo>
                    <a:pt x="65" y="544"/>
                    <a:pt x="65" y="544"/>
                    <a:pt x="65" y="544"/>
                  </a:cubicBezTo>
                  <a:cubicBezTo>
                    <a:pt x="65" y="542"/>
                    <a:pt x="65" y="542"/>
                    <a:pt x="65" y="542"/>
                  </a:cubicBezTo>
                  <a:cubicBezTo>
                    <a:pt x="65" y="542"/>
                    <a:pt x="65" y="541"/>
                    <a:pt x="66" y="541"/>
                  </a:cubicBezTo>
                  <a:cubicBezTo>
                    <a:pt x="66" y="540"/>
                    <a:pt x="66" y="540"/>
                    <a:pt x="66" y="540"/>
                  </a:cubicBezTo>
                  <a:cubicBezTo>
                    <a:pt x="67" y="536"/>
                    <a:pt x="68" y="532"/>
                    <a:pt x="69" y="527"/>
                  </a:cubicBezTo>
                  <a:cubicBezTo>
                    <a:pt x="69" y="525"/>
                    <a:pt x="69" y="522"/>
                    <a:pt x="67" y="520"/>
                  </a:cubicBezTo>
                  <a:cubicBezTo>
                    <a:pt x="67" y="519"/>
                    <a:pt x="66" y="519"/>
                    <a:pt x="66" y="518"/>
                  </a:cubicBezTo>
                  <a:cubicBezTo>
                    <a:pt x="65" y="518"/>
                    <a:pt x="64" y="517"/>
                    <a:pt x="64" y="516"/>
                  </a:cubicBezTo>
                  <a:cubicBezTo>
                    <a:pt x="62" y="513"/>
                    <a:pt x="62" y="509"/>
                    <a:pt x="63" y="506"/>
                  </a:cubicBezTo>
                  <a:cubicBezTo>
                    <a:pt x="64" y="502"/>
                    <a:pt x="67" y="499"/>
                    <a:pt x="69" y="496"/>
                  </a:cubicBezTo>
                  <a:cubicBezTo>
                    <a:pt x="70" y="496"/>
                    <a:pt x="71" y="496"/>
                    <a:pt x="72" y="495"/>
                  </a:cubicBezTo>
                  <a:cubicBezTo>
                    <a:pt x="73" y="495"/>
                    <a:pt x="74" y="494"/>
                    <a:pt x="75" y="493"/>
                  </a:cubicBezTo>
                  <a:cubicBezTo>
                    <a:pt x="76" y="492"/>
                    <a:pt x="76" y="492"/>
                    <a:pt x="76" y="492"/>
                  </a:cubicBezTo>
                  <a:cubicBezTo>
                    <a:pt x="78" y="491"/>
                    <a:pt x="78" y="491"/>
                    <a:pt x="80" y="490"/>
                  </a:cubicBezTo>
                  <a:cubicBezTo>
                    <a:pt x="81" y="490"/>
                    <a:pt x="81" y="489"/>
                    <a:pt x="82" y="489"/>
                  </a:cubicBezTo>
                  <a:cubicBezTo>
                    <a:pt x="84" y="488"/>
                    <a:pt x="85" y="488"/>
                    <a:pt x="86" y="487"/>
                  </a:cubicBezTo>
                  <a:cubicBezTo>
                    <a:pt x="87" y="487"/>
                    <a:pt x="88" y="487"/>
                    <a:pt x="89" y="487"/>
                  </a:cubicBezTo>
                  <a:cubicBezTo>
                    <a:pt x="91" y="486"/>
                    <a:pt x="92" y="486"/>
                    <a:pt x="93" y="485"/>
                  </a:cubicBezTo>
                  <a:cubicBezTo>
                    <a:pt x="95" y="485"/>
                    <a:pt x="96" y="484"/>
                    <a:pt x="98" y="483"/>
                  </a:cubicBezTo>
                  <a:cubicBezTo>
                    <a:pt x="98" y="483"/>
                    <a:pt x="99" y="483"/>
                    <a:pt x="100" y="482"/>
                  </a:cubicBezTo>
                  <a:cubicBezTo>
                    <a:pt x="100" y="482"/>
                    <a:pt x="102" y="481"/>
                    <a:pt x="103" y="481"/>
                  </a:cubicBezTo>
                  <a:cubicBezTo>
                    <a:pt x="104" y="481"/>
                    <a:pt x="105" y="480"/>
                    <a:pt x="106" y="480"/>
                  </a:cubicBezTo>
                  <a:cubicBezTo>
                    <a:pt x="108" y="479"/>
                    <a:pt x="111" y="478"/>
                    <a:pt x="113" y="477"/>
                  </a:cubicBezTo>
                  <a:cubicBezTo>
                    <a:pt x="115" y="476"/>
                    <a:pt x="116" y="475"/>
                    <a:pt x="118" y="475"/>
                  </a:cubicBezTo>
                  <a:cubicBezTo>
                    <a:pt x="125" y="473"/>
                    <a:pt x="131" y="468"/>
                    <a:pt x="137" y="463"/>
                  </a:cubicBezTo>
                  <a:cubicBezTo>
                    <a:pt x="138" y="462"/>
                    <a:pt x="138" y="462"/>
                    <a:pt x="138" y="462"/>
                  </a:cubicBezTo>
                  <a:cubicBezTo>
                    <a:pt x="143" y="457"/>
                    <a:pt x="145" y="448"/>
                    <a:pt x="145" y="441"/>
                  </a:cubicBezTo>
                  <a:cubicBezTo>
                    <a:pt x="145" y="439"/>
                    <a:pt x="145" y="439"/>
                    <a:pt x="145" y="439"/>
                  </a:cubicBezTo>
                  <a:cubicBezTo>
                    <a:pt x="144" y="439"/>
                    <a:pt x="144" y="439"/>
                    <a:pt x="144" y="439"/>
                  </a:cubicBezTo>
                  <a:cubicBezTo>
                    <a:pt x="143" y="439"/>
                    <a:pt x="143" y="439"/>
                    <a:pt x="143" y="439"/>
                  </a:cubicBezTo>
                  <a:cubicBezTo>
                    <a:pt x="143" y="439"/>
                    <a:pt x="143" y="439"/>
                    <a:pt x="143" y="439"/>
                  </a:cubicBezTo>
                  <a:cubicBezTo>
                    <a:pt x="142" y="439"/>
                    <a:pt x="142" y="439"/>
                    <a:pt x="142" y="439"/>
                  </a:cubicBezTo>
                  <a:cubicBezTo>
                    <a:pt x="142" y="439"/>
                    <a:pt x="142" y="439"/>
                    <a:pt x="142" y="439"/>
                  </a:cubicBezTo>
                  <a:cubicBezTo>
                    <a:pt x="142" y="437"/>
                    <a:pt x="142" y="436"/>
                    <a:pt x="142" y="434"/>
                  </a:cubicBezTo>
                  <a:cubicBezTo>
                    <a:pt x="142" y="433"/>
                    <a:pt x="142" y="432"/>
                    <a:pt x="143" y="430"/>
                  </a:cubicBezTo>
                  <a:cubicBezTo>
                    <a:pt x="144" y="428"/>
                    <a:pt x="145" y="425"/>
                    <a:pt x="146" y="422"/>
                  </a:cubicBezTo>
                  <a:cubicBezTo>
                    <a:pt x="146" y="421"/>
                    <a:pt x="146" y="421"/>
                    <a:pt x="146" y="420"/>
                  </a:cubicBezTo>
                  <a:cubicBezTo>
                    <a:pt x="146" y="419"/>
                    <a:pt x="146" y="418"/>
                    <a:pt x="146" y="418"/>
                  </a:cubicBezTo>
                  <a:cubicBezTo>
                    <a:pt x="146" y="417"/>
                    <a:pt x="147" y="417"/>
                    <a:pt x="147" y="416"/>
                  </a:cubicBezTo>
                  <a:cubicBezTo>
                    <a:pt x="147" y="416"/>
                    <a:pt x="148" y="415"/>
                    <a:pt x="148" y="414"/>
                  </a:cubicBezTo>
                  <a:cubicBezTo>
                    <a:pt x="148" y="412"/>
                    <a:pt x="148" y="410"/>
                    <a:pt x="147" y="409"/>
                  </a:cubicBezTo>
                  <a:cubicBezTo>
                    <a:pt x="146" y="406"/>
                    <a:pt x="145" y="401"/>
                    <a:pt x="146" y="398"/>
                  </a:cubicBezTo>
                  <a:cubicBezTo>
                    <a:pt x="146" y="397"/>
                    <a:pt x="147" y="397"/>
                    <a:pt x="147" y="396"/>
                  </a:cubicBezTo>
                  <a:cubicBezTo>
                    <a:pt x="148" y="393"/>
                    <a:pt x="149" y="391"/>
                    <a:pt x="149" y="388"/>
                  </a:cubicBezTo>
                  <a:cubicBezTo>
                    <a:pt x="149" y="386"/>
                    <a:pt x="147" y="383"/>
                    <a:pt x="145" y="383"/>
                  </a:cubicBezTo>
                  <a:cubicBezTo>
                    <a:pt x="144" y="383"/>
                    <a:pt x="144" y="384"/>
                    <a:pt x="143" y="384"/>
                  </a:cubicBezTo>
                  <a:cubicBezTo>
                    <a:pt x="143" y="384"/>
                    <a:pt x="143" y="384"/>
                    <a:pt x="142" y="384"/>
                  </a:cubicBezTo>
                  <a:cubicBezTo>
                    <a:pt x="142" y="384"/>
                    <a:pt x="143" y="383"/>
                    <a:pt x="143" y="383"/>
                  </a:cubicBezTo>
                  <a:cubicBezTo>
                    <a:pt x="143" y="380"/>
                    <a:pt x="143" y="379"/>
                    <a:pt x="142" y="376"/>
                  </a:cubicBezTo>
                  <a:cubicBezTo>
                    <a:pt x="141" y="375"/>
                    <a:pt x="141" y="374"/>
                    <a:pt x="141" y="373"/>
                  </a:cubicBezTo>
                  <a:cubicBezTo>
                    <a:pt x="141" y="372"/>
                    <a:pt x="141" y="372"/>
                    <a:pt x="141" y="371"/>
                  </a:cubicBezTo>
                  <a:cubicBezTo>
                    <a:pt x="141" y="369"/>
                    <a:pt x="140" y="367"/>
                    <a:pt x="140" y="366"/>
                  </a:cubicBezTo>
                  <a:cubicBezTo>
                    <a:pt x="139" y="365"/>
                    <a:pt x="139" y="365"/>
                    <a:pt x="139" y="365"/>
                  </a:cubicBezTo>
                  <a:cubicBezTo>
                    <a:pt x="139" y="364"/>
                    <a:pt x="138" y="363"/>
                    <a:pt x="138" y="362"/>
                  </a:cubicBezTo>
                  <a:cubicBezTo>
                    <a:pt x="138" y="361"/>
                    <a:pt x="137" y="361"/>
                    <a:pt x="137" y="360"/>
                  </a:cubicBezTo>
                  <a:cubicBezTo>
                    <a:pt x="136" y="357"/>
                    <a:pt x="136" y="353"/>
                    <a:pt x="137" y="350"/>
                  </a:cubicBezTo>
                  <a:cubicBezTo>
                    <a:pt x="138" y="347"/>
                    <a:pt x="137" y="345"/>
                    <a:pt x="136" y="343"/>
                  </a:cubicBezTo>
                  <a:cubicBezTo>
                    <a:pt x="135" y="342"/>
                    <a:pt x="135" y="341"/>
                    <a:pt x="134" y="340"/>
                  </a:cubicBezTo>
                  <a:cubicBezTo>
                    <a:pt x="134" y="340"/>
                    <a:pt x="134" y="340"/>
                    <a:pt x="134" y="340"/>
                  </a:cubicBezTo>
                  <a:cubicBezTo>
                    <a:pt x="134" y="339"/>
                    <a:pt x="134" y="338"/>
                    <a:pt x="134" y="337"/>
                  </a:cubicBezTo>
                  <a:cubicBezTo>
                    <a:pt x="133" y="337"/>
                    <a:pt x="133" y="336"/>
                    <a:pt x="132" y="336"/>
                  </a:cubicBezTo>
                  <a:cubicBezTo>
                    <a:pt x="132" y="336"/>
                    <a:pt x="132" y="336"/>
                    <a:pt x="132" y="336"/>
                  </a:cubicBezTo>
                  <a:cubicBezTo>
                    <a:pt x="131" y="335"/>
                    <a:pt x="130" y="334"/>
                    <a:pt x="130" y="334"/>
                  </a:cubicBezTo>
                  <a:cubicBezTo>
                    <a:pt x="129" y="333"/>
                    <a:pt x="129" y="333"/>
                    <a:pt x="128" y="332"/>
                  </a:cubicBezTo>
                  <a:cubicBezTo>
                    <a:pt x="126" y="330"/>
                    <a:pt x="125" y="328"/>
                    <a:pt x="126" y="326"/>
                  </a:cubicBezTo>
                  <a:cubicBezTo>
                    <a:pt x="126" y="324"/>
                    <a:pt x="127" y="323"/>
                    <a:pt x="127" y="321"/>
                  </a:cubicBezTo>
                  <a:cubicBezTo>
                    <a:pt x="127" y="320"/>
                    <a:pt x="128" y="318"/>
                    <a:pt x="128" y="317"/>
                  </a:cubicBezTo>
                  <a:cubicBezTo>
                    <a:pt x="128" y="316"/>
                    <a:pt x="128" y="316"/>
                    <a:pt x="128" y="316"/>
                  </a:cubicBezTo>
                  <a:cubicBezTo>
                    <a:pt x="129" y="313"/>
                    <a:pt x="129" y="312"/>
                    <a:pt x="131" y="311"/>
                  </a:cubicBezTo>
                  <a:cubicBezTo>
                    <a:pt x="137" y="308"/>
                    <a:pt x="142" y="303"/>
                    <a:pt x="146" y="298"/>
                  </a:cubicBezTo>
                  <a:cubicBezTo>
                    <a:pt x="147" y="297"/>
                    <a:pt x="148" y="296"/>
                    <a:pt x="149" y="295"/>
                  </a:cubicBezTo>
                  <a:cubicBezTo>
                    <a:pt x="150" y="294"/>
                    <a:pt x="151" y="293"/>
                    <a:pt x="152" y="292"/>
                  </a:cubicBezTo>
                  <a:cubicBezTo>
                    <a:pt x="154" y="290"/>
                    <a:pt x="156" y="288"/>
                    <a:pt x="158" y="286"/>
                  </a:cubicBezTo>
                  <a:cubicBezTo>
                    <a:pt x="159" y="285"/>
                    <a:pt x="161" y="284"/>
                    <a:pt x="162" y="282"/>
                  </a:cubicBezTo>
                  <a:cubicBezTo>
                    <a:pt x="163" y="282"/>
                    <a:pt x="163" y="282"/>
                    <a:pt x="163" y="282"/>
                  </a:cubicBezTo>
                  <a:cubicBezTo>
                    <a:pt x="163" y="281"/>
                    <a:pt x="164" y="280"/>
                    <a:pt x="165" y="280"/>
                  </a:cubicBezTo>
                  <a:cubicBezTo>
                    <a:pt x="165" y="280"/>
                    <a:pt x="166" y="280"/>
                    <a:pt x="166" y="280"/>
                  </a:cubicBezTo>
                  <a:cubicBezTo>
                    <a:pt x="167" y="280"/>
                    <a:pt x="168" y="281"/>
                    <a:pt x="169" y="281"/>
                  </a:cubicBezTo>
                  <a:cubicBezTo>
                    <a:pt x="169" y="281"/>
                    <a:pt x="170" y="281"/>
                    <a:pt x="171" y="280"/>
                  </a:cubicBezTo>
                  <a:cubicBezTo>
                    <a:pt x="172" y="280"/>
                    <a:pt x="173" y="279"/>
                    <a:pt x="174" y="277"/>
                  </a:cubicBezTo>
                  <a:cubicBezTo>
                    <a:pt x="177" y="276"/>
                    <a:pt x="177" y="273"/>
                    <a:pt x="178" y="271"/>
                  </a:cubicBezTo>
                  <a:cubicBezTo>
                    <a:pt x="178" y="271"/>
                    <a:pt x="178" y="270"/>
                    <a:pt x="178" y="270"/>
                  </a:cubicBezTo>
                  <a:cubicBezTo>
                    <a:pt x="178" y="270"/>
                    <a:pt x="178" y="269"/>
                    <a:pt x="178" y="269"/>
                  </a:cubicBezTo>
                  <a:cubicBezTo>
                    <a:pt x="178" y="268"/>
                    <a:pt x="179" y="268"/>
                    <a:pt x="179" y="267"/>
                  </a:cubicBezTo>
                  <a:cubicBezTo>
                    <a:pt x="180" y="267"/>
                    <a:pt x="180" y="267"/>
                    <a:pt x="181" y="266"/>
                  </a:cubicBezTo>
                  <a:cubicBezTo>
                    <a:pt x="182" y="265"/>
                    <a:pt x="182" y="265"/>
                    <a:pt x="182" y="265"/>
                  </a:cubicBezTo>
                  <a:cubicBezTo>
                    <a:pt x="185" y="262"/>
                    <a:pt x="188" y="260"/>
                    <a:pt x="190" y="257"/>
                  </a:cubicBezTo>
                  <a:cubicBezTo>
                    <a:pt x="191" y="256"/>
                    <a:pt x="192" y="254"/>
                    <a:pt x="192" y="253"/>
                  </a:cubicBezTo>
                  <a:cubicBezTo>
                    <a:pt x="193" y="252"/>
                    <a:pt x="193" y="252"/>
                    <a:pt x="193" y="251"/>
                  </a:cubicBezTo>
                  <a:cubicBezTo>
                    <a:pt x="194" y="250"/>
                    <a:pt x="195" y="249"/>
                    <a:pt x="196" y="247"/>
                  </a:cubicBezTo>
                  <a:cubicBezTo>
                    <a:pt x="196" y="246"/>
                    <a:pt x="196" y="246"/>
                    <a:pt x="196" y="246"/>
                  </a:cubicBezTo>
                  <a:cubicBezTo>
                    <a:pt x="200" y="240"/>
                    <a:pt x="206" y="235"/>
                    <a:pt x="214" y="231"/>
                  </a:cubicBezTo>
                  <a:cubicBezTo>
                    <a:pt x="216" y="230"/>
                    <a:pt x="218" y="229"/>
                    <a:pt x="220" y="229"/>
                  </a:cubicBezTo>
                  <a:cubicBezTo>
                    <a:pt x="221" y="228"/>
                    <a:pt x="223" y="228"/>
                    <a:pt x="224" y="227"/>
                  </a:cubicBezTo>
                  <a:cubicBezTo>
                    <a:pt x="226" y="226"/>
                    <a:pt x="227" y="226"/>
                    <a:pt x="229" y="225"/>
                  </a:cubicBezTo>
                  <a:cubicBezTo>
                    <a:pt x="231" y="224"/>
                    <a:pt x="232" y="223"/>
                    <a:pt x="234" y="222"/>
                  </a:cubicBezTo>
                  <a:cubicBezTo>
                    <a:pt x="236" y="221"/>
                    <a:pt x="239" y="221"/>
                    <a:pt x="241" y="220"/>
                  </a:cubicBezTo>
                  <a:cubicBezTo>
                    <a:pt x="246" y="219"/>
                    <a:pt x="251" y="218"/>
                    <a:pt x="255" y="215"/>
                  </a:cubicBezTo>
                  <a:cubicBezTo>
                    <a:pt x="256" y="215"/>
                    <a:pt x="256" y="214"/>
                    <a:pt x="257" y="213"/>
                  </a:cubicBezTo>
                  <a:cubicBezTo>
                    <a:pt x="258" y="212"/>
                    <a:pt x="258" y="212"/>
                    <a:pt x="259" y="211"/>
                  </a:cubicBezTo>
                  <a:cubicBezTo>
                    <a:pt x="260" y="211"/>
                    <a:pt x="260" y="211"/>
                    <a:pt x="260" y="211"/>
                  </a:cubicBezTo>
                  <a:cubicBezTo>
                    <a:pt x="261" y="210"/>
                    <a:pt x="262" y="209"/>
                    <a:pt x="263" y="208"/>
                  </a:cubicBezTo>
                  <a:cubicBezTo>
                    <a:pt x="265" y="207"/>
                    <a:pt x="266" y="206"/>
                    <a:pt x="267" y="206"/>
                  </a:cubicBezTo>
                  <a:cubicBezTo>
                    <a:pt x="271" y="204"/>
                    <a:pt x="275" y="202"/>
                    <a:pt x="276" y="198"/>
                  </a:cubicBezTo>
                  <a:cubicBezTo>
                    <a:pt x="277" y="197"/>
                    <a:pt x="277" y="196"/>
                    <a:pt x="277" y="195"/>
                  </a:cubicBezTo>
                  <a:cubicBezTo>
                    <a:pt x="277" y="195"/>
                    <a:pt x="277" y="195"/>
                    <a:pt x="277" y="194"/>
                  </a:cubicBezTo>
                  <a:cubicBezTo>
                    <a:pt x="277" y="193"/>
                    <a:pt x="278" y="193"/>
                    <a:pt x="279" y="192"/>
                  </a:cubicBezTo>
                  <a:cubicBezTo>
                    <a:pt x="280" y="192"/>
                    <a:pt x="280" y="191"/>
                    <a:pt x="281" y="191"/>
                  </a:cubicBezTo>
                  <a:cubicBezTo>
                    <a:pt x="282" y="190"/>
                    <a:pt x="283" y="188"/>
                    <a:pt x="284" y="186"/>
                  </a:cubicBezTo>
                  <a:cubicBezTo>
                    <a:pt x="284" y="185"/>
                    <a:pt x="285" y="185"/>
                    <a:pt x="285" y="184"/>
                  </a:cubicBezTo>
                  <a:cubicBezTo>
                    <a:pt x="286" y="183"/>
                    <a:pt x="287" y="182"/>
                    <a:pt x="288" y="181"/>
                  </a:cubicBezTo>
                  <a:cubicBezTo>
                    <a:pt x="289" y="180"/>
                    <a:pt x="289" y="180"/>
                    <a:pt x="290" y="179"/>
                  </a:cubicBezTo>
                  <a:cubicBezTo>
                    <a:pt x="290" y="179"/>
                    <a:pt x="290" y="178"/>
                    <a:pt x="291" y="177"/>
                  </a:cubicBezTo>
                  <a:cubicBezTo>
                    <a:pt x="291" y="177"/>
                    <a:pt x="291" y="177"/>
                    <a:pt x="292" y="176"/>
                  </a:cubicBezTo>
                  <a:cubicBezTo>
                    <a:pt x="292" y="176"/>
                    <a:pt x="292" y="176"/>
                    <a:pt x="293" y="176"/>
                  </a:cubicBezTo>
                  <a:cubicBezTo>
                    <a:pt x="293" y="175"/>
                    <a:pt x="294" y="175"/>
                    <a:pt x="294" y="174"/>
                  </a:cubicBezTo>
                  <a:cubicBezTo>
                    <a:pt x="295" y="173"/>
                    <a:pt x="295" y="173"/>
                    <a:pt x="295" y="173"/>
                  </a:cubicBezTo>
                  <a:cubicBezTo>
                    <a:pt x="296" y="171"/>
                    <a:pt x="297" y="170"/>
                    <a:pt x="298" y="169"/>
                  </a:cubicBezTo>
                  <a:cubicBezTo>
                    <a:pt x="299" y="168"/>
                    <a:pt x="299" y="167"/>
                    <a:pt x="299" y="166"/>
                  </a:cubicBezTo>
                  <a:cubicBezTo>
                    <a:pt x="299" y="166"/>
                    <a:pt x="300" y="166"/>
                    <a:pt x="300" y="165"/>
                  </a:cubicBezTo>
                  <a:cubicBezTo>
                    <a:pt x="300" y="165"/>
                    <a:pt x="300" y="165"/>
                    <a:pt x="300" y="165"/>
                  </a:cubicBezTo>
                  <a:cubicBezTo>
                    <a:pt x="301" y="164"/>
                    <a:pt x="301" y="163"/>
                    <a:pt x="302" y="163"/>
                  </a:cubicBezTo>
                  <a:cubicBezTo>
                    <a:pt x="302" y="162"/>
                    <a:pt x="302" y="162"/>
                    <a:pt x="302" y="162"/>
                  </a:cubicBezTo>
                  <a:cubicBezTo>
                    <a:pt x="302" y="161"/>
                    <a:pt x="303" y="160"/>
                    <a:pt x="303" y="159"/>
                  </a:cubicBezTo>
                  <a:cubicBezTo>
                    <a:pt x="303" y="157"/>
                    <a:pt x="303" y="156"/>
                    <a:pt x="302" y="155"/>
                  </a:cubicBezTo>
                  <a:cubicBezTo>
                    <a:pt x="302" y="155"/>
                    <a:pt x="302" y="155"/>
                    <a:pt x="302" y="155"/>
                  </a:cubicBezTo>
                  <a:cubicBezTo>
                    <a:pt x="301" y="154"/>
                    <a:pt x="302" y="153"/>
                    <a:pt x="303" y="152"/>
                  </a:cubicBezTo>
                  <a:cubicBezTo>
                    <a:pt x="303" y="152"/>
                    <a:pt x="303" y="152"/>
                    <a:pt x="303" y="152"/>
                  </a:cubicBezTo>
                  <a:cubicBezTo>
                    <a:pt x="304" y="151"/>
                    <a:pt x="304" y="151"/>
                    <a:pt x="305" y="149"/>
                  </a:cubicBezTo>
                  <a:cubicBezTo>
                    <a:pt x="305" y="149"/>
                    <a:pt x="305" y="149"/>
                    <a:pt x="305" y="149"/>
                  </a:cubicBezTo>
                  <a:cubicBezTo>
                    <a:pt x="305" y="148"/>
                    <a:pt x="305" y="147"/>
                    <a:pt x="306" y="147"/>
                  </a:cubicBezTo>
                  <a:cubicBezTo>
                    <a:pt x="307" y="145"/>
                    <a:pt x="308" y="143"/>
                    <a:pt x="308" y="141"/>
                  </a:cubicBezTo>
                  <a:cubicBezTo>
                    <a:pt x="308" y="140"/>
                    <a:pt x="308" y="139"/>
                    <a:pt x="308" y="138"/>
                  </a:cubicBezTo>
                  <a:cubicBezTo>
                    <a:pt x="308" y="137"/>
                    <a:pt x="308" y="137"/>
                    <a:pt x="308" y="135"/>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70" name="Freeform 70">
              <a:extLst>
                <a:ext uri="{FF2B5EF4-FFF2-40B4-BE49-F238E27FC236}">
                  <a16:creationId xmlns:a16="http://schemas.microsoft.com/office/drawing/2014/main" id="{5BED557E-44C6-4BBD-A20B-FFA4CA3BA39A}"/>
                </a:ext>
              </a:extLst>
            </p:cNvPr>
            <p:cNvSpPr>
              <a:spLocks/>
            </p:cNvSpPr>
            <p:nvPr/>
          </p:nvSpPr>
          <p:spPr bwMode="auto">
            <a:xfrm>
              <a:off x="3752168" y="4103806"/>
              <a:ext cx="77006" cy="100680"/>
            </a:xfrm>
            <a:custGeom>
              <a:avLst/>
              <a:gdLst>
                <a:gd name="T0" fmla="*/ 37 w 38"/>
                <a:gd name="T1" fmla="*/ 23 h 54"/>
                <a:gd name="T2" fmla="*/ 38 w 38"/>
                <a:gd name="T3" fmla="*/ 19 h 54"/>
                <a:gd name="T4" fmla="*/ 36 w 38"/>
                <a:gd name="T5" fmla="*/ 11 h 54"/>
                <a:gd name="T6" fmla="*/ 31 w 38"/>
                <a:gd name="T7" fmla="*/ 8 h 54"/>
                <a:gd name="T8" fmla="*/ 24 w 38"/>
                <a:gd name="T9" fmla="*/ 4 h 54"/>
                <a:gd name="T10" fmla="*/ 23 w 38"/>
                <a:gd name="T11" fmla="*/ 2 h 54"/>
                <a:gd name="T12" fmla="*/ 21 w 38"/>
                <a:gd name="T13" fmla="*/ 0 h 54"/>
                <a:gd name="T14" fmla="*/ 19 w 38"/>
                <a:gd name="T15" fmla="*/ 0 h 54"/>
                <a:gd name="T16" fmla="*/ 19 w 38"/>
                <a:gd name="T17" fmla="*/ 0 h 54"/>
                <a:gd name="T18" fmla="*/ 16 w 38"/>
                <a:gd name="T19" fmla="*/ 2 h 54"/>
                <a:gd name="T20" fmla="*/ 9 w 38"/>
                <a:gd name="T21" fmla="*/ 11 h 54"/>
                <a:gd name="T22" fmla="*/ 5 w 38"/>
                <a:gd name="T23" fmla="*/ 17 h 54"/>
                <a:gd name="T24" fmla="*/ 0 w 38"/>
                <a:gd name="T25" fmla="*/ 30 h 54"/>
                <a:gd name="T26" fmla="*/ 0 w 38"/>
                <a:gd name="T27" fmla="*/ 31 h 54"/>
                <a:gd name="T28" fmla="*/ 2 w 38"/>
                <a:gd name="T29" fmla="*/ 35 h 54"/>
                <a:gd name="T30" fmla="*/ 2 w 38"/>
                <a:gd name="T31" fmla="*/ 36 h 54"/>
                <a:gd name="T32" fmla="*/ 2 w 38"/>
                <a:gd name="T33" fmla="*/ 36 h 54"/>
                <a:gd name="T34" fmla="*/ 6 w 38"/>
                <a:gd name="T35" fmla="*/ 37 h 54"/>
                <a:gd name="T36" fmla="*/ 6 w 38"/>
                <a:gd name="T37" fmla="*/ 37 h 54"/>
                <a:gd name="T38" fmla="*/ 7 w 38"/>
                <a:gd name="T39" fmla="*/ 36 h 54"/>
                <a:gd name="T40" fmla="*/ 7 w 38"/>
                <a:gd name="T41" fmla="*/ 38 h 54"/>
                <a:gd name="T42" fmla="*/ 11 w 38"/>
                <a:gd name="T43" fmla="*/ 48 h 54"/>
                <a:gd name="T44" fmla="*/ 11 w 38"/>
                <a:gd name="T45" fmla="*/ 49 h 54"/>
                <a:gd name="T46" fmla="*/ 11 w 38"/>
                <a:gd name="T47" fmla="*/ 50 h 54"/>
                <a:gd name="T48" fmla="*/ 12 w 38"/>
                <a:gd name="T49" fmla="*/ 51 h 54"/>
                <a:gd name="T50" fmla="*/ 13 w 38"/>
                <a:gd name="T51" fmla="*/ 51 h 54"/>
                <a:gd name="T52" fmla="*/ 15 w 38"/>
                <a:gd name="T53" fmla="*/ 51 h 54"/>
                <a:gd name="T54" fmla="*/ 17 w 38"/>
                <a:gd name="T55" fmla="*/ 51 h 54"/>
                <a:gd name="T56" fmla="*/ 18 w 38"/>
                <a:gd name="T57" fmla="*/ 51 h 54"/>
                <a:gd name="T58" fmla="*/ 19 w 38"/>
                <a:gd name="T59" fmla="*/ 51 h 54"/>
                <a:gd name="T60" fmla="*/ 23 w 38"/>
                <a:gd name="T61" fmla="*/ 53 h 54"/>
                <a:gd name="T62" fmla="*/ 29 w 38"/>
                <a:gd name="T63" fmla="*/ 54 h 54"/>
                <a:gd name="T64" fmla="*/ 32 w 38"/>
                <a:gd name="T65" fmla="*/ 53 h 54"/>
                <a:gd name="T66" fmla="*/ 35 w 38"/>
                <a:gd name="T67" fmla="*/ 43 h 54"/>
                <a:gd name="T68" fmla="*/ 36 w 38"/>
                <a:gd name="T69" fmla="*/ 38 h 54"/>
                <a:gd name="T70" fmla="*/ 37 w 38"/>
                <a:gd name="T71" fmla="*/ 24 h 54"/>
                <a:gd name="T72" fmla="*/ 37 w 38"/>
                <a:gd name="T73"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54">
                  <a:moveTo>
                    <a:pt x="37" y="23"/>
                  </a:moveTo>
                  <a:cubicBezTo>
                    <a:pt x="37" y="22"/>
                    <a:pt x="37" y="20"/>
                    <a:pt x="38" y="19"/>
                  </a:cubicBezTo>
                  <a:cubicBezTo>
                    <a:pt x="38" y="16"/>
                    <a:pt x="38" y="13"/>
                    <a:pt x="36" y="11"/>
                  </a:cubicBezTo>
                  <a:cubicBezTo>
                    <a:pt x="34" y="9"/>
                    <a:pt x="33" y="9"/>
                    <a:pt x="31" y="8"/>
                  </a:cubicBezTo>
                  <a:cubicBezTo>
                    <a:pt x="28" y="7"/>
                    <a:pt x="26" y="6"/>
                    <a:pt x="24" y="4"/>
                  </a:cubicBezTo>
                  <a:cubicBezTo>
                    <a:pt x="23" y="3"/>
                    <a:pt x="23" y="3"/>
                    <a:pt x="23" y="2"/>
                  </a:cubicBezTo>
                  <a:cubicBezTo>
                    <a:pt x="22" y="1"/>
                    <a:pt x="21" y="1"/>
                    <a:pt x="21" y="0"/>
                  </a:cubicBezTo>
                  <a:cubicBezTo>
                    <a:pt x="19" y="0"/>
                    <a:pt x="19" y="0"/>
                    <a:pt x="19" y="0"/>
                  </a:cubicBezTo>
                  <a:cubicBezTo>
                    <a:pt x="19" y="0"/>
                    <a:pt x="19" y="0"/>
                    <a:pt x="19" y="0"/>
                  </a:cubicBezTo>
                  <a:cubicBezTo>
                    <a:pt x="18" y="1"/>
                    <a:pt x="17" y="1"/>
                    <a:pt x="16" y="2"/>
                  </a:cubicBezTo>
                  <a:cubicBezTo>
                    <a:pt x="13" y="5"/>
                    <a:pt x="11" y="8"/>
                    <a:pt x="9" y="11"/>
                  </a:cubicBezTo>
                  <a:cubicBezTo>
                    <a:pt x="8" y="13"/>
                    <a:pt x="7" y="15"/>
                    <a:pt x="5" y="17"/>
                  </a:cubicBezTo>
                  <a:cubicBezTo>
                    <a:pt x="2" y="21"/>
                    <a:pt x="0" y="25"/>
                    <a:pt x="0" y="30"/>
                  </a:cubicBezTo>
                  <a:cubicBezTo>
                    <a:pt x="0" y="31"/>
                    <a:pt x="0" y="31"/>
                    <a:pt x="0" y="31"/>
                  </a:cubicBezTo>
                  <a:cubicBezTo>
                    <a:pt x="0" y="33"/>
                    <a:pt x="0" y="34"/>
                    <a:pt x="2" y="35"/>
                  </a:cubicBezTo>
                  <a:cubicBezTo>
                    <a:pt x="2" y="36"/>
                    <a:pt x="2" y="36"/>
                    <a:pt x="2" y="36"/>
                  </a:cubicBezTo>
                  <a:cubicBezTo>
                    <a:pt x="2" y="36"/>
                    <a:pt x="2" y="36"/>
                    <a:pt x="2" y="36"/>
                  </a:cubicBezTo>
                  <a:cubicBezTo>
                    <a:pt x="3" y="36"/>
                    <a:pt x="5" y="37"/>
                    <a:pt x="6" y="37"/>
                  </a:cubicBezTo>
                  <a:cubicBezTo>
                    <a:pt x="6" y="37"/>
                    <a:pt x="6" y="37"/>
                    <a:pt x="6" y="37"/>
                  </a:cubicBezTo>
                  <a:cubicBezTo>
                    <a:pt x="7" y="36"/>
                    <a:pt x="7" y="36"/>
                    <a:pt x="7" y="36"/>
                  </a:cubicBezTo>
                  <a:cubicBezTo>
                    <a:pt x="7" y="38"/>
                    <a:pt x="7" y="38"/>
                    <a:pt x="7" y="38"/>
                  </a:cubicBezTo>
                  <a:cubicBezTo>
                    <a:pt x="7" y="43"/>
                    <a:pt x="7" y="44"/>
                    <a:pt x="11" y="48"/>
                  </a:cubicBezTo>
                  <a:cubicBezTo>
                    <a:pt x="11" y="49"/>
                    <a:pt x="11" y="49"/>
                    <a:pt x="11" y="49"/>
                  </a:cubicBezTo>
                  <a:cubicBezTo>
                    <a:pt x="11" y="50"/>
                    <a:pt x="11" y="50"/>
                    <a:pt x="11" y="50"/>
                  </a:cubicBezTo>
                  <a:cubicBezTo>
                    <a:pt x="12" y="51"/>
                    <a:pt x="12" y="51"/>
                    <a:pt x="12" y="51"/>
                  </a:cubicBezTo>
                  <a:cubicBezTo>
                    <a:pt x="12" y="51"/>
                    <a:pt x="13" y="51"/>
                    <a:pt x="13" y="51"/>
                  </a:cubicBezTo>
                  <a:cubicBezTo>
                    <a:pt x="14" y="51"/>
                    <a:pt x="14" y="51"/>
                    <a:pt x="15" y="51"/>
                  </a:cubicBezTo>
                  <a:cubicBezTo>
                    <a:pt x="16" y="51"/>
                    <a:pt x="16" y="51"/>
                    <a:pt x="17" y="51"/>
                  </a:cubicBezTo>
                  <a:cubicBezTo>
                    <a:pt x="17" y="51"/>
                    <a:pt x="17" y="51"/>
                    <a:pt x="18" y="51"/>
                  </a:cubicBezTo>
                  <a:cubicBezTo>
                    <a:pt x="18" y="51"/>
                    <a:pt x="18" y="51"/>
                    <a:pt x="19" y="51"/>
                  </a:cubicBezTo>
                  <a:cubicBezTo>
                    <a:pt x="20" y="52"/>
                    <a:pt x="21" y="52"/>
                    <a:pt x="23" y="53"/>
                  </a:cubicBezTo>
                  <a:cubicBezTo>
                    <a:pt x="25" y="53"/>
                    <a:pt x="27" y="54"/>
                    <a:pt x="29" y="54"/>
                  </a:cubicBezTo>
                  <a:cubicBezTo>
                    <a:pt x="30" y="54"/>
                    <a:pt x="31" y="54"/>
                    <a:pt x="32" y="53"/>
                  </a:cubicBezTo>
                  <a:cubicBezTo>
                    <a:pt x="34" y="52"/>
                    <a:pt x="34" y="49"/>
                    <a:pt x="35" y="43"/>
                  </a:cubicBezTo>
                  <a:cubicBezTo>
                    <a:pt x="36" y="41"/>
                    <a:pt x="36" y="39"/>
                    <a:pt x="36" y="38"/>
                  </a:cubicBezTo>
                  <a:cubicBezTo>
                    <a:pt x="38" y="33"/>
                    <a:pt x="38" y="29"/>
                    <a:pt x="37" y="24"/>
                  </a:cubicBezTo>
                  <a:lnTo>
                    <a:pt x="37" y="23"/>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71" name="Freeform 71">
              <a:extLst>
                <a:ext uri="{FF2B5EF4-FFF2-40B4-BE49-F238E27FC236}">
                  <a16:creationId xmlns:a16="http://schemas.microsoft.com/office/drawing/2014/main" id="{ABD3F7A9-82E8-4FC3-A211-91BD4A1F71A1}"/>
                </a:ext>
              </a:extLst>
            </p:cNvPr>
            <p:cNvSpPr>
              <a:spLocks/>
            </p:cNvSpPr>
            <p:nvPr/>
          </p:nvSpPr>
          <p:spPr bwMode="auto">
            <a:xfrm>
              <a:off x="1016798" y="1820006"/>
              <a:ext cx="44641" cy="23629"/>
            </a:xfrm>
            <a:custGeom>
              <a:avLst/>
              <a:gdLst>
                <a:gd name="T0" fmla="*/ 19 w 22"/>
                <a:gd name="T1" fmla="*/ 0 h 13"/>
                <a:gd name="T2" fmla="*/ 18 w 22"/>
                <a:gd name="T3" fmla="*/ 0 h 13"/>
                <a:gd name="T4" fmla="*/ 13 w 22"/>
                <a:gd name="T5" fmla="*/ 2 h 13"/>
                <a:gd name="T6" fmla="*/ 11 w 22"/>
                <a:gd name="T7" fmla="*/ 4 h 13"/>
                <a:gd name="T8" fmla="*/ 11 w 22"/>
                <a:gd name="T9" fmla="*/ 4 h 13"/>
                <a:gd name="T10" fmla="*/ 9 w 22"/>
                <a:gd name="T11" fmla="*/ 3 h 13"/>
                <a:gd name="T12" fmla="*/ 4 w 22"/>
                <a:gd name="T13" fmla="*/ 0 h 13"/>
                <a:gd name="T14" fmla="*/ 2 w 22"/>
                <a:gd name="T15" fmla="*/ 0 h 13"/>
                <a:gd name="T16" fmla="*/ 0 w 22"/>
                <a:gd name="T17" fmla="*/ 3 h 13"/>
                <a:gd name="T18" fmla="*/ 3 w 22"/>
                <a:gd name="T19" fmla="*/ 12 h 13"/>
                <a:gd name="T20" fmla="*/ 7 w 22"/>
                <a:gd name="T21" fmla="*/ 13 h 13"/>
                <a:gd name="T22" fmla="*/ 14 w 22"/>
                <a:gd name="T23" fmla="*/ 11 h 13"/>
                <a:gd name="T24" fmla="*/ 15 w 22"/>
                <a:gd name="T25" fmla="*/ 10 h 13"/>
                <a:gd name="T26" fmla="*/ 16 w 22"/>
                <a:gd name="T27" fmla="*/ 10 h 13"/>
                <a:gd name="T28" fmla="*/ 20 w 22"/>
                <a:gd name="T29" fmla="*/ 7 h 13"/>
                <a:gd name="T30" fmla="*/ 21 w 22"/>
                <a:gd name="T31" fmla="*/ 2 h 13"/>
                <a:gd name="T32" fmla="*/ 19 w 22"/>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3">
                  <a:moveTo>
                    <a:pt x="19" y="0"/>
                  </a:moveTo>
                  <a:cubicBezTo>
                    <a:pt x="19" y="0"/>
                    <a:pt x="18" y="0"/>
                    <a:pt x="18" y="0"/>
                  </a:cubicBezTo>
                  <a:cubicBezTo>
                    <a:pt x="16" y="0"/>
                    <a:pt x="14" y="1"/>
                    <a:pt x="13" y="2"/>
                  </a:cubicBezTo>
                  <a:cubicBezTo>
                    <a:pt x="13" y="3"/>
                    <a:pt x="12" y="4"/>
                    <a:pt x="11" y="4"/>
                  </a:cubicBezTo>
                  <a:cubicBezTo>
                    <a:pt x="11" y="4"/>
                    <a:pt x="11" y="4"/>
                    <a:pt x="11" y="4"/>
                  </a:cubicBezTo>
                  <a:cubicBezTo>
                    <a:pt x="10" y="4"/>
                    <a:pt x="10" y="3"/>
                    <a:pt x="9" y="3"/>
                  </a:cubicBezTo>
                  <a:cubicBezTo>
                    <a:pt x="8" y="1"/>
                    <a:pt x="6" y="0"/>
                    <a:pt x="4" y="0"/>
                  </a:cubicBezTo>
                  <a:cubicBezTo>
                    <a:pt x="3" y="0"/>
                    <a:pt x="3" y="0"/>
                    <a:pt x="2" y="0"/>
                  </a:cubicBezTo>
                  <a:cubicBezTo>
                    <a:pt x="1" y="1"/>
                    <a:pt x="0" y="2"/>
                    <a:pt x="0" y="3"/>
                  </a:cubicBezTo>
                  <a:cubicBezTo>
                    <a:pt x="0" y="6"/>
                    <a:pt x="2" y="11"/>
                    <a:pt x="3" y="12"/>
                  </a:cubicBezTo>
                  <a:cubicBezTo>
                    <a:pt x="4" y="13"/>
                    <a:pt x="6" y="13"/>
                    <a:pt x="7" y="13"/>
                  </a:cubicBezTo>
                  <a:cubicBezTo>
                    <a:pt x="9" y="13"/>
                    <a:pt x="12" y="12"/>
                    <a:pt x="14" y="11"/>
                  </a:cubicBezTo>
                  <a:cubicBezTo>
                    <a:pt x="14" y="11"/>
                    <a:pt x="15" y="10"/>
                    <a:pt x="15" y="10"/>
                  </a:cubicBezTo>
                  <a:cubicBezTo>
                    <a:pt x="16" y="10"/>
                    <a:pt x="16" y="10"/>
                    <a:pt x="16" y="10"/>
                  </a:cubicBezTo>
                  <a:cubicBezTo>
                    <a:pt x="17" y="9"/>
                    <a:pt x="18" y="9"/>
                    <a:pt x="20" y="7"/>
                  </a:cubicBezTo>
                  <a:cubicBezTo>
                    <a:pt x="21" y="5"/>
                    <a:pt x="22" y="4"/>
                    <a:pt x="21" y="2"/>
                  </a:cubicBezTo>
                  <a:cubicBezTo>
                    <a:pt x="21" y="1"/>
                    <a:pt x="20" y="0"/>
                    <a:pt x="19" y="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72" name="Freeform 72">
              <a:extLst>
                <a:ext uri="{FF2B5EF4-FFF2-40B4-BE49-F238E27FC236}">
                  <a16:creationId xmlns:a16="http://schemas.microsoft.com/office/drawing/2014/main" id="{75961776-22FF-45FE-907C-B419C25CF1F0}"/>
                </a:ext>
              </a:extLst>
            </p:cNvPr>
            <p:cNvSpPr>
              <a:spLocks/>
            </p:cNvSpPr>
            <p:nvPr/>
          </p:nvSpPr>
          <p:spPr bwMode="auto">
            <a:xfrm>
              <a:off x="1003406" y="1739873"/>
              <a:ext cx="175215" cy="101708"/>
            </a:xfrm>
            <a:custGeom>
              <a:avLst/>
              <a:gdLst>
                <a:gd name="T0" fmla="*/ 86 w 87"/>
                <a:gd name="T1" fmla="*/ 11 h 55"/>
                <a:gd name="T2" fmla="*/ 86 w 87"/>
                <a:gd name="T3" fmla="*/ 2 h 55"/>
                <a:gd name="T4" fmla="*/ 84 w 87"/>
                <a:gd name="T5" fmla="*/ 0 h 55"/>
                <a:gd name="T6" fmla="*/ 63 w 87"/>
                <a:gd name="T7" fmla="*/ 0 h 55"/>
                <a:gd name="T8" fmla="*/ 41 w 87"/>
                <a:gd name="T9" fmla="*/ 0 h 55"/>
                <a:gd name="T10" fmla="*/ 33 w 87"/>
                <a:gd name="T11" fmla="*/ 6 h 55"/>
                <a:gd name="T12" fmla="*/ 21 w 87"/>
                <a:gd name="T13" fmla="*/ 7 h 55"/>
                <a:gd name="T14" fmla="*/ 12 w 87"/>
                <a:gd name="T15" fmla="*/ 7 h 55"/>
                <a:gd name="T16" fmla="*/ 1 w 87"/>
                <a:gd name="T17" fmla="*/ 11 h 55"/>
                <a:gd name="T18" fmla="*/ 1 w 87"/>
                <a:gd name="T19" fmla="*/ 15 h 55"/>
                <a:gd name="T20" fmla="*/ 6 w 87"/>
                <a:gd name="T21" fmla="*/ 18 h 55"/>
                <a:gd name="T22" fmla="*/ 12 w 87"/>
                <a:gd name="T23" fmla="*/ 26 h 55"/>
                <a:gd name="T24" fmla="*/ 16 w 87"/>
                <a:gd name="T25" fmla="*/ 30 h 55"/>
                <a:gd name="T26" fmla="*/ 19 w 87"/>
                <a:gd name="T27" fmla="*/ 36 h 55"/>
                <a:gd name="T28" fmla="*/ 18 w 87"/>
                <a:gd name="T29" fmla="*/ 36 h 55"/>
                <a:gd name="T30" fmla="*/ 18 w 87"/>
                <a:gd name="T31" fmla="*/ 41 h 55"/>
                <a:gd name="T32" fmla="*/ 22 w 87"/>
                <a:gd name="T33" fmla="*/ 42 h 55"/>
                <a:gd name="T34" fmla="*/ 22 w 87"/>
                <a:gd name="T35" fmla="*/ 35 h 55"/>
                <a:gd name="T36" fmla="*/ 27 w 87"/>
                <a:gd name="T37" fmla="*/ 30 h 55"/>
                <a:gd name="T38" fmla="*/ 30 w 87"/>
                <a:gd name="T39" fmla="*/ 28 h 55"/>
                <a:gd name="T40" fmla="*/ 31 w 87"/>
                <a:gd name="T41" fmla="*/ 28 h 55"/>
                <a:gd name="T42" fmla="*/ 31 w 87"/>
                <a:gd name="T43" fmla="*/ 34 h 55"/>
                <a:gd name="T44" fmla="*/ 32 w 87"/>
                <a:gd name="T45" fmla="*/ 37 h 55"/>
                <a:gd name="T46" fmla="*/ 32 w 87"/>
                <a:gd name="T47" fmla="*/ 41 h 55"/>
                <a:gd name="T48" fmla="*/ 36 w 87"/>
                <a:gd name="T49" fmla="*/ 48 h 55"/>
                <a:gd name="T50" fmla="*/ 39 w 87"/>
                <a:gd name="T51" fmla="*/ 52 h 55"/>
                <a:gd name="T52" fmla="*/ 42 w 87"/>
                <a:gd name="T53" fmla="*/ 53 h 55"/>
                <a:gd name="T54" fmla="*/ 45 w 87"/>
                <a:gd name="T55" fmla="*/ 55 h 55"/>
                <a:gd name="T56" fmla="*/ 50 w 87"/>
                <a:gd name="T57" fmla="*/ 49 h 55"/>
                <a:gd name="T58" fmla="*/ 55 w 87"/>
                <a:gd name="T59" fmla="*/ 42 h 55"/>
                <a:gd name="T60" fmla="*/ 66 w 87"/>
                <a:gd name="T61" fmla="*/ 36 h 55"/>
                <a:gd name="T62" fmla="*/ 75 w 87"/>
                <a:gd name="T63" fmla="*/ 34 h 55"/>
                <a:gd name="T64" fmla="*/ 84 w 87"/>
                <a:gd name="T65" fmla="*/ 21 h 55"/>
                <a:gd name="T66" fmla="*/ 79 w 87"/>
                <a:gd name="T67"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 h="55">
                  <a:moveTo>
                    <a:pt x="82" y="14"/>
                  </a:moveTo>
                  <a:cubicBezTo>
                    <a:pt x="84" y="13"/>
                    <a:pt x="86" y="13"/>
                    <a:pt x="86" y="11"/>
                  </a:cubicBezTo>
                  <a:cubicBezTo>
                    <a:pt x="87" y="9"/>
                    <a:pt x="87" y="6"/>
                    <a:pt x="86" y="4"/>
                  </a:cubicBezTo>
                  <a:cubicBezTo>
                    <a:pt x="86" y="3"/>
                    <a:pt x="86" y="3"/>
                    <a:pt x="86" y="2"/>
                  </a:cubicBezTo>
                  <a:cubicBezTo>
                    <a:pt x="86" y="0"/>
                    <a:pt x="86" y="0"/>
                    <a:pt x="86" y="0"/>
                  </a:cubicBezTo>
                  <a:cubicBezTo>
                    <a:pt x="84" y="0"/>
                    <a:pt x="84" y="0"/>
                    <a:pt x="84" y="0"/>
                  </a:cubicBezTo>
                  <a:cubicBezTo>
                    <a:pt x="81" y="0"/>
                    <a:pt x="77" y="0"/>
                    <a:pt x="74" y="0"/>
                  </a:cubicBezTo>
                  <a:cubicBezTo>
                    <a:pt x="70" y="0"/>
                    <a:pt x="67" y="0"/>
                    <a:pt x="63" y="0"/>
                  </a:cubicBezTo>
                  <a:cubicBezTo>
                    <a:pt x="58" y="0"/>
                    <a:pt x="54" y="0"/>
                    <a:pt x="49" y="0"/>
                  </a:cubicBezTo>
                  <a:cubicBezTo>
                    <a:pt x="41" y="0"/>
                    <a:pt x="41" y="0"/>
                    <a:pt x="41" y="0"/>
                  </a:cubicBezTo>
                  <a:cubicBezTo>
                    <a:pt x="40" y="1"/>
                    <a:pt x="40" y="1"/>
                    <a:pt x="40" y="1"/>
                  </a:cubicBezTo>
                  <a:cubicBezTo>
                    <a:pt x="38" y="3"/>
                    <a:pt x="35" y="5"/>
                    <a:pt x="33" y="6"/>
                  </a:cubicBezTo>
                  <a:cubicBezTo>
                    <a:pt x="31" y="7"/>
                    <a:pt x="29" y="7"/>
                    <a:pt x="26" y="7"/>
                  </a:cubicBezTo>
                  <a:cubicBezTo>
                    <a:pt x="25" y="7"/>
                    <a:pt x="23" y="7"/>
                    <a:pt x="21" y="7"/>
                  </a:cubicBezTo>
                  <a:cubicBezTo>
                    <a:pt x="20" y="7"/>
                    <a:pt x="18" y="7"/>
                    <a:pt x="16" y="7"/>
                  </a:cubicBezTo>
                  <a:cubicBezTo>
                    <a:pt x="15" y="7"/>
                    <a:pt x="14" y="7"/>
                    <a:pt x="12" y="7"/>
                  </a:cubicBezTo>
                  <a:cubicBezTo>
                    <a:pt x="9" y="8"/>
                    <a:pt x="6" y="8"/>
                    <a:pt x="3" y="10"/>
                  </a:cubicBezTo>
                  <a:cubicBezTo>
                    <a:pt x="3" y="10"/>
                    <a:pt x="2" y="11"/>
                    <a:pt x="1" y="11"/>
                  </a:cubicBezTo>
                  <a:cubicBezTo>
                    <a:pt x="0" y="13"/>
                    <a:pt x="0" y="13"/>
                    <a:pt x="0" y="13"/>
                  </a:cubicBezTo>
                  <a:cubicBezTo>
                    <a:pt x="1" y="15"/>
                    <a:pt x="1" y="15"/>
                    <a:pt x="1" y="15"/>
                  </a:cubicBezTo>
                  <a:cubicBezTo>
                    <a:pt x="2" y="16"/>
                    <a:pt x="4" y="17"/>
                    <a:pt x="6" y="18"/>
                  </a:cubicBezTo>
                  <a:cubicBezTo>
                    <a:pt x="6" y="18"/>
                    <a:pt x="6" y="18"/>
                    <a:pt x="6" y="18"/>
                  </a:cubicBezTo>
                  <a:cubicBezTo>
                    <a:pt x="6" y="19"/>
                    <a:pt x="6" y="20"/>
                    <a:pt x="7" y="22"/>
                  </a:cubicBezTo>
                  <a:cubicBezTo>
                    <a:pt x="8" y="24"/>
                    <a:pt x="10" y="25"/>
                    <a:pt x="12" y="26"/>
                  </a:cubicBezTo>
                  <a:cubicBezTo>
                    <a:pt x="12" y="27"/>
                    <a:pt x="13" y="28"/>
                    <a:pt x="13" y="29"/>
                  </a:cubicBezTo>
                  <a:cubicBezTo>
                    <a:pt x="14" y="30"/>
                    <a:pt x="15" y="30"/>
                    <a:pt x="16" y="30"/>
                  </a:cubicBezTo>
                  <a:cubicBezTo>
                    <a:pt x="16" y="32"/>
                    <a:pt x="16" y="35"/>
                    <a:pt x="19" y="35"/>
                  </a:cubicBezTo>
                  <a:cubicBezTo>
                    <a:pt x="19" y="36"/>
                    <a:pt x="19" y="35"/>
                    <a:pt x="19" y="36"/>
                  </a:cubicBezTo>
                  <a:cubicBezTo>
                    <a:pt x="19" y="36"/>
                    <a:pt x="19" y="36"/>
                    <a:pt x="19" y="36"/>
                  </a:cubicBezTo>
                  <a:cubicBezTo>
                    <a:pt x="19" y="36"/>
                    <a:pt x="19" y="36"/>
                    <a:pt x="18" y="36"/>
                  </a:cubicBezTo>
                  <a:cubicBezTo>
                    <a:pt x="16" y="36"/>
                    <a:pt x="15" y="41"/>
                    <a:pt x="18" y="41"/>
                  </a:cubicBezTo>
                  <a:cubicBezTo>
                    <a:pt x="18" y="41"/>
                    <a:pt x="18" y="41"/>
                    <a:pt x="18" y="41"/>
                  </a:cubicBezTo>
                  <a:cubicBezTo>
                    <a:pt x="18" y="43"/>
                    <a:pt x="18" y="43"/>
                    <a:pt x="18" y="43"/>
                  </a:cubicBezTo>
                  <a:cubicBezTo>
                    <a:pt x="20" y="43"/>
                    <a:pt x="21" y="43"/>
                    <a:pt x="22" y="42"/>
                  </a:cubicBezTo>
                  <a:cubicBezTo>
                    <a:pt x="23" y="41"/>
                    <a:pt x="23" y="39"/>
                    <a:pt x="23" y="38"/>
                  </a:cubicBezTo>
                  <a:cubicBezTo>
                    <a:pt x="23" y="37"/>
                    <a:pt x="23" y="36"/>
                    <a:pt x="22" y="35"/>
                  </a:cubicBezTo>
                  <a:cubicBezTo>
                    <a:pt x="23" y="34"/>
                    <a:pt x="24" y="32"/>
                    <a:pt x="24" y="31"/>
                  </a:cubicBezTo>
                  <a:cubicBezTo>
                    <a:pt x="25" y="31"/>
                    <a:pt x="26" y="30"/>
                    <a:pt x="27" y="30"/>
                  </a:cubicBezTo>
                  <a:cubicBezTo>
                    <a:pt x="27" y="29"/>
                    <a:pt x="28" y="29"/>
                    <a:pt x="28" y="28"/>
                  </a:cubicBezTo>
                  <a:cubicBezTo>
                    <a:pt x="29" y="28"/>
                    <a:pt x="29" y="28"/>
                    <a:pt x="30" y="28"/>
                  </a:cubicBezTo>
                  <a:cubicBezTo>
                    <a:pt x="30" y="28"/>
                    <a:pt x="30" y="28"/>
                    <a:pt x="30" y="28"/>
                  </a:cubicBezTo>
                  <a:cubicBezTo>
                    <a:pt x="30" y="28"/>
                    <a:pt x="31" y="28"/>
                    <a:pt x="31" y="28"/>
                  </a:cubicBezTo>
                  <a:cubicBezTo>
                    <a:pt x="31" y="29"/>
                    <a:pt x="30" y="29"/>
                    <a:pt x="30" y="30"/>
                  </a:cubicBezTo>
                  <a:cubicBezTo>
                    <a:pt x="30" y="31"/>
                    <a:pt x="29" y="32"/>
                    <a:pt x="31" y="34"/>
                  </a:cubicBezTo>
                  <a:cubicBezTo>
                    <a:pt x="31" y="35"/>
                    <a:pt x="32" y="36"/>
                    <a:pt x="33" y="36"/>
                  </a:cubicBezTo>
                  <a:cubicBezTo>
                    <a:pt x="32" y="36"/>
                    <a:pt x="32" y="36"/>
                    <a:pt x="32" y="37"/>
                  </a:cubicBezTo>
                  <a:cubicBezTo>
                    <a:pt x="32" y="37"/>
                    <a:pt x="31" y="38"/>
                    <a:pt x="31" y="40"/>
                  </a:cubicBezTo>
                  <a:cubicBezTo>
                    <a:pt x="31" y="40"/>
                    <a:pt x="32" y="41"/>
                    <a:pt x="32" y="41"/>
                  </a:cubicBezTo>
                  <a:cubicBezTo>
                    <a:pt x="32" y="42"/>
                    <a:pt x="32" y="42"/>
                    <a:pt x="32" y="42"/>
                  </a:cubicBezTo>
                  <a:cubicBezTo>
                    <a:pt x="31" y="46"/>
                    <a:pt x="34" y="47"/>
                    <a:pt x="36" y="48"/>
                  </a:cubicBezTo>
                  <a:cubicBezTo>
                    <a:pt x="37" y="49"/>
                    <a:pt x="37" y="49"/>
                    <a:pt x="37" y="49"/>
                  </a:cubicBezTo>
                  <a:cubicBezTo>
                    <a:pt x="38" y="49"/>
                    <a:pt x="39" y="50"/>
                    <a:pt x="39" y="52"/>
                  </a:cubicBezTo>
                  <a:cubicBezTo>
                    <a:pt x="40" y="53"/>
                    <a:pt x="40" y="53"/>
                    <a:pt x="40" y="53"/>
                  </a:cubicBezTo>
                  <a:cubicBezTo>
                    <a:pt x="42" y="53"/>
                    <a:pt x="42" y="53"/>
                    <a:pt x="42" y="53"/>
                  </a:cubicBezTo>
                  <a:cubicBezTo>
                    <a:pt x="42" y="53"/>
                    <a:pt x="42" y="53"/>
                    <a:pt x="44" y="54"/>
                  </a:cubicBezTo>
                  <a:cubicBezTo>
                    <a:pt x="45" y="55"/>
                    <a:pt x="45" y="55"/>
                    <a:pt x="45" y="55"/>
                  </a:cubicBezTo>
                  <a:cubicBezTo>
                    <a:pt x="46" y="54"/>
                    <a:pt x="46" y="54"/>
                    <a:pt x="46" y="54"/>
                  </a:cubicBezTo>
                  <a:cubicBezTo>
                    <a:pt x="48" y="53"/>
                    <a:pt x="49" y="51"/>
                    <a:pt x="50" y="49"/>
                  </a:cubicBezTo>
                  <a:cubicBezTo>
                    <a:pt x="51" y="49"/>
                    <a:pt x="51" y="48"/>
                    <a:pt x="52" y="46"/>
                  </a:cubicBezTo>
                  <a:cubicBezTo>
                    <a:pt x="53" y="45"/>
                    <a:pt x="53" y="43"/>
                    <a:pt x="55" y="42"/>
                  </a:cubicBezTo>
                  <a:cubicBezTo>
                    <a:pt x="57" y="40"/>
                    <a:pt x="59" y="39"/>
                    <a:pt x="61" y="38"/>
                  </a:cubicBezTo>
                  <a:cubicBezTo>
                    <a:pt x="63" y="37"/>
                    <a:pt x="65" y="37"/>
                    <a:pt x="66" y="36"/>
                  </a:cubicBezTo>
                  <a:cubicBezTo>
                    <a:pt x="67" y="35"/>
                    <a:pt x="68" y="35"/>
                    <a:pt x="69" y="35"/>
                  </a:cubicBezTo>
                  <a:cubicBezTo>
                    <a:pt x="70" y="34"/>
                    <a:pt x="73" y="34"/>
                    <a:pt x="75" y="34"/>
                  </a:cubicBezTo>
                  <a:cubicBezTo>
                    <a:pt x="79" y="33"/>
                    <a:pt x="84" y="33"/>
                    <a:pt x="85" y="30"/>
                  </a:cubicBezTo>
                  <a:cubicBezTo>
                    <a:pt x="86" y="27"/>
                    <a:pt x="86" y="23"/>
                    <a:pt x="84" y="21"/>
                  </a:cubicBezTo>
                  <a:cubicBezTo>
                    <a:pt x="83" y="21"/>
                    <a:pt x="82" y="20"/>
                    <a:pt x="81" y="20"/>
                  </a:cubicBezTo>
                  <a:cubicBezTo>
                    <a:pt x="79" y="19"/>
                    <a:pt x="78" y="18"/>
                    <a:pt x="79" y="16"/>
                  </a:cubicBezTo>
                  <a:cubicBezTo>
                    <a:pt x="79" y="15"/>
                    <a:pt x="80" y="14"/>
                    <a:pt x="82" y="14"/>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73" name="Freeform 73">
              <a:extLst>
                <a:ext uri="{FF2B5EF4-FFF2-40B4-BE49-F238E27FC236}">
                  <a16:creationId xmlns:a16="http://schemas.microsoft.com/office/drawing/2014/main" id="{99C92038-37C8-49C0-8FF6-D6FA007119C5}"/>
                </a:ext>
              </a:extLst>
            </p:cNvPr>
            <p:cNvSpPr>
              <a:spLocks/>
            </p:cNvSpPr>
            <p:nvPr/>
          </p:nvSpPr>
          <p:spPr bwMode="auto">
            <a:xfrm>
              <a:off x="988898" y="1668986"/>
              <a:ext cx="186376" cy="51368"/>
            </a:xfrm>
            <a:custGeom>
              <a:avLst/>
              <a:gdLst>
                <a:gd name="T0" fmla="*/ 91 w 92"/>
                <a:gd name="T1" fmla="*/ 10 h 28"/>
                <a:gd name="T2" fmla="*/ 89 w 92"/>
                <a:gd name="T3" fmla="*/ 9 h 28"/>
                <a:gd name="T4" fmla="*/ 86 w 92"/>
                <a:gd name="T5" fmla="*/ 8 h 28"/>
                <a:gd name="T6" fmla="*/ 83 w 92"/>
                <a:gd name="T7" fmla="*/ 8 h 28"/>
                <a:gd name="T8" fmla="*/ 81 w 92"/>
                <a:gd name="T9" fmla="*/ 9 h 28"/>
                <a:gd name="T10" fmla="*/ 75 w 92"/>
                <a:gd name="T11" fmla="*/ 12 h 28"/>
                <a:gd name="T12" fmla="*/ 74 w 92"/>
                <a:gd name="T13" fmla="*/ 12 h 28"/>
                <a:gd name="T14" fmla="*/ 74 w 92"/>
                <a:gd name="T15" fmla="*/ 9 h 28"/>
                <a:gd name="T16" fmla="*/ 73 w 92"/>
                <a:gd name="T17" fmla="*/ 7 h 28"/>
                <a:gd name="T18" fmla="*/ 70 w 92"/>
                <a:gd name="T19" fmla="*/ 4 h 28"/>
                <a:gd name="T20" fmla="*/ 69 w 92"/>
                <a:gd name="T21" fmla="*/ 4 h 28"/>
                <a:gd name="T22" fmla="*/ 66 w 92"/>
                <a:gd name="T23" fmla="*/ 5 h 28"/>
                <a:gd name="T24" fmla="*/ 64 w 92"/>
                <a:gd name="T25" fmla="*/ 6 h 28"/>
                <a:gd name="T26" fmla="*/ 62 w 92"/>
                <a:gd name="T27" fmla="*/ 4 h 28"/>
                <a:gd name="T28" fmla="*/ 55 w 92"/>
                <a:gd name="T29" fmla="*/ 0 h 28"/>
                <a:gd name="T30" fmla="*/ 53 w 92"/>
                <a:gd name="T31" fmla="*/ 0 h 28"/>
                <a:gd name="T32" fmla="*/ 44 w 92"/>
                <a:gd name="T33" fmla="*/ 3 h 28"/>
                <a:gd name="T34" fmla="*/ 30 w 92"/>
                <a:gd name="T35" fmla="*/ 7 h 28"/>
                <a:gd name="T36" fmla="*/ 25 w 92"/>
                <a:gd name="T37" fmla="*/ 6 h 28"/>
                <a:gd name="T38" fmla="*/ 10 w 92"/>
                <a:gd name="T39" fmla="*/ 5 h 28"/>
                <a:gd name="T40" fmla="*/ 7 w 92"/>
                <a:gd name="T41" fmla="*/ 5 h 28"/>
                <a:gd name="T42" fmla="*/ 5 w 92"/>
                <a:gd name="T43" fmla="*/ 5 h 28"/>
                <a:gd name="T44" fmla="*/ 5 w 92"/>
                <a:gd name="T45" fmla="*/ 8 h 28"/>
                <a:gd name="T46" fmla="*/ 4 w 92"/>
                <a:gd name="T47" fmla="*/ 7 h 28"/>
                <a:gd name="T48" fmla="*/ 4 w 92"/>
                <a:gd name="T49" fmla="*/ 8 h 28"/>
                <a:gd name="T50" fmla="*/ 1 w 92"/>
                <a:gd name="T51" fmla="*/ 18 h 28"/>
                <a:gd name="T52" fmla="*/ 1 w 92"/>
                <a:gd name="T53" fmla="*/ 20 h 28"/>
                <a:gd name="T54" fmla="*/ 2 w 92"/>
                <a:gd name="T55" fmla="*/ 22 h 28"/>
                <a:gd name="T56" fmla="*/ 2 w 92"/>
                <a:gd name="T57" fmla="*/ 24 h 28"/>
                <a:gd name="T58" fmla="*/ 2 w 92"/>
                <a:gd name="T59" fmla="*/ 28 h 28"/>
                <a:gd name="T60" fmla="*/ 4 w 92"/>
                <a:gd name="T61" fmla="*/ 28 h 28"/>
                <a:gd name="T62" fmla="*/ 5 w 92"/>
                <a:gd name="T63" fmla="*/ 27 h 28"/>
                <a:gd name="T64" fmla="*/ 6 w 92"/>
                <a:gd name="T65" fmla="*/ 27 h 28"/>
                <a:gd name="T66" fmla="*/ 6 w 92"/>
                <a:gd name="T67" fmla="*/ 26 h 28"/>
                <a:gd name="T68" fmla="*/ 7 w 92"/>
                <a:gd name="T69" fmla="*/ 25 h 28"/>
                <a:gd name="T70" fmla="*/ 10 w 92"/>
                <a:gd name="T71" fmla="*/ 24 h 28"/>
                <a:gd name="T72" fmla="*/ 13 w 92"/>
                <a:gd name="T73" fmla="*/ 24 h 28"/>
                <a:gd name="T74" fmla="*/ 14 w 92"/>
                <a:gd name="T75" fmla="*/ 24 h 28"/>
                <a:gd name="T76" fmla="*/ 18 w 92"/>
                <a:gd name="T77" fmla="*/ 25 h 28"/>
                <a:gd name="T78" fmla="*/ 29 w 92"/>
                <a:gd name="T79" fmla="*/ 24 h 28"/>
                <a:gd name="T80" fmla="*/ 33 w 92"/>
                <a:gd name="T81" fmla="*/ 21 h 28"/>
                <a:gd name="T82" fmla="*/ 34 w 92"/>
                <a:gd name="T83" fmla="*/ 19 h 28"/>
                <a:gd name="T84" fmla="*/ 39 w 92"/>
                <a:gd name="T85" fmla="*/ 18 h 28"/>
                <a:gd name="T86" fmla="*/ 48 w 92"/>
                <a:gd name="T87" fmla="*/ 16 h 28"/>
                <a:gd name="T88" fmla="*/ 50 w 92"/>
                <a:gd name="T89" fmla="*/ 13 h 28"/>
                <a:gd name="T90" fmla="*/ 51 w 92"/>
                <a:gd name="T91" fmla="*/ 11 h 28"/>
                <a:gd name="T92" fmla="*/ 53 w 92"/>
                <a:gd name="T93" fmla="*/ 10 h 28"/>
                <a:gd name="T94" fmla="*/ 55 w 92"/>
                <a:gd name="T95" fmla="*/ 12 h 28"/>
                <a:gd name="T96" fmla="*/ 56 w 92"/>
                <a:gd name="T97" fmla="*/ 13 h 28"/>
                <a:gd name="T98" fmla="*/ 60 w 92"/>
                <a:gd name="T99" fmla="*/ 14 h 28"/>
                <a:gd name="T100" fmla="*/ 62 w 92"/>
                <a:gd name="T101" fmla="*/ 15 h 28"/>
                <a:gd name="T102" fmla="*/ 66 w 92"/>
                <a:gd name="T103" fmla="*/ 16 h 28"/>
                <a:gd name="T104" fmla="*/ 69 w 92"/>
                <a:gd name="T105" fmla="*/ 17 h 28"/>
                <a:gd name="T106" fmla="*/ 71 w 92"/>
                <a:gd name="T107" fmla="*/ 19 h 28"/>
                <a:gd name="T108" fmla="*/ 75 w 92"/>
                <a:gd name="T109" fmla="*/ 21 h 28"/>
                <a:gd name="T110" fmla="*/ 77 w 92"/>
                <a:gd name="T111" fmla="*/ 21 h 28"/>
                <a:gd name="T112" fmla="*/ 82 w 92"/>
                <a:gd name="T113" fmla="*/ 20 h 28"/>
                <a:gd name="T114" fmla="*/ 86 w 92"/>
                <a:gd name="T115" fmla="*/ 18 h 28"/>
                <a:gd name="T116" fmla="*/ 92 w 92"/>
                <a:gd name="T117" fmla="*/ 12 h 28"/>
                <a:gd name="T118" fmla="*/ 92 w 92"/>
                <a:gd name="T119" fmla="*/ 11 h 28"/>
                <a:gd name="T120" fmla="*/ 91 w 92"/>
                <a:gd name="T121"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 h="28">
                  <a:moveTo>
                    <a:pt x="91" y="10"/>
                  </a:moveTo>
                  <a:cubicBezTo>
                    <a:pt x="90" y="10"/>
                    <a:pt x="90" y="10"/>
                    <a:pt x="89" y="9"/>
                  </a:cubicBezTo>
                  <a:cubicBezTo>
                    <a:pt x="88" y="8"/>
                    <a:pt x="87" y="8"/>
                    <a:pt x="86" y="8"/>
                  </a:cubicBezTo>
                  <a:cubicBezTo>
                    <a:pt x="85" y="8"/>
                    <a:pt x="84" y="8"/>
                    <a:pt x="83" y="8"/>
                  </a:cubicBezTo>
                  <a:cubicBezTo>
                    <a:pt x="83" y="9"/>
                    <a:pt x="82" y="9"/>
                    <a:pt x="81" y="9"/>
                  </a:cubicBezTo>
                  <a:cubicBezTo>
                    <a:pt x="79" y="11"/>
                    <a:pt x="77" y="12"/>
                    <a:pt x="75" y="12"/>
                  </a:cubicBezTo>
                  <a:cubicBezTo>
                    <a:pt x="75" y="12"/>
                    <a:pt x="75" y="12"/>
                    <a:pt x="74" y="12"/>
                  </a:cubicBezTo>
                  <a:cubicBezTo>
                    <a:pt x="74" y="11"/>
                    <a:pt x="74" y="10"/>
                    <a:pt x="74" y="9"/>
                  </a:cubicBezTo>
                  <a:cubicBezTo>
                    <a:pt x="74" y="8"/>
                    <a:pt x="74" y="8"/>
                    <a:pt x="73" y="7"/>
                  </a:cubicBezTo>
                  <a:cubicBezTo>
                    <a:pt x="73" y="6"/>
                    <a:pt x="72" y="5"/>
                    <a:pt x="70" y="4"/>
                  </a:cubicBezTo>
                  <a:cubicBezTo>
                    <a:pt x="70" y="4"/>
                    <a:pt x="69" y="4"/>
                    <a:pt x="69" y="4"/>
                  </a:cubicBezTo>
                  <a:cubicBezTo>
                    <a:pt x="68" y="4"/>
                    <a:pt x="67" y="5"/>
                    <a:pt x="66" y="5"/>
                  </a:cubicBezTo>
                  <a:cubicBezTo>
                    <a:pt x="66" y="5"/>
                    <a:pt x="65" y="6"/>
                    <a:pt x="64" y="6"/>
                  </a:cubicBezTo>
                  <a:cubicBezTo>
                    <a:pt x="64" y="6"/>
                    <a:pt x="63" y="6"/>
                    <a:pt x="62" y="4"/>
                  </a:cubicBezTo>
                  <a:cubicBezTo>
                    <a:pt x="60" y="1"/>
                    <a:pt x="59" y="0"/>
                    <a:pt x="55" y="0"/>
                  </a:cubicBezTo>
                  <a:cubicBezTo>
                    <a:pt x="54" y="0"/>
                    <a:pt x="53" y="0"/>
                    <a:pt x="53" y="0"/>
                  </a:cubicBezTo>
                  <a:cubicBezTo>
                    <a:pt x="49" y="0"/>
                    <a:pt x="47" y="1"/>
                    <a:pt x="44" y="3"/>
                  </a:cubicBezTo>
                  <a:cubicBezTo>
                    <a:pt x="40" y="5"/>
                    <a:pt x="35" y="7"/>
                    <a:pt x="30" y="7"/>
                  </a:cubicBezTo>
                  <a:cubicBezTo>
                    <a:pt x="29" y="7"/>
                    <a:pt x="27" y="7"/>
                    <a:pt x="25" y="6"/>
                  </a:cubicBezTo>
                  <a:cubicBezTo>
                    <a:pt x="22" y="6"/>
                    <a:pt x="16" y="5"/>
                    <a:pt x="10" y="5"/>
                  </a:cubicBezTo>
                  <a:cubicBezTo>
                    <a:pt x="9" y="5"/>
                    <a:pt x="8" y="5"/>
                    <a:pt x="7" y="5"/>
                  </a:cubicBezTo>
                  <a:cubicBezTo>
                    <a:pt x="5" y="5"/>
                    <a:pt x="5" y="5"/>
                    <a:pt x="5" y="5"/>
                  </a:cubicBezTo>
                  <a:cubicBezTo>
                    <a:pt x="5" y="5"/>
                    <a:pt x="5" y="8"/>
                    <a:pt x="5" y="8"/>
                  </a:cubicBezTo>
                  <a:cubicBezTo>
                    <a:pt x="4" y="7"/>
                    <a:pt x="4" y="7"/>
                    <a:pt x="4" y="7"/>
                  </a:cubicBezTo>
                  <a:cubicBezTo>
                    <a:pt x="4" y="8"/>
                    <a:pt x="4" y="8"/>
                    <a:pt x="4" y="8"/>
                  </a:cubicBezTo>
                  <a:cubicBezTo>
                    <a:pt x="2" y="11"/>
                    <a:pt x="0" y="14"/>
                    <a:pt x="1" y="18"/>
                  </a:cubicBezTo>
                  <a:cubicBezTo>
                    <a:pt x="1" y="19"/>
                    <a:pt x="1" y="19"/>
                    <a:pt x="1" y="20"/>
                  </a:cubicBezTo>
                  <a:cubicBezTo>
                    <a:pt x="1" y="21"/>
                    <a:pt x="2" y="21"/>
                    <a:pt x="2" y="22"/>
                  </a:cubicBezTo>
                  <a:cubicBezTo>
                    <a:pt x="2" y="22"/>
                    <a:pt x="2" y="23"/>
                    <a:pt x="2" y="24"/>
                  </a:cubicBezTo>
                  <a:cubicBezTo>
                    <a:pt x="2" y="28"/>
                    <a:pt x="2" y="28"/>
                    <a:pt x="2" y="28"/>
                  </a:cubicBezTo>
                  <a:cubicBezTo>
                    <a:pt x="4" y="28"/>
                    <a:pt x="4" y="28"/>
                    <a:pt x="4" y="28"/>
                  </a:cubicBezTo>
                  <a:cubicBezTo>
                    <a:pt x="5" y="27"/>
                    <a:pt x="5" y="27"/>
                    <a:pt x="5" y="27"/>
                  </a:cubicBezTo>
                  <a:cubicBezTo>
                    <a:pt x="6" y="27"/>
                    <a:pt x="6" y="27"/>
                    <a:pt x="6" y="27"/>
                  </a:cubicBezTo>
                  <a:cubicBezTo>
                    <a:pt x="6" y="26"/>
                    <a:pt x="6" y="26"/>
                    <a:pt x="6" y="26"/>
                  </a:cubicBezTo>
                  <a:cubicBezTo>
                    <a:pt x="6" y="26"/>
                    <a:pt x="6" y="26"/>
                    <a:pt x="7" y="25"/>
                  </a:cubicBezTo>
                  <a:cubicBezTo>
                    <a:pt x="8" y="24"/>
                    <a:pt x="9" y="24"/>
                    <a:pt x="10" y="24"/>
                  </a:cubicBezTo>
                  <a:cubicBezTo>
                    <a:pt x="11" y="24"/>
                    <a:pt x="12" y="24"/>
                    <a:pt x="13" y="24"/>
                  </a:cubicBezTo>
                  <a:cubicBezTo>
                    <a:pt x="13" y="24"/>
                    <a:pt x="13" y="24"/>
                    <a:pt x="14" y="24"/>
                  </a:cubicBezTo>
                  <a:cubicBezTo>
                    <a:pt x="15" y="24"/>
                    <a:pt x="17" y="25"/>
                    <a:pt x="18" y="25"/>
                  </a:cubicBezTo>
                  <a:cubicBezTo>
                    <a:pt x="21" y="25"/>
                    <a:pt x="25" y="24"/>
                    <a:pt x="29" y="24"/>
                  </a:cubicBezTo>
                  <a:cubicBezTo>
                    <a:pt x="32" y="23"/>
                    <a:pt x="32" y="23"/>
                    <a:pt x="33" y="21"/>
                  </a:cubicBezTo>
                  <a:cubicBezTo>
                    <a:pt x="33" y="20"/>
                    <a:pt x="34" y="20"/>
                    <a:pt x="34" y="19"/>
                  </a:cubicBezTo>
                  <a:cubicBezTo>
                    <a:pt x="36" y="19"/>
                    <a:pt x="37" y="18"/>
                    <a:pt x="39" y="18"/>
                  </a:cubicBezTo>
                  <a:cubicBezTo>
                    <a:pt x="42" y="18"/>
                    <a:pt x="45" y="17"/>
                    <a:pt x="48" y="16"/>
                  </a:cubicBezTo>
                  <a:cubicBezTo>
                    <a:pt x="50" y="15"/>
                    <a:pt x="50" y="14"/>
                    <a:pt x="50" y="13"/>
                  </a:cubicBezTo>
                  <a:cubicBezTo>
                    <a:pt x="50" y="12"/>
                    <a:pt x="50" y="11"/>
                    <a:pt x="51" y="11"/>
                  </a:cubicBezTo>
                  <a:cubicBezTo>
                    <a:pt x="52" y="10"/>
                    <a:pt x="52" y="10"/>
                    <a:pt x="53" y="10"/>
                  </a:cubicBezTo>
                  <a:cubicBezTo>
                    <a:pt x="53" y="10"/>
                    <a:pt x="54" y="11"/>
                    <a:pt x="55" y="12"/>
                  </a:cubicBezTo>
                  <a:cubicBezTo>
                    <a:pt x="55" y="12"/>
                    <a:pt x="56" y="12"/>
                    <a:pt x="56" y="13"/>
                  </a:cubicBezTo>
                  <a:cubicBezTo>
                    <a:pt x="57" y="13"/>
                    <a:pt x="59" y="14"/>
                    <a:pt x="60" y="14"/>
                  </a:cubicBezTo>
                  <a:cubicBezTo>
                    <a:pt x="61" y="15"/>
                    <a:pt x="62" y="15"/>
                    <a:pt x="62" y="15"/>
                  </a:cubicBezTo>
                  <a:cubicBezTo>
                    <a:pt x="63" y="16"/>
                    <a:pt x="65" y="16"/>
                    <a:pt x="66" y="16"/>
                  </a:cubicBezTo>
                  <a:cubicBezTo>
                    <a:pt x="67" y="17"/>
                    <a:pt x="68" y="17"/>
                    <a:pt x="69" y="17"/>
                  </a:cubicBezTo>
                  <a:cubicBezTo>
                    <a:pt x="70" y="18"/>
                    <a:pt x="70" y="18"/>
                    <a:pt x="71" y="19"/>
                  </a:cubicBezTo>
                  <a:cubicBezTo>
                    <a:pt x="72" y="20"/>
                    <a:pt x="74" y="20"/>
                    <a:pt x="75" y="21"/>
                  </a:cubicBezTo>
                  <a:cubicBezTo>
                    <a:pt x="76" y="21"/>
                    <a:pt x="76" y="21"/>
                    <a:pt x="77" y="21"/>
                  </a:cubicBezTo>
                  <a:cubicBezTo>
                    <a:pt x="78" y="21"/>
                    <a:pt x="80" y="21"/>
                    <a:pt x="82" y="20"/>
                  </a:cubicBezTo>
                  <a:cubicBezTo>
                    <a:pt x="83" y="19"/>
                    <a:pt x="85" y="18"/>
                    <a:pt x="86" y="18"/>
                  </a:cubicBezTo>
                  <a:cubicBezTo>
                    <a:pt x="89" y="17"/>
                    <a:pt x="91" y="16"/>
                    <a:pt x="92" y="12"/>
                  </a:cubicBezTo>
                  <a:cubicBezTo>
                    <a:pt x="92" y="11"/>
                    <a:pt x="92" y="11"/>
                    <a:pt x="92" y="11"/>
                  </a:cubicBezTo>
                  <a:lnTo>
                    <a:pt x="91" y="10"/>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74" name="Freeform 74">
              <a:extLst>
                <a:ext uri="{FF2B5EF4-FFF2-40B4-BE49-F238E27FC236}">
                  <a16:creationId xmlns:a16="http://schemas.microsoft.com/office/drawing/2014/main" id="{0B684D9C-5D5C-44EA-9F68-C6179224E357}"/>
                </a:ext>
              </a:extLst>
            </p:cNvPr>
            <p:cNvSpPr>
              <a:spLocks/>
            </p:cNvSpPr>
            <p:nvPr/>
          </p:nvSpPr>
          <p:spPr bwMode="auto">
            <a:xfrm>
              <a:off x="1093804" y="1739873"/>
              <a:ext cx="433017" cy="339026"/>
            </a:xfrm>
            <a:custGeom>
              <a:avLst/>
              <a:gdLst>
                <a:gd name="T0" fmla="*/ 208 w 214"/>
                <a:gd name="T1" fmla="*/ 130 h 182"/>
                <a:gd name="T2" fmla="*/ 209 w 214"/>
                <a:gd name="T3" fmla="*/ 121 h 182"/>
                <a:gd name="T4" fmla="*/ 207 w 214"/>
                <a:gd name="T5" fmla="*/ 112 h 182"/>
                <a:gd name="T6" fmla="*/ 201 w 214"/>
                <a:gd name="T7" fmla="*/ 89 h 182"/>
                <a:gd name="T8" fmla="*/ 197 w 214"/>
                <a:gd name="T9" fmla="*/ 71 h 182"/>
                <a:gd name="T10" fmla="*/ 194 w 214"/>
                <a:gd name="T11" fmla="*/ 54 h 182"/>
                <a:gd name="T12" fmla="*/ 186 w 214"/>
                <a:gd name="T13" fmla="*/ 57 h 182"/>
                <a:gd name="T14" fmla="*/ 193 w 214"/>
                <a:gd name="T15" fmla="*/ 44 h 182"/>
                <a:gd name="T16" fmla="*/ 181 w 214"/>
                <a:gd name="T17" fmla="*/ 23 h 182"/>
                <a:gd name="T18" fmla="*/ 169 w 214"/>
                <a:gd name="T19" fmla="*/ 6 h 182"/>
                <a:gd name="T20" fmla="*/ 166 w 214"/>
                <a:gd name="T21" fmla="*/ 10 h 182"/>
                <a:gd name="T22" fmla="*/ 156 w 214"/>
                <a:gd name="T23" fmla="*/ 18 h 182"/>
                <a:gd name="T24" fmla="*/ 141 w 214"/>
                <a:gd name="T25" fmla="*/ 15 h 182"/>
                <a:gd name="T26" fmla="*/ 126 w 214"/>
                <a:gd name="T27" fmla="*/ 24 h 182"/>
                <a:gd name="T28" fmla="*/ 115 w 214"/>
                <a:gd name="T29" fmla="*/ 19 h 182"/>
                <a:gd name="T30" fmla="*/ 105 w 214"/>
                <a:gd name="T31" fmla="*/ 15 h 182"/>
                <a:gd name="T32" fmla="*/ 104 w 214"/>
                <a:gd name="T33" fmla="*/ 8 h 182"/>
                <a:gd name="T34" fmla="*/ 92 w 214"/>
                <a:gd name="T35" fmla="*/ 9 h 182"/>
                <a:gd name="T36" fmla="*/ 81 w 214"/>
                <a:gd name="T37" fmla="*/ 11 h 182"/>
                <a:gd name="T38" fmla="*/ 76 w 214"/>
                <a:gd name="T39" fmla="*/ 8 h 182"/>
                <a:gd name="T40" fmla="*/ 73 w 214"/>
                <a:gd name="T41" fmla="*/ 9 h 182"/>
                <a:gd name="T42" fmla="*/ 67 w 214"/>
                <a:gd name="T43" fmla="*/ 6 h 182"/>
                <a:gd name="T44" fmla="*/ 58 w 214"/>
                <a:gd name="T45" fmla="*/ 0 h 182"/>
                <a:gd name="T46" fmla="*/ 52 w 214"/>
                <a:gd name="T47" fmla="*/ 0 h 182"/>
                <a:gd name="T48" fmla="*/ 41 w 214"/>
                <a:gd name="T49" fmla="*/ 11 h 182"/>
                <a:gd name="T50" fmla="*/ 38 w 214"/>
                <a:gd name="T51" fmla="*/ 22 h 182"/>
                <a:gd name="T52" fmla="*/ 21 w 214"/>
                <a:gd name="T53" fmla="*/ 35 h 182"/>
                <a:gd name="T54" fmla="*/ 5 w 214"/>
                <a:gd name="T55" fmla="*/ 49 h 182"/>
                <a:gd name="T56" fmla="*/ 2 w 214"/>
                <a:gd name="T57" fmla="*/ 58 h 182"/>
                <a:gd name="T58" fmla="*/ 7 w 214"/>
                <a:gd name="T59" fmla="*/ 64 h 182"/>
                <a:gd name="T60" fmla="*/ 12 w 214"/>
                <a:gd name="T61" fmla="*/ 75 h 182"/>
                <a:gd name="T62" fmla="*/ 24 w 214"/>
                <a:gd name="T63" fmla="*/ 86 h 182"/>
                <a:gd name="T64" fmla="*/ 27 w 214"/>
                <a:gd name="T65" fmla="*/ 89 h 182"/>
                <a:gd name="T66" fmla="*/ 37 w 214"/>
                <a:gd name="T67" fmla="*/ 99 h 182"/>
                <a:gd name="T68" fmla="*/ 46 w 214"/>
                <a:gd name="T69" fmla="*/ 112 h 182"/>
                <a:gd name="T70" fmla="*/ 48 w 214"/>
                <a:gd name="T71" fmla="*/ 121 h 182"/>
                <a:gd name="T72" fmla="*/ 61 w 214"/>
                <a:gd name="T73" fmla="*/ 116 h 182"/>
                <a:gd name="T74" fmla="*/ 70 w 214"/>
                <a:gd name="T75" fmla="*/ 104 h 182"/>
                <a:gd name="T76" fmla="*/ 80 w 214"/>
                <a:gd name="T77" fmla="*/ 91 h 182"/>
                <a:gd name="T78" fmla="*/ 91 w 214"/>
                <a:gd name="T79" fmla="*/ 91 h 182"/>
                <a:gd name="T80" fmla="*/ 114 w 214"/>
                <a:gd name="T81" fmla="*/ 93 h 182"/>
                <a:gd name="T82" fmla="*/ 125 w 214"/>
                <a:gd name="T83" fmla="*/ 115 h 182"/>
                <a:gd name="T84" fmla="*/ 126 w 214"/>
                <a:gd name="T85" fmla="*/ 120 h 182"/>
                <a:gd name="T86" fmla="*/ 130 w 214"/>
                <a:gd name="T87" fmla="*/ 130 h 182"/>
                <a:gd name="T88" fmla="*/ 126 w 214"/>
                <a:gd name="T89" fmla="*/ 147 h 182"/>
                <a:gd name="T90" fmla="*/ 138 w 214"/>
                <a:gd name="T91" fmla="*/ 139 h 182"/>
                <a:gd name="T92" fmla="*/ 145 w 214"/>
                <a:gd name="T93" fmla="*/ 140 h 182"/>
                <a:gd name="T94" fmla="*/ 160 w 214"/>
                <a:gd name="T95" fmla="*/ 146 h 182"/>
                <a:gd name="T96" fmla="*/ 163 w 214"/>
                <a:gd name="T97" fmla="*/ 160 h 182"/>
                <a:gd name="T98" fmla="*/ 161 w 214"/>
                <a:gd name="T99" fmla="*/ 173 h 182"/>
                <a:gd name="T100" fmla="*/ 164 w 214"/>
                <a:gd name="T101" fmla="*/ 176 h 182"/>
                <a:gd name="T102" fmla="*/ 171 w 214"/>
                <a:gd name="T103" fmla="*/ 182 h 182"/>
                <a:gd name="T104" fmla="*/ 183 w 214"/>
                <a:gd name="T105" fmla="*/ 168 h 182"/>
                <a:gd name="T106" fmla="*/ 192 w 214"/>
                <a:gd name="T107" fmla="*/ 169 h 182"/>
                <a:gd name="T108" fmla="*/ 196 w 214"/>
                <a:gd name="T109" fmla="*/ 168 h 182"/>
                <a:gd name="T110" fmla="*/ 201 w 214"/>
                <a:gd name="T111" fmla="*/ 157 h 182"/>
                <a:gd name="T112" fmla="*/ 200 w 214"/>
                <a:gd name="T113" fmla="*/ 149 h 182"/>
                <a:gd name="T114" fmla="*/ 202 w 214"/>
                <a:gd name="T115" fmla="*/ 138 h 182"/>
                <a:gd name="T116" fmla="*/ 209 w 214"/>
                <a:gd name="T117" fmla="*/ 141 h 182"/>
                <a:gd name="T118" fmla="*/ 213 w 214"/>
                <a:gd name="T119" fmla="*/ 14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4" h="182">
                  <a:moveTo>
                    <a:pt x="213" y="135"/>
                  </a:moveTo>
                  <a:cubicBezTo>
                    <a:pt x="212" y="133"/>
                    <a:pt x="212" y="133"/>
                    <a:pt x="211" y="133"/>
                  </a:cubicBezTo>
                  <a:cubicBezTo>
                    <a:pt x="211" y="133"/>
                    <a:pt x="211" y="133"/>
                    <a:pt x="210" y="133"/>
                  </a:cubicBezTo>
                  <a:cubicBezTo>
                    <a:pt x="210" y="132"/>
                    <a:pt x="209" y="131"/>
                    <a:pt x="208" y="130"/>
                  </a:cubicBezTo>
                  <a:cubicBezTo>
                    <a:pt x="207" y="129"/>
                    <a:pt x="207" y="129"/>
                    <a:pt x="206" y="128"/>
                  </a:cubicBezTo>
                  <a:cubicBezTo>
                    <a:pt x="205" y="126"/>
                    <a:pt x="205" y="125"/>
                    <a:pt x="206" y="123"/>
                  </a:cubicBezTo>
                  <a:cubicBezTo>
                    <a:pt x="206" y="122"/>
                    <a:pt x="207" y="122"/>
                    <a:pt x="207" y="121"/>
                  </a:cubicBezTo>
                  <a:cubicBezTo>
                    <a:pt x="208" y="121"/>
                    <a:pt x="208" y="121"/>
                    <a:pt x="209" y="121"/>
                  </a:cubicBezTo>
                  <a:cubicBezTo>
                    <a:pt x="212" y="120"/>
                    <a:pt x="212" y="120"/>
                    <a:pt x="212" y="120"/>
                  </a:cubicBezTo>
                  <a:cubicBezTo>
                    <a:pt x="210" y="117"/>
                    <a:pt x="210" y="117"/>
                    <a:pt x="210" y="117"/>
                  </a:cubicBezTo>
                  <a:cubicBezTo>
                    <a:pt x="209" y="116"/>
                    <a:pt x="208" y="115"/>
                    <a:pt x="207" y="114"/>
                  </a:cubicBezTo>
                  <a:cubicBezTo>
                    <a:pt x="207" y="113"/>
                    <a:pt x="207" y="113"/>
                    <a:pt x="207" y="112"/>
                  </a:cubicBezTo>
                  <a:cubicBezTo>
                    <a:pt x="208" y="110"/>
                    <a:pt x="206" y="109"/>
                    <a:pt x="205" y="109"/>
                  </a:cubicBezTo>
                  <a:cubicBezTo>
                    <a:pt x="204" y="109"/>
                    <a:pt x="204" y="108"/>
                    <a:pt x="203" y="108"/>
                  </a:cubicBezTo>
                  <a:cubicBezTo>
                    <a:pt x="201" y="107"/>
                    <a:pt x="201" y="106"/>
                    <a:pt x="201" y="103"/>
                  </a:cubicBezTo>
                  <a:cubicBezTo>
                    <a:pt x="200" y="99"/>
                    <a:pt x="200" y="94"/>
                    <a:pt x="201" y="89"/>
                  </a:cubicBezTo>
                  <a:cubicBezTo>
                    <a:pt x="203" y="88"/>
                    <a:pt x="204" y="87"/>
                    <a:pt x="205" y="85"/>
                  </a:cubicBezTo>
                  <a:cubicBezTo>
                    <a:pt x="206" y="83"/>
                    <a:pt x="206" y="81"/>
                    <a:pt x="205" y="79"/>
                  </a:cubicBezTo>
                  <a:cubicBezTo>
                    <a:pt x="204" y="77"/>
                    <a:pt x="202" y="76"/>
                    <a:pt x="201" y="75"/>
                  </a:cubicBezTo>
                  <a:cubicBezTo>
                    <a:pt x="199" y="74"/>
                    <a:pt x="197" y="73"/>
                    <a:pt x="197" y="71"/>
                  </a:cubicBezTo>
                  <a:cubicBezTo>
                    <a:pt x="196" y="69"/>
                    <a:pt x="196" y="67"/>
                    <a:pt x="196" y="64"/>
                  </a:cubicBezTo>
                  <a:cubicBezTo>
                    <a:pt x="197" y="62"/>
                    <a:pt x="197" y="59"/>
                    <a:pt x="196" y="57"/>
                  </a:cubicBezTo>
                  <a:cubicBezTo>
                    <a:pt x="196" y="55"/>
                    <a:pt x="195" y="54"/>
                    <a:pt x="194" y="54"/>
                  </a:cubicBezTo>
                  <a:cubicBezTo>
                    <a:pt x="194" y="54"/>
                    <a:pt x="194" y="54"/>
                    <a:pt x="194" y="54"/>
                  </a:cubicBezTo>
                  <a:cubicBezTo>
                    <a:pt x="193" y="54"/>
                    <a:pt x="193" y="54"/>
                    <a:pt x="193" y="54"/>
                  </a:cubicBezTo>
                  <a:cubicBezTo>
                    <a:pt x="193" y="54"/>
                    <a:pt x="192" y="54"/>
                    <a:pt x="190" y="55"/>
                  </a:cubicBezTo>
                  <a:cubicBezTo>
                    <a:pt x="189" y="56"/>
                    <a:pt x="188" y="57"/>
                    <a:pt x="187" y="57"/>
                  </a:cubicBezTo>
                  <a:cubicBezTo>
                    <a:pt x="187" y="57"/>
                    <a:pt x="186" y="57"/>
                    <a:pt x="186" y="57"/>
                  </a:cubicBezTo>
                  <a:cubicBezTo>
                    <a:pt x="186" y="57"/>
                    <a:pt x="185" y="56"/>
                    <a:pt x="185" y="56"/>
                  </a:cubicBezTo>
                  <a:cubicBezTo>
                    <a:pt x="185" y="54"/>
                    <a:pt x="188" y="51"/>
                    <a:pt x="190" y="50"/>
                  </a:cubicBezTo>
                  <a:cubicBezTo>
                    <a:pt x="191" y="49"/>
                    <a:pt x="191" y="49"/>
                    <a:pt x="191" y="49"/>
                  </a:cubicBezTo>
                  <a:cubicBezTo>
                    <a:pt x="193" y="47"/>
                    <a:pt x="193" y="46"/>
                    <a:pt x="193" y="44"/>
                  </a:cubicBezTo>
                  <a:cubicBezTo>
                    <a:pt x="193" y="41"/>
                    <a:pt x="190" y="39"/>
                    <a:pt x="187" y="38"/>
                  </a:cubicBezTo>
                  <a:cubicBezTo>
                    <a:pt x="183" y="35"/>
                    <a:pt x="183" y="33"/>
                    <a:pt x="183" y="30"/>
                  </a:cubicBezTo>
                  <a:cubicBezTo>
                    <a:pt x="183" y="29"/>
                    <a:pt x="183" y="28"/>
                    <a:pt x="183" y="27"/>
                  </a:cubicBezTo>
                  <a:cubicBezTo>
                    <a:pt x="182" y="25"/>
                    <a:pt x="181" y="24"/>
                    <a:pt x="181" y="23"/>
                  </a:cubicBezTo>
                  <a:cubicBezTo>
                    <a:pt x="180" y="22"/>
                    <a:pt x="180" y="22"/>
                    <a:pt x="179" y="21"/>
                  </a:cubicBezTo>
                  <a:cubicBezTo>
                    <a:pt x="178" y="19"/>
                    <a:pt x="178" y="18"/>
                    <a:pt x="178" y="15"/>
                  </a:cubicBezTo>
                  <a:cubicBezTo>
                    <a:pt x="178" y="14"/>
                    <a:pt x="178" y="14"/>
                    <a:pt x="178" y="14"/>
                  </a:cubicBezTo>
                  <a:cubicBezTo>
                    <a:pt x="177" y="10"/>
                    <a:pt x="173" y="6"/>
                    <a:pt x="169" y="6"/>
                  </a:cubicBezTo>
                  <a:cubicBezTo>
                    <a:pt x="168" y="6"/>
                    <a:pt x="168" y="6"/>
                    <a:pt x="168" y="6"/>
                  </a:cubicBezTo>
                  <a:cubicBezTo>
                    <a:pt x="167" y="6"/>
                    <a:pt x="167" y="6"/>
                    <a:pt x="167" y="6"/>
                  </a:cubicBezTo>
                  <a:cubicBezTo>
                    <a:pt x="166" y="7"/>
                    <a:pt x="166" y="7"/>
                    <a:pt x="166" y="7"/>
                  </a:cubicBezTo>
                  <a:cubicBezTo>
                    <a:pt x="166" y="8"/>
                    <a:pt x="166" y="8"/>
                    <a:pt x="166" y="10"/>
                  </a:cubicBezTo>
                  <a:cubicBezTo>
                    <a:pt x="166" y="13"/>
                    <a:pt x="166" y="15"/>
                    <a:pt x="164" y="16"/>
                  </a:cubicBezTo>
                  <a:cubicBezTo>
                    <a:pt x="163" y="16"/>
                    <a:pt x="162" y="16"/>
                    <a:pt x="162" y="16"/>
                  </a:cubicBezTo>
                  <a:cubicBezTo>
                    <a:pt x="160" y="16"/>
                    <a:pt x="159" y="16"/>
                    <a:pt x="157" y="17"/>
                  </a:cubicBezTo>
                  <a:cubicBezTo>
                    <a:pt x="157" y="18"/>
                    <a:pt x="157" y="18"/>
                    <a:pt x="156" y="18"/>
                  </a:cubicBezTo>
                  <a:cubicBezTo>
                    <a:pt x="155" y="19"/>
                    <a:pt x="154" y="20"/>
                    <a:pt x="153" y="20"/>
                  </a:cubicBezTo>
                  <a:cubicBezTo>
                    <a:pt x="151" y="20"/>
                    <a:pt x="149" y="19"/>
                    <a:pt x="148" y="18"/>
                  </a:cubicBezTo>
                  <a:cubicBezTo>
                    <a:pt x="146" y="16"/>
                    <a:pt x="144" y="15"/>
                    <a:pt x="142" y="15"/>
                  </a:cubicBezTo>
                  <a:cubicBezTo>
                    <a:pt x="141" y="15"/>
                    <a:pt x="141" y="15"/>
                    <a:pt x="141" y="15"/>
                  </a:cubicBezTo>
                  <a:cubicBezTo>
                    <a:pt x="137" y="15"/>
                    <a:pt x="135" y="17"/>
                    <a:pt x="132" y="20"/>
                  </a:cubicBezTo>
                  <a:cubicBezTo>
                    <a:pt x="131" y="21"/>
                    <a:pt x="130" y="22"/>
                    <a:pt x="129" y="23"/>
                  </a:cubicBezTo>
                  <a:cubicBezTo>
                    <a:pt x="129" y="23"/>
                    <a:pt x="128" y="24"/>
                    <a:pt x="126" y="24"/>
                  </a:cubicBezTo>
                  <a:cubicBezTo>
                    <a:pt x="126" y="24"/>
                    <a:pt x="126" y="24"/>
                    <a:pt x="126" y="24"/>
                  </a:cubicBezTo>
                  <a:cubicBezTo>
                    <a:pt x="125" y="24"/>
                    <a:pt x="125" y="23"/>
                    <a:pt x="125" y="21"/>
                  </a:cubicBezTo>
                  <a:cubicBezTo>
                    <a:pt x="124" y="19"/>
                    <a:pt x="124" y="18"/>
                    <a:pt x="122" y="17"/>
                  </a:cubicBezTo>
                  <a:cubicBezTo>
                    <a:pt x="122" y="16"/>
                    <a:pt x="121" y="15"/>
                    <a:pt x="120" y="15"/>
                  </a:cubicBezTo>
                  <a:cubicBezTo>
                    <a:pt x="118" y="15"/>
                    <a:pt x="116" y="17"/>
                    <a:pt x="115" y="19"/>
                  </a:cubicBezTo>
                  <a:cubicBezTo>
                    <a:pt x="114" y="20"/>
                    <a:pt x="113" y="21"/>
                    <a:pt x="112" y="21"/>
                  </a:cubicBezTo>
                  <a:cubicBezTo>
                    <a:pt x="112" y="22"/>
                    <a:pt x="111" y="22"/>
                    <a:pt x="111" y="22"/>
                  </a:cubicBezTo>
                  <a:cubicBezTo>
                    <a:pt x="110" y="22"/>
                    <a:pt x="109" y="21"/>
                    <a:pt x="108" y="21"/>
                  </a:cubicBezTo>
                  <a:cubicBezTo>
                    <a:pt x="106" y="19"/>
                    <a:pt x="105" y="17"/>
                    <a:pt x="105" y="15"/>
                  </a:cubicBezTo>
                  <a:cubicBezTo>
                    <a:pt x="105" y="13"/>
                    <a:pt x="106" y="12"/>
                    <a:pt x="106" y="11"/>
                  </a:cubicBezTo>
                  <a:cubicBezTo>
                    <a:pt x="106" y="10"/>
                    <a:pt x="106" y="10"/>
                    <a:pt x="106" y="10"/>
                  </a:cubicBezTo>
                  <a:cubicBezTo>
                    <a:pt x="107" y="7"/>
                    <a:pt x="107" y="7"/>
                    <a:pt x="107" y="7"/>
                  </a:cubicBezTo>
                  <a:cubicBezTo>
                    <a:pt x="104" y="8"/>
                    <a:pt x="104" y="8"/>
                    <a:pt x="104" y="8"/>
                  </a:cubicBezTo>
                  <a:cubicBezTo>
                    <a:pt x="102" y="8"/>
                    <a:pt x="99" y="8"/>
                    <a:pt x="97" y="8"/>
                  </a:cubicBezTo>
                  <a:cubicBezTo>
                    <a:pt x="96" y="9"/>
                    <a:pt x="96" y="9"/>
                    <a:pt x="96" y="9"/>
                  </a:cubicBezTo>
                  <a:cubicBezTo>
                    <a:pt x="95" y="9"/>
                    <a:pt x="95" y="9"/>
                    <a:pt x="94" y="9"/>
                  </a:cubicBezTo>
                  <a:cubicBezTo>
                    <a:pt x="94" y="9"/>
                    <a:pt x="93" y="9"/>
                    <a:pt x="92" y="9"/>
                  </a:cubicBezTo>
                  <a:cubicBezTo>
                    <a:pt x="91" y="8"/>
                    <a:pt x="91" y="8"/>
                    <a:pt x="90" y="8"/>
                  </a:cubicBezTo>
                  <a:cubicBezTo>
                    <a:pt x="89" y="8"/>
                    <a:pt x="87" y="9"/>
                    <a:pt x="85" y="10"/>
                  </a:cubicBezTo>
                  <a:cubicBezTo>
                    <a:pt x="85" y="10"/>
                    <a:pt x="84" y="10"/>
                    <a:pt x="84" y="10"/>
                  </a:cubicBezTo>
                  <a:cubicBezTo>
                    <a:pt x="83" y="11"/>
                    <a:pt x="82" y="11"/>
                    <a:pt x="81" y="11"/>
                  </a:cubicBezTo>
                  <a:cubicBezTo>
                    <a:pt x="81" y="11"/>
                    <a:pt x="80" y="11"/>
                    <a:pt x="80" y="11"/>
                  </a:cubicBezTo>
                  <a:cubicBezTo>
                    <a:pt x="79" y="11"/>
                    <a:pt x="79" y="10"/>
                    <a:pt x="78" y="10"/>
                  </a:cubicBezTo>
                  <a:cubicBezTo>
                    <a:pt x="78" y="9"/>
                    <a:pt x="77" y="8"/>
                    <a:pt x="76" y="8"/>
                  </a:cubicBezTo>
                  <a:cubicBezTo>
                    <a:pt x="76" y="8"/>
                    <a:pt x="76" y="8"/>
                    <a:pt x="76" y="8"/>
                  </a:cubicBezTo>
                  <a:cubicBezTo>
                    <a:pt x="76" y="8"/>
                    <a:pt x="76" y="8"/>
                    <a:pt x="76" y="8"/>
                  </a:cubicBezTo>
                  <a:cubicBezTo>
                    <a:pt x="75" y="8"/>
                    <a:pt x="75" y="8"/>
                    <a:pt x="75" y="8"/>
                  </a:cubicBezTo>
                  <a:cubicBezTo>
                    <a:pt x="74" y="8"/>
                    <a:pt x="74" y="9"/>
                    <a:pt x="73" y="9"/>
                  </a:cubicBezTo>
                  <a:cubicBezTo>
                    <a:pt x="73" y="9"/>
                    <a:pt x="73" y="9"/>
                    <a:pt x="73" y="9"/>
                  </a:cubicBezTo>
                  <a:cubicBezTo>
                    <a:pt x="73" y="9"/>
                    <a:pt x="73" y="8"/>
                    <a:pt x="72" y="8"/>
                  </a:cubicBezTo>
                  <a:cubicBezTo>
                    <a:pt x="72" y="8"/>
                    <a:pt x="71" y="8"/>
                    <a:pt x="71" y="8"/>
                  </a:cubicBezTo>
                  <a:cubicBezTo>
                    <a:pt x="70" y="7"/>
                    <a:pt x="69" y="7"/>
                    <a:pt x="69" y="6"/>
                  </a:cubicBezTo>
                  <a:cubicBezTo>
                    <a:pt x="68" y="6"/>
                    <a:pt x="68" y="6"/>
                    <a:pt x="67" y="6"/>
                  </a:cubicBezTo>
                  <a:cubicBezTo>
                    <a:pt x="67" y="5"/>
                    <a:pt x="66" y="5"/>
                    <a:pt x="66" y="5"/>
                  </a:cubicBezTo>
                  <a:cubicBezTo>
                    <a:pt x="64" y="4"/>
                    <a:pt x="63" y="4"/>
                    <a:pt x="62" y="3"/>
                  </a:cubicBezTo>
                  <a:cubicBezTo>
                    <a:pt x="61" y="3"/>
                    <a:pt x="61" y="2"/>
                    <a:pt x="60" y="2"/>
                  </a:cubicBezTo>
                  <a:cubicBezTo>
                    <a:pt x="60" y="1"/>
                    <a:pt x="59" y="0"/>
                    <a:pt x="58" y="0"/>
                  </a:cubicBezTo>
                  <a:cubicBezTo>
                    <a:pt x="57" y="0"/>
                    <a:pt x="57" y="0"/>
                    <a:pt x="56" y="0"/>
                  </a:cubicBezTo>
                  <a:cubicBezTo>
                    <a:pt x="56" y="0"/>
                    <a:pt x="55" y="0"/>
                    <a:pt x="54" y="0"/>
                  </a:cubicBezTo>
                  <a:cubicBezTo>
                    <a:pt x="54" y="0"/>
                    <a:pt x="53" y="0"/>
                    <a:pt x="52" y="0"/>
                  </a:cubicBezTo>
                  <a:cubicBezTo>
                    <a:pt x="52" y="0"/>
                    <a:pt x="52" y="0"/>
                    <a:pt x="52" y="0"/>
                  </a:cubicBezTo>
                  <a:cubicBezTo>
                    <a:pt x="49" y="0"/>
                    <a:pt x="46" y="0"/>
                    <a:pt x="43" y="0"/>
                  </a:cubicBezTo>
                  <a:cubicBezTo>
                    <a:pt x="41" y="0"/>
                    <a:pt x="41" y="0"/>
                    <a:pt x="41" y="0"/>
                  </a:cubicBezTo>
                  <a:cubicBezTo>
                    <a:pt x="41" y="4"/>
                    <a:pt x="41" y="4"/>
                    <a:pt x="41" y="4"/>
                  </a:cubicBezTo>
                  <a:cubicBezTo>
                    <a:pt x="41" y="6"/>
                    <a:pt x="42" y="9"/>
                    <a:pt x="41" y="11"/>
                  </a:cubicBezTo>
                  <a:cubicBezTo>
                    <a:pt x="40" y="13"/>
                    <a:pt x="39" y="13"/>
                    <a:pt x="37" y="13"/>
                  </a:cubicBezTo>
                  <a:cubicBezTo>
                    <a:pt x="36" y="14"/>
                    <a:pt x="34" y="14"/>
                    <a:pt x="33" y="16"/>
                  </a:cubicBezTo>
                  <a:cubicBezTo>
                    <a:pt x="32" y="19"/>
                    <a:pt x="34" y="20"/>
                    <a:pt x="36" y="20"/>
                  </a:cubicBezTo>
                  <a:cubicBezTo>
                    <a:pt x="37" y="21"/>
                    <a:pt x="38" y="21"/>
                    <a:pt x="38" y="22"/>
                  </a:cubicBezTo>
                  <a:cubicBezTo>
                    <a:pt x="40" y="23"/>
                    <a:pt x="41" y="27"/>
                    <a:pt x="40" y="30"/>
                  </a:cubicBezTo>
                  <a:cubicBezTo>
                    <a:pt x="39" y="33"/>
                    <a:pt x="35" y="33"/>
                    <a:pt x="30" y="33"/>
                  </a:cubicBezTo>
                  <a:cubicBezTo>
                    <a:pt x="28" y="33"/>
                    <a:pt x="25" y="33"/>
                    <a:pt x="23" y="34"/>
                  </a:cubicBezTo>
                  <a:cubicBezTo>
                    <a:pt x="23" y="35"/>
                    <a:pt x="22" y="35"/>
                    <a:pt x="21" y="35"/>
                  </a:cubicBezTo>
                  <a:cubicBezTo>
                    <a:pt x="20" y="36"/>
                    <a:pt x="18" y="37"/>
                    <a:pt x="16" y="38"/>
                  </a:cubicBezTo>
                  <a:cubicBezTo>
                    <a:pt x="14" y="38"/>
                    <a:pt x="11" y="40"/>
                    <a:pt x="9" y="41"/>
                  </a:cubicBezTo>
                  <a:cubicBezTo>
                    <a:pt x="8" y="43"/>
                    <a:pt x="7" y="44"/>
                    <a:pt x="6" y="46"/>
                  </a:cubicBezTo>
                  <a:cubicBezTo>
                    <a:pt x="6" y="47"/>
                    <a:pt x="5" y="48"/>
                    <a:pt x="5" y="49"/>
                  </a:cubicBezTo>
                  <a:cubicBezTo>
                    <a:pt x="4" y="51"/>
                    <a:pt x="2" y="52"/>
                    <a:pt x="1" y="53"/>
                  </a:cubicBezTo>
                  <a:cubicBezTo>
                    <a:pt x="0" y="55"/>
                    <a:pt x="0" y="55"/>
                    <a:pt x="0" y="55"/>
                  </a:cubicBezTo>
                  <a:cubicBezTo>
                    <a:pt x="1" y="56"/>
                    <a:pt x="1" y="56"/>
                    <a:pt x="1" y="56"/>
                  </a:cubicBezTo>
                  <a:cubicBezTo>
                    <a:pt x="2" y="57"/>
                    <a:pt x="2" y="58"/>
                    <a:pt x="2" y="58"/>
                  </a:cubicBezTo>
                  <a:cubicBezTo>
                    <a:pt x="2" y="59"/>
                    <a:pt x="2" y="59"/>
                    <a:pt x="2" y="59"/>
                  </a:cubicBezTo>
                  <a:cubicBezTo>
                    <a:pt x="4" y="59"/>
                    <a:pt x="4" y="59"/>
                    <a:pt x="4" y="59"/>
                  </a:cubicBezTo>
                  <a:cubicBezTo>
                    <a:pt x="4" y="59"/>
                    <a:pt x="5" y="59"/>
                    <a:pt x="5" y="59"/>
                  </a:cubicBezTo>
                  <a:cubicBezTo>
                    <a:pt x="5" y="61"/>
                    <a:pt x="6" y="62"/>
                    <a:pt x="7" y="64"/>
                  </a:cubicBezTo>
                  <a:cubicBezTo>
                    <a:pt x="7" y="64"/>
                    <a:pt x="8" y="66"/>
                    <a:pt x="9" y="66"/>
                  </a:cubicBezTo>
                  <a:cubicBezTo>
                    <a:pt x="9" y="67"/>
                    <a:pt x="8" y="69"/>
                    <a:pt x="9" y="71"/>
                  </a:cubicBezTo>
                  <a:cubicBezTo>
                    <a:pt x="10" y="72"/>
                    <a:pt x="10" y="73"/>
                    <a:pt x="11" y="74"/>
                  </a:cubicBezTo>
                  <a:cubicBezTo>
                    <a:pt x="11" y="74"/>
                    <a:pt x="12" y="74"/>
                    <a:pt x="12" y="75"/>
                  </a:cubicBezTo>
                  <a:cubicBezTo>
                    <a:pt x="12" y="75"/>
                    <a:pt x="13" y="76"/>
                    <a:pt x="13" y="76"/>
                  </a:cubicBezTo>
                  <a:cubicBezTo>
                    <a:pt x="13" y="77"/>
                    <a:pt x="14" y="78"/>
                    <a:pt x="14" y="79"/>
                  </a:cubicBezTo>
                  <a:cubicBezTo>
                    <a:pt x="16" y="81"/>
                    <a:pt x="19" y="84"/>
                    <a:pt x="21" y="85"/>
                  </a:cubicBezTo>
                  <a:cubicBezTo>
                    <a:pt x="22" y="85"/>
                    <a:pt x="23" y="86"/>
                    <a:pt x="24" y="86"/>
                  </a:cubicBezTo>
                  <a:cubicBezTo>
                    <a:pt x="24" y="86"/>
                    <a:pt x="25" y="86"/>
                    <a:pt x="25" y="85"/>
                  </a:cubicBezTo>
                  <a:cubicBezTo>
                    <a:pt x="26" y="85"/>
                    <a:pt x="26" y="85"/>
                    <a:pt x="26" y="85"/>
                  </a:cubicBezTo>
                  <a:cubicBezTo>
                    <a:pt x="26" y="85"/>
                    <a:pt x="26" y="86"/>
                    <a:pt x="26" y="86"/>
                  </a:cubicBezTo>
                  <a:cubicBezTo>
                    <a:pt x="26" y="86"/>
                    <a:pt x="26" y="88"/>
                    <a:pt x="27" y="89"/>
                  </a:cubicBezTo>
                  <a:cubicBezTo>
                    <a:pt x="28" y="91"/>
                    <a:pt x="32" y="93"/>
                    <a:pt x="34" y="94"/>
                  </a:cubicBezTo>
                  <a:cubicBezTo>
                    <a:pt x="35" y="94"/>
                    <a:pt x="35" y="94"/>
                    <a:pt x="36" y="94"/>
                  </a:cubicBezTo>
                  <a:cubicBezTo>
                    <a:pt x="38" y="95"/>
                    <a:pt x="38" y="95"/>
                    <a:pt x="38" y="95"/>
                  </a:cubicBezTo>
                  <a:cubicBezTo>
                    <a:pt x="38" y="96"/>
                    <a:pt x="37" y="97"/>
                    <a:pt x="37" y="99"/>
                  </a:cubicBezTo>
                  <a:cubicBezTo>
                    <a:pt x="37" y="100"/>
                    <a:pt x="38" y="101"/>
                    <a:pt x="39" y="101"/>
                  </a:cubicBezTo>
                  <a:cubicBezTo>
                    <a:pt x="39" y="102"/>
                    <a:pt x="39" y="102"/>
                    <a:pt x="39" y="102"/>
                  </a:cubicBezTo>
                  <a:cubicBezTo>
                    <a:pt x="40" y="104"/>
                    <a:pt x="41" y="105"/>
                    <a:pt x="42" y="106"/>
                  </a:cubicBezTo>
                  <a:cubicBezTo>
                    <a:pt x="44" y="108"/>
                    <a:pt x="45" y="110"/>
                    <a:pt x="46" y="112"/>
                  </a:cubicBezTo>
                  <a:cubicBezTo>
                    <a:pt x="47" y="113"/>
                    <a:pt x="47" y="113"/>
                    <a:pt x="48" y="114"/>
                  </a:cubicBezTo>
                  <a:cubicBezTo>
                    <a:pt x="48" y="115"/>
                    <a:pt x="49" y="116"/>
                    <a:pt x="49" y="117"/>
                  </a:cubicBezTo>
                  <a:cubicBezTo>
                    <a:pt x="49" y="117"/>
                    <a:pt x="49" y="118"/>
                    <a:pt x="49" y="118"/>
                  </a:cubicBezTo>
                  <a:cubicBezTo>
                    <a:pt x="48" y="121"/>
                    <a:pt x="48" y="121"/>
                    <a:pt x="48" y="121"/>
                  </a:cubicBezTo>
                  <a:cubicBezTo>
                    <a:pt x="52" y="120"/>
                    <a:pt x="52" y="120"/>
                    <a:pt x="52" y="120"/>
                  </a:cubicBezTo>
                  <a:cubicBezTo>
                    <a:pt x="53" y="120"/>
                    <a:pt x="53" y="120"/>
                    <a:pt x="54" y="120"/>
                  </a:cubicBezTo>
                  <a:cubicBezTo>
                    <a:pt x="56" y="120"/>
                    <a:pt x="56" y="120"/>
                    <a:pt x="56" y="120"/>
                  </a:cubicBezTo>
                  <a:cubicBezTo>
                    <a:pt x="59" y="119"/>
                    <a:pt x="60" y="119"/>
                    <a:pt x="61" y="116"/>
                  </a:cubicBezTo>
                  <a:cubicBezTo>
                    <a:pt x="62" y="113"/>
                    <a:pt x="62" y="113"/>
                    <a:pt x="64" y="112"/>
                  </a:cubicBezTo>
                  <a:cubicBezTo>
                    <a:pt x="64" y="112"/>
                    <a:pt x="65" y="112"/>
                    <a:pt x="66" y="111"/>
                  </a:cubicBezTo>
                  <a:cubicBezTo>
                    <a:pt x="68" y="110"/>
                    <a:pt x="68" y="108"/>
                    <a:pt x="69" y="106"/>
                  </a:cubicBezTo>
                  <a:cubicBezTo>
                    <a:pt x="70" y="105"/>
                    <a:pt x="70" y="105"/>
                    <a:pt x="70" y="104"/>
                  </a:cubicBezTo>
                  <a:cubicBezTo>
                    <a:pt x="71" y="102"/>
                    <a:pt x="72" y="100"/>
                    <a:pt x="73" y="98"/>
                  </a:cubicBezTo>
                  <a:cubicBezTo>
                    <a:pt x="74" y="97"/>
                    <a:pt x="74" y="97"/>
                    <a:pt x="74" y="96"/>
                  </a:cubicBezTo>
                  <a:cubicBezTo>
                    <a:pt x="75" y="94"/>
                    <a:pt x="76" y="93"/>
                    <a:pt x="78" y="92"/>
                  </a:cubicBezTo>
                  <a:cubicBezTo>
                    <a:pt x="79" y="92"/>
                    <a:pt x="79" y="91"/>
                    <a:pt x="80" y="91"/>
                  </a:cubicBezTo>
                  <a:cubicBezTo>
                    <a:pt x="81" y="91"/>
                    <a:pt x="82" y="92"/>
                    <a:pt x="82" y="92"/>
                  </a:cubicBezTo>
                  <a:cubicBezTo>
                    <a:pt x="83" y="93"/>
                    <a:pt x="84" y="93"/>
                    <a:pt x="84" y="94"/>
                  </a:cubicBezTo>
                  <a:cubicBezTo>
                    <a:pt x="85" y="94"/>
                    <a:pt x="85" y="94"/>
                    <a:pt x="86" y="94"/>
                  </a:cubicBezTo>
                  <a:cubicBezTo>
                    <a:pt x="88" y="94"/>
                    <a:pt x="90" y="92"/>
                    <a:pt x="91" y="91"/>
                  </a:cubicBezTo>
                  <a:cubicBezTo>
                    <a:pt x="93" y="89"/>
                    <a:pt x="97" y="88"/>
                    <a:pt x="102" y="88"/>
                  </a:cubicBezTo>
                  <a:cubicBezTo>
                    <a:pt x="103" y="88"/>
                    <a:pt x="105" y="88"/>
                    <a:pt x="106" y="88"/>
                  </a:cubicBezTo>
                  <a:cubicBezTo>
                    <a:pt x="109" y="88"/>
                    <a:pt x="110" y="89"/>
                    <a:pt x="112" y="91"/>
                  </a:cubicBezTo>
                  <a:cubicBezTo>
                    <a:pt x="112" y="92"/>
                    <a:pt x="113" y="93"/>
                    <a:pt x="114" y="93"/>
                  </a:cubicBezTo>
                  <a:cubicBezTo>
                    <a:pt x="115" y="95"/>
                    <a:pt x="117" y="97"/>
                    <a:pt x="118" y="100"/>
                  </a:cubicBezTo>
                  <a:cubicBezTo>
                    <a:pt x="119" y="103"/>
                    <a:pt x="121" y="107"/>
                    <a:pt x="123" y="110"/>
                  </a:cubicBezTo>
                  <a:cubicBezTo>
                    <a:pt x="124" y="110"/>
                    <a:pt x="124" y="110"/>
                    <a:pt x="124" y="110"/>
                  </a:cubicBezTo>
                  <a:cubicBezTo>
                    <a:pt x="126" y="112"/>
                    <a:pt x="126" y="112"/>
                    <a:pt x="125" y="115"/>
                  </a:cubicBezTo>
                  <a:cubicBezTo>
                    <a:pt x="125" y="115"/>
                    <a:pt x="125" y="116"/>
                    <a:pt x="124" y="116"/>
                  </a:cubicBezTo>
                  <a:cubicBezTo>
                    <a:pt x="123" y="118"/>
                    <a:pt x="123" y="118"/>
                    <a:pt x="123" y="118"/>
                  </a:cubicBezTo>
                  <a:cubicBezTo>
                    <a:pt x="125" y="119"/>
                    <a:pt x="125" y="119"/>
                    <a:pt x="125" y="119"/>
                  </a:cubicBezTo>
                  <a:cubicBezTo>
                    <a:pt x="125" y="119"/>
                    <a:pt x="126" y="119"/>
                    <a:pt x="126" y="120"/>
                  </a:cubicBezTo>
                  <a:cubicBezTo>
                    <a:pt x="128" y="121"/>
                    <a:pt x="128" y="121"/>
                    <a:pt x="128" y="123"/>
                  </a:cubicBezTo>
                  <a:cubicBezTo>
                    <a:pt x="128" y="123"/>
                    <a:pt x="128" y="124"/>
                    <a:pt x="128" y="125"/>
                  </a:cubicBezTo>
                  <a:cubicBezTo>
                    <a:pt x="127" y="127"/>
                    <a:pt x="128" y="128"/>
                    <a:pt x="129" y="129"/>
                  </a:cubicBezTo>
                  <a:cubicBezTo>
                    <a:pt x="129" y="129"/>
                    <a:pt x="130" y="130"/>
                    <a:pt x="130" y="130"/>
                  </a:cubicBezTo>
                  <a:cubicBezTo>
                    <a:pt x="131" y="132"/>
                    <a:pt x="130" y="134"/>
                    <a:pt x="129" y="136"/>
                  </a:cubicBezTo>
                  <a:cubicBezTo>
                    <a:pt x="128" y="137"/>
                    <a:pt x="128" y="137"/>
                    <a:pt x="128" y="138"/>
                  </a:cubicBezTo>
                  <a:cubicBezTo>
                    <a:pt x="127" y="139"/>
                    <a:pt x="127" y="141"/>
                    <a:pt x="127" y="142"/>
                  </a:cubicBezTo>
                  <a:cubicBezTo>
                    <a:pt x="126" y="147"/>
                    <a:pt x="126" y="147"/>
                    <a:pt x="126" y="147"/>
                  </a:cubicBezTo>
                  <a:cubicBezTo>
                    <a:pt x="130" y="144"/>
                    <a:pt x="130" y="144"/>
                    <a:pt x="130" y="144"/>
                  </a:cubicBezTo>
                  <a:cubicBezTo>
                    <a:pt x="130" y="144"/>
                    <a:pt x="131" y="143"/>
                    <a:pt x="132" y="143"/>
                  </a:cubicBezTo>
                  <a:cubicBezTo>
                    <a:pt x="132" y="142"/>
                    <a:pt x="132" y="142"/>
                    <a:pt x="132" y="142"/>
                  </a:cubicBezTo>
                  <a:cubicBezTo>
                    <a:pt x="134" y="141"/>
                    <a:pt x="136" y="139"/>
                    <a:pt x="138" y="139"/>
                  </a:cubicBezTo>
                  <a:cubicBezTo>
                    <a:pt x="138" y="139"/>
                    <a:pt x="139" y="139"/>
                    <a:pt x="139" y="139"/>
                  </a:cubicBezTo>
                  <a:cubicBezTo>
                    <a:pt x="140" y="139"/>
                    <a:pt x="141" y="139"/>
                    <a:pt x="142" y="139"/>
                  </a:cubicBezTo>
                  <a:cubicBezTo>
                    <a:pt x="143" y="140"/>
                    <a:pt x="144" y="140"/>
                    <a:pt x="145" y="140"/>
                  </a:cubicBezTo>
                  <a:cubicBezTo>
                    <a:pt x="145" y="140"/>
                    <a:pt x="145" y="140"/>
                    <a:pt x="145" y="140"/>
                  </a:cubicBezTo>
                  <a:cubicBezTo>
                    <a:pt x="146" y="140"/>
                    <a:pt x="147" y="140"/>
                    <a:pt x="148" y="139"/>
                  </a:cubicBezTo>
                  <a:cubicBezTo>
                    <a:pt x="149" y="139"/>
                    <a:pt x="150" y="139"/>
                    <a:pt x="152" y="139"/>
                  </a:cubicBezTo>
                  <a:cubicBezTo>
                    <a:pt x="152" y="139"/>
                    <a:pt x="152" y="139"/>
                    <a:pt x="152" y="139"/>
                  </a:cubicBezTo>
                  <a:cubicBezTo>
                    <a:pt x="157" y="139"/>
                    <a:pt x="160" y="142"/>
                    <a:pt x="160" y="146"/>
                  </a:cubicBezTo>
                  <a:cubicBezTo>
                    <a:pt x="160" y="149"/>
                    <a:pt x="160" y="150"/>
                    <a:pt x="161" y="152"/>
                  </a:cubicBezTo>
                  <a:cubicBezTo>
                    <a:pt x="161" y="152"/>
                    <a:pt x="161" y="153"/>
                    <a:pt x="161" y="153"/>
                  </a:cubicBezTo>
                  <a:cubicBezTo>
                    <a:pt x="162" y="154"/>
                    <a:pt x="162" y="155"/>
                    <a:pt x="162" y="156"/>
                  </a:cubicBezTo>
                  <a:cubicBezTo>
                    <a:pt x="162" y="158"/>
                    <a:pt x="162" y="159"/>
                    <a:pt x="163" y="160"/>
                  </a:cubicBezTo>
                  <a:cubicBezTo>
                    <a:pt x="163" y="161"/>
                    <a:pt x="163" y="161"/>
                    <a:pt x="163" y="161"/>
                  </a:cubicBezTo>
                  <a:cubicBezTo>
                    <a:pt x="164" y="163"/>
                    <a:pt x="165" y="165"/>
                    <a:pt x="164" y="167"/>
                  </a:cubicBezTo>
                  <a:cubicBezTo>
                    <a:pt x="164" y="168"/>
                    <a:pt x="163" y="169"/>
                    <a:pt x="162" y="170"/>
                  </a:cubicBezTo>
                  <a:cubicBezTo>
                    <a:pt x="162" y="171"/>
                    <a:pt x="161" y="172"/>
                    <a:pt x="161" y="173"/>
                  </a:cubicBezTo>
                  <a:cubicBezTo>
                    <a:pt x="161" y="174"/>
                    <a:pt x="161" y="174"/>
                    <a:pt x="161" y="175"/>
                  </a:cubicBezTo>
                  <a:cubicBezTo>
                    <a:pt x="163" y="174"/>
                    <a:pt x="163" y="174"/>
                    <a:pt x="163" y="174"/>
                  </a:cubicBezTo>
                  <a:cubicBezTo>
                    <a:pt x="164" y="176"/>
                    <a:pt x="164" y="176"/>
                    <a:pt x="164" y="176"/>
                  </a:cubicBezTo>
                  <a:cubicBezTo>
                    <a:pt x="164" y="176"/>
                    <a:pt x="164" y="176"/>
                    <a:pt x="164" y="176"/>
                  </a:cubicBezTo>
                  <a:cubicBezTo>
                    <a:pt x="165" y="176"/>
                    <a:pt x="165" y="176"/>
                    <a:pt x="166" y="176"/>
                  </a:cubicBezTo>
                  <a:cubicBezTo>
                    <a:pt x="166" y="176"/>
                    <a:pt x="167" y="176"/>
                    <a:pt x="167" y="176"/>
                  </a:cubicBezTo>
                  <a:cubicBezTo>
                    <a:pt x="169" y="177"/>
                    <a:pt x="170" y="178"/>
                    <a:pt x="170" y="180"/>
                  </a:cubicBezTo>
                  <a:cubicBezTo>
                    <a:pt x="171" y="182"/>
                    <a:pt x="171" y="182"/>
                    <a:pt x="171" y="182"/>
                  </a:cubicBezTo>
                  <a:cubicBezTo>
                    <a:pt x="172" y="181"/>
                    <a:pt x="172" y="181"/>
                    <a:pt x="172" y="181"/>
                  </a:cubicBezTo>
                  <a:cubicBezTo>
                    <a:pt x="175" y="181"/>
                    <a:pt x="176" y="180"/>
                    <a:pt x="178" y="178"/>
                  </a:cubicBezTo>
                  <a:cubicBezTo>
                    <a:pt x="179" y="177"/>
                    <a:pt x="179" y="177"/>
                    <a:pt x="179" y="177"/>
                  </a:cubicBezTo>
                  <a:cubicBezTo>
                    <a:pt x="182" y="174"/>
                    <a:pt x="182" y="172"/>
                    <a:pt x="183" y="168"/>
                  </a:cubicBezTo>
                  <a:cubicBezTo>
                    <a:pt x="183" y="167"/>
                    <a:pt x="184" y="166"/>
                    <a:pt x="185" y="166"/>
                  </a:cubicBezTo>
                  <a:cubicBezTo>
                    <a:pt x="185" y="166"/>
                    <a:pt x="186" y="167"/>
                    <a:pt x="187" y="167"/>
                  </a:cubicBezTo>
                  <a:cubicBezTo>
                    <a:pt x="188" y="168"/>
                    <a:pt x="189" y="169"/>
                    <a:pt x="190" y="169"/>
                  </a:cubicBezTo>
                  <a:cubicBezTo>
                    <a:pt x="191" y="169"/>
                    <a:pt x="191" y="169"/>
                    <a:pt x="192" y="169"/>
                  </a:cubicBezTo>
                  <a:cubicBezTo>
                    <a:pt x="193" y="168"/>
                    <a:pt x="193" y="168"/>
                    <a:pt x="194" y="168"/>
                  </a:cubicBezTo>
                  <a:cubicBezTo>
                    <a:pt x="195" y="168"/>
                    <a:pt x="195" y="168"/>
                    <a:pt x="195" y="168"/>
                  </a:cubicBezTo>
                  <a:cubicBezTo>
                    <a:pt x="195" y="168"/>
                    <a:pt x="195" y="168"/>
                    <a:pt x="196" y="168"/>
                  </a:cubicBezTo>
                  <a:cubicBezTo>
                    <a:pt x="196" y="168"/>
                    <a:pt x="196" y="168"/>
                    <a:pt x="196" y="168"/>
                  </a:cubicBezTo>
                  <a:cubicBezTo>
                    <a:pt x="204" y="169"/>
                    <a:pt x="204" y="169"/>
                    <a:pt x="204" y="169"/>
                  </a:cubicBezTo>
                  <a:cubicBezTo>
                    <a:pt x="199" y="166"/>
                    <a:pt x="199" y="166"/>
                    <a:pt x="199" y="166"/>
                  </a:cubicBezTo>
                  <a:cubicBezTo>
                    <a:pt x="200" y="164"/>
                    <a:pt x="200" y="163"/>
                    <a:pt x="200" y="161"/>
                  </a:cubicBezTo>
                  <a:cubicBezTo>
                    <a:pt x="201" y="160"/>
                    <a:pt x="201" y="159"/>
                    <a:pt x="201" y="157"/>
                  </a:cubicBezTo>
                  <a:cubicBezTo>
                    <a:pt x="202" y="157"/>
                    <a:pt x="202" y="156"/>
                    <a:pt x="203" y="155"/>
                  </a:cubicBezTo>
                  <a:cubicBezTo>
                    <a:pt x="204" y="154"/>
                    <a:pt x="205" y="153"/>
                    <a:pt x="204" y="152"/>
                  </a:cubicBezTo>
                  <a:cubicBezTo>
                    <a:pt x="204" y="152"/>
                    <a:pt x="204" y="151"/>
                    <a:pt x="203" y="150"/>
                  </a:cubicBezTo>
                  <a:cubicBezTo>
                    <a:pt x="202" y="149"/>
                    <a:pt x="201" y="149"/>
                    <a:pt x="200" y="149"/>
                  </a:cubicBezTo>
                  <a:cubicBezTo>
                    <a:pt x="198" y="148"/>
                    <a:pt x="197" y="147"/>
                    <a:pt x="197" y="144"/>
                  </a:cubicBezTo>
                  <a:cubicBezTo>
                    <a:pt x="197" y="142"/>
                    <a:pt x="198" y="140"/>
                    <a:pt x="199" y="139"/>
                  </a:cubicBezTo>
                  <a:cubicBezTo>
                    <a:pt x="200" y="138"/>
                    <a:pt x="201" y="138"/>
                    <a:pt x="201" y="138"/>
                  </a:cubicBezTo>
                  <a:cubicBezTo>
                    <a:pt x="202" y="138"/>
                    <a:pt x="202" y="138"/>
                    <a:pt x="202" y="138"/>
                  </a:cubicBezTo>
                  <a:cubicBezTo>
                    <a:pt x="203" y="138"/>
                    <a:pt x="204" y="139"/>
                    <a:pt x="205" y="140"/>
                  </a:cubicBezTo>
                  <a:cubicBezTo>
                    <a:pt x="205" y="140"/>
                    <a:pt x="206" y="141"/>
                    <a:pt x="207" y="141"/>
                  </a:cubicBezTo>
                  <a:cubicBezTo>
                    <a:pt x="207" y="141"/>
                    <a:pt x="208" y="141"/>
                    <a:pt x="208" y="141"/>
                  </a:cubicBezTo>
                  <a:cubicBezTo>
                    <a:pt x="209" y="141"/>
                    <a:pt x="209" y="141"/>
                    <a:pt x="209" y="141"/>
                  </a:cubicBezTo>
                  <a:cubicBezTo>
                    <a:pt x="209" y="141"/>
                    <a:pt x="209" y="141"/>
                    <a:pt x="210" y="141"/>
                  </a:cubicBezTo>
                  <a:cubicBezTo>
                    <a:pt x="210" y="141"/>
                    <a:pt x="210" y="142"/>
                    <a:pt x="210" y="142"/>
                  </a:cubicBezTo>
                  <a:cubicBezTo>
                    <a:pt x="213" y="144"/>
                    <a:pt x="213" y="144"/>
                    <a:pt x="213" y="144"/>
                  </a:cubicBezTo>
                  <a:cubicBezTo>
                    <a:pt x="213" y="141"/>
                    <a:pt x="213" y="141"/>
                    <a:pt x="213" y="141"/>
                  </a:cubicBezTo>
                  <a:cubicBezTo>
                    <a:pt x="214" y="139"/>
                    <a:pt x="214" y="137"/>
                    <a:pt x="213" y="135"/>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75" name="Freeform 75">
              <a:extLst>
                <a:ext uri="{FF2B5EF4-FFF2-40B4-BE49-F238E27FC236}">
                  <a16:creationId xmlns:a16="http://schemas.microsoft.com/office/drawing/2014/main" id="{EE8D4777-6ADB-4131-BDAF-2536184DF083}"/>
                </a:ext>
              </a:extLst>
            </p:cNvPr>
            <p:cNvSpPr>
              <a:spLocks/>
            </p:cNvSpPr>
            <p:nvPr/>
          </p:nvSpPr>
          <p:spPr bwMode="auto">
            <a:xfrm>
              <a:off x="1232190" y="313911"/>
              <a:ext cx="699746" cy="507511"/>
            </a:xfrm>
            <a:custGeom>
              <a:avLst/>
              <a:gdLst>
                <a:gd name="T0" fmla="*/ 336 w 346"/>
                <a:gd name="T1" fmla="*/ 100 h 272"/>
                <a:gd name="T2" fmla="*/ 332 w 346"/>
                <a:gd name="T3" fmla="*/ 83 h 272"/>
                <a:gd name="T4" fmla="*/ 331 w 346"/>
                <a:gd name="T5" fmla="*/ 70 h 272"/>
                <a:gd name="T6" fmla="*/ 329 w 346"/>
                <a:gd name="T7" fmla="*/ 48 h 272"/>
                <a:gd name="T8" fmla="*/ 330 w 346"/>
                <a:gd name="T9" fmla="*/ 42 h 272"/>
                <a:gd name="T10" fmla="*/ 322 w 346"/>
                <a:gd name="T11" fmla="*/ 33 h 272"/>
                <a:gd name="T12" fmla="*/ 317 w 346"/>
                <a:gd name="T13" fmla="*/ 26 h 272"/>
                <a:gd name="T14" fmla="*/ 307 w 346"/>
                <a:gd name="T15" fmla="*/ 25 h 272"/>
                <a:gd name="T16" fmla="*/ 295 w 346"/>
                <a:gd name="T17" fmla="*/ 17 h 272"/>
                <a:gd name="T18" fmla="*/ 289 w 346"/>
                <a:gd name="T19" fmla="*/ 22 h 272"/>
                <a:gd name="T20" fmla="*/ 276 w 346"/>
                <a:gd name="T21" fmla="*/ 22 h 272"/>
                <a:gd name="T22" fmla="*/ 269 w 346"/>
                <a:gd name="T23" fmla="*/ 21 h 272"/>
                <a:gd name="T24" fmla="*/ 243 w 346"/>
                <a:gd name="T25" fmla="*/ 16 h 272"/>
                <a:gd name="T26" fmla="*/ 234 w 346"/>
                <a:gd name="T27" fmla="*/ 2 h 272"/>
                <a:gd name="T28" fmla="*/ 226 w 346"/>
                <a:gd name="T29" fmla="*/ 1 h 272"/>
                <a:gd name="T30" fmla="*/ 217 w 346"/>
                <a:gd name="T31" fmla="*/ 5 h 272"/>
                <a:gd name="T32" fmla="*/ 205 w 346"/>
                <a:gd name="T33" fmla="*/ 30 h 272"/>
                <a:gd name="T34" fmla="*/ 189 w 346"/>
                <a:gd name="T35" fmla="*/ 59 h 272"/>
                <a:gd name="T36" fmla="*/ 158 w 346"/>
                <a:gd name="T37" fmla="*/ 78 h 272"/>
                <a:gd name="T38" fmla="*/ 138 w 346"/>
                <a:gd name="T39" fmla="*/ 91 h 272"/>
                <a:gd name="T40" fmla="*/ 127 w 346"/>
                <a:gd name="T41" fmla="*/ 101 h 272"/>
                <a:gd name="T42" fmla="*/ 115 w 346"/>
                <a:gd name="T43" fmla="*/ 126 h 272"/>
                <a:gd name="T44" fmla="*/ 103 w 346"/>
                <a:gd name="T45" fmla="*/ 142 h 272"/>
                <a:gd name="T46" fmla="*/ 99 w 346"/>
                <a:gd name="T47" fmla="*/ 166 h 272"/>
                <a:gd name="T48" fmla="*/ 103 w 346"/>
                <a:gd name="T49" fmla="*/ 179 h 272"/>
                <a:gd name="T50" fmla="*/ 97 w 346"/>
                <a:gd name="T51" fmla="*/ 201 h 272"/>
                <a:gd name="T52" fmla="*/ 82 w 346"/>
                <a:gd name="T53" fmla="*/ 220 h 272"/>
                <a:gd name="T54" fmla="*/ 72 w 346"/>
                <a:gd name="T55" fmla="*/ 230 h 272"/>
                <a:gd name="T56" fmla="*/ 51 w 346"/>
                <a:gd name="T57" fmla="*/ 248 h 272"/>
                <a:gd name="T58" fmla="*/ 42 w 346"/>
                <a:gd name="T59" fmla="*/ 252 h 272"/>
                <a:gd name="T60" fmla="*/ 25 w 346"/>
                <a:gd name="T61" fmla="*/ 258 h 272"/>
                <a:gd name="T62" fmla="*/ 2 w 346"/>
                <a:gd name="T63" fmla="*/ 269 h 272"/>
                <a:gd name="T64" fmla="*/ 131 w 346"/>
                <a:gd name="T65" fmla="*/ 238 h 272"/>
                <a:gd name="T66" fmla="*/ 146 w 346"/>
                <a:gd name="T67" fmla="*/ 228 h 272"/>
                <a:gd name="T68" fmla="*/ 162 w 346"/>
                <a:gd name="T69" fmla="*/ 218 h 272"/>
                <a:gd name="T70" fmla="*/ 176 w 346"/>
                <a:gd name="T71" fmla="*/ 209 h 272"/>
                <a:gd name="T72" fmla="*/ 188 w 346"/>
                <a:gd name="T73" fmla="*/ 209 h 272"/>
                <a:gd name="T74" fmla="*/ 204 w 346"/>
                <a:gd name="T75" fmla="*/ 201 h 272"/>
                <a:gd name="T76" fmla="*/ 224 w 346"/>
                <a:gd name="T77" fmla="*/ 197 h 272"/>
                <a:gd name="T78" fmla="*/ 245 w 346"/>
                <a:gd name="T79" fmla="*/ 177 h 272"/>
                <a:gd name="T80" fmla="*/ 257 w 346"/>
                <a:gd name="T81" fmla="*/ 173 h 272"/>
                <a:gd name="T82" fmla="*/ 270 w 346"/>
                <a:gd name="T83" fmla="*/ 165 h 272"/>
                <a:gd name="T84" fmla="*/ 270 w 346"/>
                <a:gd name="T85" fmla="*/ 156 h 272"/>
                <a:gd name="T86" fmla="*/ 269 w 346"/>
                <a:gd name="T87" fmla="*/ 142 h 272"/>
                <a:gd name="T88" fmla="*/ 279 w 346"/>
                <a:gd name="T89" fmla="*/ 141 h 272"/>
                <a:gd name="T90" fmla="*/ 292 w 346"/>
                <a:gd name="T91" fmla="*/ 137 h 272"/>
                <a:gd name="T92" fmla="*/ 295 w 346"/>
                <a:gd name="T93" fmla="*/ 133 h 272"/>
                <a:gd name="T94" fmla="*/ 311 w 346"/>
                <a:gd name="T95" fmla="*/ 125 h 272"/>
                <a:gd name="T96" fmla="*/ 322 w 346"/>
                <a:gd name="T97" fmla="*/ 126 h 272"/>
                <a:gd name="T98" fmla="*/ 341 w 346"/>
                <a:gd name="T99" fmla="*/ 125 h 272"/>
                <a:gd name="T100" fmla="*/ 343 w 346"/>
                <a:gd name="T101" fmla="*/ 11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6" h="272">
                  <a:moveTo>
                    <a:pt x="343" y="110"/>
                  </a:moveTo>
                  <a:cubicBezTo>
                    <a:pt x="342" y="108"/>
                    <a:pt x="341" y="108"/>
                    <a:pt x="340" y="107"/>
                  </a:cubicBezTo>
                  <a:cubicBezTo>
                    <a:pt x="338" y="106"/>
                    <a:pt x="337" y="106"/>
                    <a:pt x="337" y="105"/>
                  </a:cubicBezTo>
                  <a:cubicBezTo>
                    <a:pt x="336" y="104"/>
                    <a:pt x="336" y="102"/>
                    <a:pt x="336" y="100"/>
                  </a:cubicBezTo>
                  <a:cubicBezTo>
                    <a:pt x="336" y="98"/>
                    <a:pt x="336" y="96"/>
                    <a:pt x="335" y="95"/>
                  </a:cubicBezTo>
                  <a:cubicBezTo>
                    <a:pt x="334" y="93"/>
                    <a:pt x="334" y="93"/>
                    <a:pt x="333" y="92"/>
                  </a:cubicBezTo>
                  <a:cubicBezTo>
                    <a:pt x="332" y="91"/>
                    <a:pt x="331" y="90"/>
                    <a:pt x="331" y="87"/>
                  </a:cubicBezTo>
                  <a:cubicBezTo>
                    <a:pt x="331" y="86"/>
                    <a:pt x="331" y="84"/>
                    <a:pt x="332" y="83"/>
                  </a:cubicBezTo>
                  <a:cubicBezTo>
                    <a:pt x="333" y="81"/>
                    <a:pt x="333" y="80"/>
                    <a:pt x="333" y="78"/>
                  </a:cubicBezTo>
                  <a:cubicBezTo>
                    <a:pt x="333" y="77"/>
                    <a:pt x="333" y="77"/>
                    <a:pt x="332" y="76"/>
                  </a:cubicBezTo>
                  <a:cubicBezTo>
                    <a:pt x="332" y="75"/>
                    <a:pt x="331" y="74"/>
                    <a:pt x="331" y="73"/>
                  </a:cubicBezTo>
                  <a:cubicBezTo>
                    <a:pt x="331" y="72"/>
                    <a:pt x="331" y="71"/>
                    <a:pt x="331" y="70"/>
                  </a:cubicBezTo>
                  <a:cubicBezTo>
                    <a:pt x="331" y="69"/>
                    <a:pt x="331" y="69"/>
                    <a:pt x="331" y="68"/>
                  </a:cubicBezTo>
                  <a:cubicBezTo>
                    <a:pt x="331" y="66"/>
                    <a:pt x="331" y="64"/>
                    <a:pt x="331" y="61"/>
                  </a:cubicBezTo>
                  <a:cubicBezTo>
                    <a:pt x="331" y="60"/>
                    <a:pt x="331" y="58"/>
                    <a:pt x="330" y="57"/>
                  </a:cubicBezTo>
                  <a:cubicBezTo>
                    <a:pt x="330" y="53"/>
                    <a:pt x="330" y="51"/>
                    <a:pt x="329" y="48"/>
                  </a:cubicBezTo>
                  <a:cubicBezTo>
                    <a:pt x="329" y="47"/>
                    <a:pt x="329" y="47"/>
                    <a:pt x="329" y="47"/>
                  </a:cubicBezTo>
                  <a:cubicBezTo>
                    <a:pt x="329" y="46"/>
                    <a:pt x="329" y="46"/>
                    <a:pt x="329" y="45"/>
                  </a:cubicBezTo>
                  <a:cubicBezTo>
                    <a:pt x="329" y="44"/>
                    <a:pt x="329" y="44"/>
                    <a:pt x="329" y="44"/>
                  </a:cubicBezTo>
                  <a:cubicBezTo>
                    <a:pt x="329" y="43"/>
                    <a:pt x="329" y="43"/>
                    <a:pt x="330" y="42"/>
                  </a:cubicBezTo>
                  <a:cubicBezTo>
                    <a:pt x="330" y="42"/>
                    <a:pt x="330" y="41"/>
                    <a:pt x="330" y="40"/>
                  </a:cubicBezTo>
                  <a:cubicBezTo>
                    <a:pt x="330" y="39"/>
                    <a:pt x="330" y="39"/>
                    <a:pt x="330" y="39"/>
                  </a:cubicBezTo>
                  <a:cubicBezTo>
                    <a:pt x="329" y="38"/>
                    <a:pt x="329" y="38"/>
                    <a:pt x="329" y="38"/>
                  </a:cubicBezTo>
                  <a:cubicBezTo>
                    <a:pt x="326" y="37"/>
                    <a:pt x="324" y="35"/>
                    <a:pt x="322" y="33"/>
                  </a:cubicBezTo>
                  <a:cubicBezTo>
                    <a:pt x="320" y="31"/>
                    <a:pt x="320" y="30"/>
                    <a:pt x="319" y="28"/>
                  </a:cubicBezTo>
                  <a:cubicBezTo>
                    <a:pt x="319" y="27"/>
                    <a:pt x="319" y="27"/>
                    <a:pt x="319" y="27"/>
                  </a:cubicBezTo>
                  <a:cubicBezTo>
                    <a:pt x="318" y="26"/>
                    <a:pt x="318" y="26"/>
                    <a:pt x="318" y="26"/>
                  </a:cubicBezTo>
                  <a:cubicBezTo>
                    <a:pt x="318" y="26"/>
                    <a:pt x="317" y="26"/>
                    <a:pt x="317" y="26"/>
                  </a:cubicBezTo>
                  <a:cubicBezTo>
                    <a:pt x="316" y="25"/>
                    <a:pt x="314" y="25"/>
                    <a:pt x="313" y="25"/>
                  </a:cubicBezTo>
                  <a:cubicBezTo>
                    <a:pt x="312" y="25"/>
                    <a:pt x="312" y="25"/>
                    <a:pt x="312" y="25"/>
                  </a:cubicBezTo>
                  <a:cubicBezTo>
                    <a:pt x="311" y="25"/>
                    <a:pt x="310" y="25"/>
                    <a:pt x="310" y="25"/>
                  </a:cubicBezTo>
                  <a:cubicBezTo>
                    <a:pt x="309" y="25"/>
                    <a:pt x="308" y="25"/>
                    <a:pt x="307" y="25"/>
                  </a:cubicBezTo>
                  <a:cubicBezTo>
                    <a:pt x="307" y="25"/>
                    <a:pt x="306" y="25"/>
                    <a:pt x="305" y="25"/>
                  </a:cubicBezTo>
                  <a:cubicBezTo>
                    <a:pt x="304" y="25"/>
                    <a:pt x="304" y="24"/>
                    <a:pt x="304" y="21"/>
                  </a:cubicBezTo>
                  <a:cubicBezTo>
                    <a:pt x="303" y="18"/>
                    <a:pt x="301" y="16"/>
                    <a:pt x="298" y="16"/>
                  </a:cubicBezTo>
                  <a:cubicBezTo>
                    <a:pt x="297" y="16"/>
                    <a:pt x="295" y="16"/>
                    <a:pt x="295" y="17"/>
                  </a:cubicBezTo>
                  <a:cubicBezTo>
                    <a:pt x="293" y="18"/>
                    <a:pt x="293" y="19"/>
                    <a:pt x="292" y="20"/>
                  </a:cubicBezTo>
                  <a:cubicBezTo>
                    <a:pt x="292" y="20"/>
                    <a:pt x="292" y="20"/>
                    <a:pt x="292" y="20"/>
                  </a:cubicBezTo>
                  <a:cubicBezTo>
                    <a:pt x="292" y="21"/>
                    <a:pt x="291" y="21"/>
                    <a:pt x="290" y="21"/>
                  </a:cubicBezTo>
                  <a:cubicBezTo>
                    <a:pt x="290" y="21"/>
                    <a:pt x="289" y="21"/>
                    <a:pt x="289" y="22"/>
                  </a:cubicBezTo>
                  <a:cubicBezTo>
                    <a:pt x="288" y="22"/>
                    <a:pt x="287" y="22"/>
                    <a:pt x="285" y="22"/>
                  </a:cubicBezTo>
                  <a:cubicBezTo>
                    <a:pt x="284" y="22"/>
                    <a:pt x="283" y="22"/>
                    <a:pt x="282" y="22"/>
                  </a:cubicBezTo>
                  <a:cubicBezTo>
                    <a:pt x="281" y="22"/>
                    <a:pt x="280" y="21"/>
                    <a:pt x="278" y="21"/>
                  </a:cubicBezTo>
                  <a:cubicBezTo>
                    <a:pt x="278" y="21"/>
                    <a:pt x="277" y="21"/>
                    <a:pt x="276" y="22"/>
                  </a:cubicBezTo>
                  <a:cubicBezTo>
                    <a:pt x="275" y="22"/>
                    <a:pt x="275" y="22"/>
                    <a:pt x="275" y="22"/>
                  </a:cubicBezTo>
                  <a:cubicBezTo>
                    <a:pt x="274" y="22"/>
                    <a:pt x="274" y="22"/>
                    <a:pt x="273" y="22"/>
                  </a:cubicBezTo>
                  <a:cubicBezTo>
                    <a:pt x="272" y="21"/>
                    <a:pt x="271" y="21"/>
                    <a:pt x="270" y="21"/>
                  </a:cubicBezTo>
                  <a:cubicBezTo>
                    <a:pt x="270" y="21"/>
                    <a:pt x="269" y="21"/>
                    <a:pt x="269" y="21"/>
                  </a:cubicBezTo>
                  <a:cubicBezTo>
                    <a:pt x="268" y="22"/>
                    <a:pt x="266" y="22"/>
                    <a:pt x="265" y="22"/>
                  </a:cubicBezTo>
                  <a:cubicBezTo>
                    <a:pt x="263" y="23"/>
                    <a:pt x="262" y="23"/>
                    <a:pt x="260" y="23"/>
                  </a:cubicBezTo>
                  <a:cubicBezTo>
                    <a:pt x="259" y="23"/>
                    <a:pt x="259" y="23"/>
                    <a:pt x="258" y="23"/>
                  </a:cubicBezTo>
                  <a:cubicBezTo>
                    <a:pt x="253" y="23"/>
                    <a:pt x="248" y="21"/>
                    <a:pt x="243" y="16"/>
                  </a:cubicBezTo>
                  <a:cubicBezTo>
                    <a:pt x="242" y="15"/>
                    <a:pt x="242" y="15"/>
                    <a:pt x="241" y="14"/>
                  </a:cubicBezTo>
                  <a:cubicBezTo>
                    <a:pt x="239" y="12"/>
                    <a:pt x="238" y="11"/>
                    <a:pt x="237" y="9"/>
                  </a:cubicBezTo>
                  <a:cubicBezTo>
                    <a:pt x="236" y="8"/>
                    <a:pt x="236" y="8"/>
                    <a:pt x="236" y="7"/>
                  </a:cubicBezTo>
                  <a:cubicBezTo>
                    <a:pt x="236" y="5"/>
                    <a:pt x="235" y="4"/>
                    <a:pt x="234" y="2"/>
                  </a:cubicBezTo>
                  <a:cubicBezTo>
                    <a:pt x="233" y="1"/>
                    <a:pt x="231" y="0"/>
                    <a:pt x="230" y="0"/>
                  </a:cubicBezTo>
                  <a:cubicBezTo>
                    <a:pt x="229" y="0"/>
                    <a:pt x="228" y="1"/>
                    <a:pt x="227" y="1"/>
                  </a:cubicBezTo>
                  <a:cubicBezTo>
                    <a:pt x="227" y="1"/>
                    <a:pt x="227" y="1"/>
                    <a:pt x="227" y="1"/>
                  </a:cubicBezTo>
                  <a:cubicBezTo>
                    <a:pt x="227" y="1"/>
                    <a:pt x="227" y="1"/>
                    <a:pt x="226" y="1"/>
                  </a:cubicBezTo>
                  <a:cubicBezTo>
                    <a:pt x="226" y="1"/>
                    <a:pt x="226" y="1"/>
                    <a:pt x="225" y="1"/>
                  </a:cubicBezTo>
                  <a:cubicBezTo>
                    <a:pt x="225" y="1"/>
                    <a:pt x="224" y="1"/>
                    <a:pt x="224" y="1"/>
                  </a:cubicBezTo>
                  <a:cubicBezTo>
                    <a:pt x="223" y="1"/>
                    <a:pt x="222" y="1"/>
                    <a:pt x="222" y="2"/>
                  </a:cubicBezTo>
                  <a:cubicBezTo>
                    <a:pt x="220" y="2"/>
                    <a:pt x="219" y="4"/>
                    <a:pt x="217" y="5"/>
                  </a:cubicBezTo>
                  <a:cubicBezTo>
                    <a:pt x="216" y="7"/>
                    <a:pt x="215" y="9"/>
                    <a:pt x="214" y="11"/>
                  </a:cubicBezTo>
                  <a:cubicBezTo>
                    <a:pt x="214" y="12"/>
                    <a:pt x="213" y="13"/>
                    <a:pt x="213" y="14"/>
                  </a:cubicBezTo>
                  <a:cubicBezTo>
                    <a:pt x="211" y="17"/>
                    <a:pt x="210" y="20"/>
                    <a:pt x="208" y="24"/>
                  </a:cubicBezTo>
                  <a:cubicBezTo>
                    <a:pt x="207" y="26"/>
                    <a:pt x="206" y="28"/>
                    <a:pt x="205" y="30"/>
                  </a:cubicBezTo>
                  <a:cubicBezTo>
                    <a:pt x="203" y="34"/>
                    <a:pt x="202" y="37"/>
                    <a:pt x="200" y="41"/>
                  </a:cubicBezTo>
                  <a:cubicBezTo>
                    <a:pt x="199" y="44"/>
                    <a:pt x="196" y="48"/>
                    <a:pt x="194" y="51"/>
                  </a:cubicBezTo>
                  <a:cubicBezTo>
                    <a:pt x="193" y="53"/>
                    <a:pt x="191" y="55"/>
                    <a:pt x="190" y="56"/>
                  </a:cubicBezTo>
                  <a:cubicBezTo>
                    <a:pt x="190" y="57"/>
                    <a:pt x="189" y="58"/>
                    <a:pt x="189" y="59"/>
                  </a:cubicBezTo>
                  <a:cubicBezTo>
                    <a:pt x="188" y="61"/>
                    <a:pt x="187" y="63"/>
                    <a:pt x="185" y="64"/>
                  </a:cubicBezTo>
                  <a:cubicBezTo>
                    <a:pt x="182" y="66"/>
                    <a:pt x="179" y="68"/>
                    <a:pt x="176" y="69"/>
                  </a:cubicBezTo>
                  <a:cubicBezTo>
                    <a:pt x="174" y="70"/>
                    <a:pt x="174" y="70"/>
                    <a:pt x="174" y="70"/>
                  </a:cubicBezTo>
                  <a:cubicBezTo>
                    <a:pt x="169" y="73"/>
                    <a:pt x="163" y="75"/>
                    <a:pt x="158" y="78"/>
                  </a:cubicBezTo>
                  <a:cubicBezTo>
                    <a:pt x="155" y="79"/>
                    <a:pt x="155" y="79"/>
                    <a:pt x="155" y="79"/>
                  </a:cubicBezTo>
                  <a:cubicBezTo>
                    <a:pt x="152" y="81"/>
                    <a:pt x="149" y="83"/>
                    <a:pt x="146" y="83"/>
                  </a:cubicBezTo>
                  <a:cubicBezTo>
                    <a:pt x="142" y="84"/>
                    <a:pt x="141" y="87"/>
                    <a:pt x="139" y="89"/>
                  </a:cubicBezTo>
                  <a:cubicBezTo>
                    <a:pt x="139" y="89"/>
                    <a:pt x="138" y="90"/>
                    <a:pt x="138" y="91"/>
                  </a:cubicBezTo>
                  <a:cubicBezTo>
                    <a:pt x="137" y="92"/>
                    <a:pt x="136" y="93"/>
                    <a:pt x="135" y="94"/>
                  </a:cubicBezTo>
                  <a:cubicBezTo>
                    <a:pt x="133" y="94"/>
                    <a:pt x="132" y="95"/>
                    <a:pt x="131" y="97"/>
                  </a:cubicBezTo>
                  <a:cubicBezTo>
                    <a:pt x="131" y="97"/>
                    <a:pt x="130" y="98"/>
                    <a:pt x="130" y="98"/>
                  </a:cubicBezTo>
                  <a:cubicBezTo>
                    <a:pt x="129" y="99"/>
                    <a:pt x="128" y="101"/>
                    <a:pt x="127" y="101"/>
                  </a:cubicBezTo>
                  <a:cubicBezTo>
                    <a:pt x="125" y="102"/>
                    <a:pt x="125" y="102"/>
                    <a:pt x="125" y="102"/>
                  </a:cubicBezTo>
                  <a:cubicBezTo>
                    <a:pt x="123" y="105"/>
                    <a:pt x="120" y="107"/>
                    <a:pt x="119" y="110"/>
                  </a:cubicBezTo>
                  <a:cubicBezTo>
                    <a:pt x="118" y="114"/>
                    <a:pt x="117" y="118"/>
                    <a:pt x="117" y="121"/>
                  </a:cubicBezTo>
                  <a:cubicBezTo>
                    <a:pt x="117" y="123"/>
                    <a:pt x="116" y="124"/>
                    <a:pt x="115" y="126"/>
                  </a:cubicBezTo>
                  <a:cubicBezTo>
                    <a:pt x="114" y="127"/>
                    <a:pt x="114" y="127"/>
                    <a:pt x="114" y="127"/>
                  </a:cubicBezTo>
                  <a:cubicBezTo>
                    <a:pt x="113" y="129"/>
                    <a:pt x="112" y="130"/>
                    <a:pt x="110" y="132"/>
                  </a:cubicBezTo>
                  <a:cubicBezTo>
                    <a:pt x="108" y="133"/>
                    <a:pt x="106" y="136"/>
                    <a:pt x="105" y="138"/>
                  </a:cubicBezTo>
                  <a:cubicBezTo>
                    <a:pt x="104" y="139"/>
                    <a:pt x="103" y="141"/>
                    <a:pt x="103" y="142"/>
                  </a:cubicBezTo>
                  <a:cubicBezTo>
                    <a:pt x="102" y="143"/>
                    <a:pt x="102" y="144"/>
                    <a:pt x="102" y="145"/>
                  </a:cubicBezTo>
                  <a:cubicBezTo>
                    <a:pt x="101" y="146"/>
                    <a:pt x="101" y="146"/>
                    <a:pt x="101" y="146"/>
                  </a:cubicBezTo>
                  <a:cubicBezTo>
                    <a:pt x="100" y="148"/>
                    <a:pt x="99" y="150"/>
                    <a:pt x="99" y="152"/>
                  </a:cubicBezTo>
                  <a:cubicBezTo>
                    <a:pt x="97" y="157"/>
                    <a:pt x="98" y="162"/>
                    <a:pt x="99" y="166"/>
                  </a:cubicBezTo>
                  <a:cubicBezTo>
                    <a:pt x="99" y="168"/>
                    <a:pt x="99" y="168"/>
                    <a:pt x="99" y="168"/>
                  </a:cubicBezTo>
                  <a:cubicBezTo>
                    <a:pt x="99" y="168"/>
                    <a:pt x="99" y="169"/>
                    <a:pt x="99" y="169"/>
                  </a:cubicBezTo>
                  <a:cubicBezTo>
                    <a:pt x="100" y="171"/>
                    <a:pt x="100" y="172"/>
                    <a:pt x="100" y="174"/>
                  </a:cubicBezTo>
                  <a:cubicBezTo>
                    <a:pt x="101" y="176"/>
                    <a:pt x="102" y="178"/>
                    <a:pt x="103" y="179"/>
                  </a:cubicBezTo>
                  <a:cubicBezTo>
                    <a:pt x="104" y="180"/>
                    <a:pt x="104" y="180"/>
                    <a:pt x="104" y="180"/>
                  </a:cubicBezTo>
                  <a:cubicBezTo>
                    <a:pt x="105" y="181"/>
                    <a:pt x="105" y="183"/>
                    <a:pt x="105" y="185"/>
                  </a:cubicBezTo>
                  <a:cubicBezTo>
                    <a:pt x="105" y="188"/>
                    <a:pt x="103" y="193"/>
                    <a:pt x="101" y="197"/>
                  </a:cubicBezTo>
                  <a:cubicBezTo>
                    <a:pt x="100" y="198"/>
                    <a:pt x="98" y="200"/>
                    <a:pt x="97" y="201"/>
                  </a:cubicBezTo>
                  <a:cubicBezTo>
                    <a:pt x="95" y="203"/>
                    <a:pt x="94" y="204"/>
                    <a:pt x="93" y="206"/>
                  </a:cubicBezTo>
                  <a:cubicBezTo>
                    <a:pt x="92" y="207"/>
                    <a:pt x="91" y="208"/>
                    <a:pt x="91" y="209"/>
                  </a:cubicBezTo>
                  <a:cubicBezTo>
                    <a:pt x="89" y="212"/>
                    <a:pt x="87" y="214"/>
                    <a:pt x="85" y="217"/>
                  </a:cubicBezTo>
                  <a:cubicBezTo>
                    <a:pt x="84" y="218"/>
                    <a:pt x="83" y="219"/>
                    <a:pt x="82" y="220"/>
                  </a:cubicBezTo>
                  <a:cubicBezTo>
                    <a:pt x="81" y="221"/>
                    <a:pt x="80" y="222"/>
                    <a:pt x="79" y="224"/>
                  </a:cubicBezTo>
                  <a:cubicBezTo>
                    <a:pt x="78" y="224"/>
                    <a:pt x="78" y="225"/>
                    <a:pt x="77" y="225"/>
                  </a:cubicBezTo>
                  <a:cubicBezTo>
                    <a:pt x="76" y="227"/>
                    <a:pt x="75" y="228"/>
                    <a:pt x="73" y="229"/>
                  </a:cubicBezTo>
                  <a:cubicBezTo>
                    <a:pt x="73" y="229"/>
                    <a:pt x="72" y="229"/>
                    <a:pt x="72" y="230"/>
                  </a:cubicBezTo>
                  <a:cubicBezTo>
                    <a:pt x="71" y="230"/>
                    <a:pt x="70" y="230"/>
                    <a:pt x="69" y="231"/>
                  </a:cubicBezTo>
                  <a:cubicBezTo>
                    <a:pt x="65" y="233"/>
                    <a:pt x="62" y="236"/>
                    <a:pt x="59" y="240"/>
                  </a:cubicBezTo>
                  <a:cubicBezTo>
                    <a:pt x="57" y="242"/>
                    <a:pt x="55" y="245"/>
                    <a:pt x="52" y="247"/>
                  </a:cubicBezTo>
                  <a:cubicBezTo>
                    <a:pt x="52" y="247"/>
                    <a:pt x="52" y="248"/>
                    <a:pt x="51" y="248"/>
                  </a:cubicBezTo>
                  <a:cubicBezTo>
                    <a:pt x="51" y="249"/>
                    <a:pt x="50" y="249"/>
                    <a:pt x="50" y="249"/>
                  </a:cubicBezTo>
                  <a:cubicBezTo>
                    <a:pt x="49" y="250"/>
                    <a:pt x="48" y="250"/>
                    <a:pt x="48" y="250"/>
                  </a:cubicBezTo>
                  <a:cubicBezTo>
                    <a:pt x="47" y="250"/>
                    <a:pt x="46" y="250"/>
                    <a:pt x="46" y="250"/>
                  </a:cubicBezTo>
                  <a:cubicBezTo>
                    <a:pt x="44" y="251"/>
                    <a:pt x="43" y="252"/>
                    <a:pt x="42" y="252"/>
                  </a:cubicBezTo>
                  <a:cubicBezTo>
                    <a:pt x="41" y="253"/>
                    <a:pt x="40" y="253"/>
                    <a:pt x="38" y="253"/>
                  </a:cubicBezTo>
                  <a:cubicBezTo>
                    <a:pt x="37" y="254"/>
                    <a:pt x="36" y="255"/>
                    <a:pt x="35" y="255"/>
                  </a:cubicBezTo>
                  <a:cubicBezTo>
                    <a:pt x="34" y="256"/>
                    <a:pt x="33" y="256"/>
                    <a:pt x="32" y="257"/>
                  </a:cubicBezTo>
                  <a:cubicBezTo>
                    <a:pt x="30" y="257"/>
                    <a:pt x="27" y="257"/>
                    <a:pt x="25" y="258"/>
                  </a:cubicBezTo>
                  <a:cubicBezTo>
                    <a:pt x="22" y="258"/>
                    <a:pt x="20" y="259"/>
                    <a:pt x="17" y="259"/>
                  </a:cubicBezTo>
                  <a:cubicBezTo>
                    <a:pt x="13" y="259"/>
                    <a:pt x="11" y="261"/>
                    <a:pt x="8" y="263"/>
                  </a:cubicBezTo>
                  <a:cubicBezTo>
                    <a:pt x="7" y="264"/>
                    <a:pt x="7" y="265"/>
                    <a:pt x="6" y="265"/>
                  </a:cubicBezTo>
                  <a:cubicBezTo>
                    <a:pt x="5" y="266"/>
                    <a:pt x="3" y="267"/>
                    <a:pt x="2" y="269"/>
                  </a:cubicBezTo>
                  <a:cubicBezTo>
                    <a:pt x="0" y="272"/>
                    <a:pt x="0" y="272"/>
                    <a:pt x="0" y="272"/>
                  </a:cubicBezTo>
                  <a:cubicBezTo>
                    <a:pt x="130" y="272"/>
                    <a:pt x="130" y="272"/>
                    <a:pt x="130" y="272"/>
                  </a:cubicBezTo>
                  <a:cubicBezTo>
                    <a:pt x="131" y="238"/>
                    <a:pt x="131" y="238"/>
                    <a:pt x="131" y="238"/>
                  </a:cubicBezTo>
                  <a:cubicBezTo>
                    <a:pt x="131" y="238"/>
                    <a:pt x="131" y="238"/>
                    <a:pt x="131" y="238"/>
                  </a:cubicBezTo>
                  <a:cubicBezTo>
                    <a:pt x="131" y="238"/>
                    <a:pt x="132" y="238"/>
                    <a:pt x="133" y="237"/>
                  </a:cubicBezTo>
                  <a:cubicBezTo>
                    <a:pt x="134" y="236"/>
                    <a:pt x="136" y="235"/>
                    <a:pt x="138" y="234"/>
                  </a:cubicBezTo>
                  <a:cubicBezTo>
                    <a:pt x="141" y="233"/>
                    <a:pt x="143" y="231"/>
                    <a:pt x="146" y="229"/>
                  </a:cubicBezTo>
                  <a:cubicBezTo>
                    <a:pt x="146" y="228"/>
                    <a:pt x="146" y="228"/>
                    <a:pt x="146" y="228"/>
                  </a:cubicBezTo>
                  <a:cubicBezTo>
                    <a:pt x="147" y="228"/>
                    <a:pt x="147" y="227"/>
                    <a:pt x="148" y="226"/>
                  </a:cubicBezTo>
                  <a:cubicBezTo>
                    <a:pt x="149" y="225"/>
                    <a:pt x="150" y="224"/>
                    <a:pt x="151" y="224"/>
                  </a:cubicBezTo>
                  <a:cubicBezTo>
                    <a:pt x="153" y="222"/>
                    <a:pt x="155" y="220"/>
                    <a:pt x="157" y="219"/>
                  </a:cubicBezTo>
                  <a:cubicBezTo>
                    <a:pt x="159" y="218"/>
                    <a:pt x="160" y="218"/>
                    <a:pt x="162" y="218"/>
                  </a:cubicBezTo>
                  <a:cubicBezTo>
                    <a:pt x="163" y="218"/>
                    <a:pt x="164" y="218"/>
                    <a:pt x="165" y="217"/>
                  </a:cubicBezTo>
                  <a:cubicBezTo>
                    <a:pt x="167" y="217"/>
                    <a:pt x="168" y="215"/>
                    <a:pt x="169" y="213"/>
                  </a:cubicBezTo>
                  <a:cubicBezTo>
                    <a:pt x="169" y="213"/>
                    <a:pt x="169" y="212"/>
                    <a:pt x="170" y="212"/>
                  </a:cubicBezTo>
                  <a:cubicBezTo>
                    <a:pt x="172" y="209"/>
                    <a:pt x="173" y="209"/>
                    <a:pt x="176" y="209"/>
                  </a:cubicBezTo>
                  <a:cubicBezTo>
                    <a:pt x="176" y="209"/>
                    <a:pt x="180" y="209"/>
                    <a:pt x="181" y="209"/>
                  </a:cubicBezTo>
                  <a:cubicBezTo>
                    <a:pt x="182" y="209"/>
                    <a:pt x="183" y="209"/>
                    <a:pt x="184" y="209"/>
                  </a:cubicBezTo>
                  <a:cubicBezTo>
                    <a:pt x="185" y="209"/>
                    <a:pt x="185" y="209"/>
                    <a:pt x="185" y="209"/>
                  </a:cubicBezTo>
                  <a:cubicBezTo>
                    <a:pt x="188" y="209"/>
                    <a:pt x="188" y="209"/>
                    <a:pt x="188" y="209"/>
                  </a:cubicBezTo>
                  <a:cubicBezTo>
                    <a:pt x="189" y="209"/>
                    <a:pt x="191" y="209"/>
                    <a:pt x="192" y="208"/>
                  </a:cubicBezTo>
                  <a:cubicBezTo>
                    <a:pt x="195" y="207"/>
                    <a:pt x="195" y="203"/>
                    <a:pt x="194" y="201"/>
                  </a:cubicBezTo>
                  <a:cubicBezTo>
                    <a:pt x="196" y="201"/>
                    <a:pt x="197" y="201"/>
                    <a:pt x="199" y="201"/>
                  </a:cubicBezTo>
                  <a:cubicBezTo>
                    <a:pt x="201" y="201"/>
                    <a:pt x="202" y="201"/>
                    <a:pt x="204" y="201"/>
                  </a:cubicBezTo>
                  <a:cubicBezTo>
                    <a:pt x="205" y="201"/>
                    <a:pt x="207" y="201"/>
                    <a:pt x="208" y="201"/>
                  </a:cubicBezTo>
                  <a:cubicBezTo>
                    <a:pt x="209" y="201"/>
                    <a:pt x="210" y="201"/>
                    <a:pt x="211" y="201"/>
                  </a:cubicBezTo>
                  <a:cubicBezTo>
                    <a:pt x="212" y="201"/>
                    <a:pt x="212" y="201"/>
                    <a:pt x="213" y="201"/>
                  </a:cubicBezTo>
                  <a:cubicBezTo>
                    <a:pt x="217" y="200"/>
                    <a:pt x="221" y="200"/>
                    <a:pt x="224" y="197"/>
                  </a:cubicBezTo>
                  <a:cubicBezTo>
                    <a:pt x="228" y="194"/>
                    <a:pt x="231" y="190"/>
                    <a:pt x="234" y="186"/>
                  </a:cubicBezTo>
                  <a:cubicBezTo>
                    <a:pt x="234" y="184"/>
                    <a:pt x="237" y="180"/>
                    <a:pt x="239" y="179"/>
                  </a:cubicBezTo>
                  <a:cubicBezTo>
                    <a:pt x="240" y="179"/>
                    <a:pt x="241" y="178"/>
                    <a:pt x="243" y="178"/>
                  </a:cubicBezTo>
                  <a:cubicBezTo>
                    <a:pt x="243" y="178"/>
                    <a:pt x="244" y="178"/>
                    <a:pt x="245" y="177"/>
                  </a:cubicBezTo>
                  <a:cubicBezTo>
                    <a:pt x="245" y="177"/>
                    <a:pt x="246" y="177"/>
                    <a:pt x="247" y="177"/>
                  </a:cubicBezTo>
                  <a:cubicBezTo>
                    <a:pt x="248" y="177"/>
                    <a:pt x="250" y="176"/>
                    <a:pt x="251" y="176"/>
                  </a:cubicBezTo>
                  <a:cubicBezTo>
                    <a:pt x="252" y="175"/>
                    <a:pt x="252" y="175"/>
                    <a:pt x="252" y="175"/>
                  </a:cubicBezTo>
                  <a:cubicBezTo>
                    <a:pt x="254" y="174"/>
                    <a:pt x="255" y="173"/>
                    <a:pt x="257" y="173"/>
                  </a:cubicBezTo>
                  <a:cubicBezTo>
                    <a:pt x="258" y="172"/>
                    <a:pt x="259" y="171"/>
                    <a:pt x="260" y="170"/>
                  </a:cubicBezTo>
                  <a:cubicBezTo>
                    <a:pt x="260" y="169"/>
                    <a:pt x="261" y="168"/>
                    <a:pt x="262" y="168"/>
                  </a:cubicBezTo>
                  <a:cubicBezTo>
                    <a:pt x="264" y="167"/>
                    <a:pt x="266" y="166"/>
                    <a:pt x="269" y="165"/>
                  </a:cubicBezTo>
                  <a:cubicBezTo>
                    <a:pt x="270" y="165"/>
                    <a:pt x="270" y="165"/>
                    <a:pt x="270" y="165"/>
                  </a:cubicBezTo>
                  <a:cubicBezTo>
                    <a:pt x="270" y="165"/>
                    <a:pt x="271" y="165"/>
                    <a:pt x="271" y="165"/>
                  </a:cubicBezTo>
                  <a:cubicBezTo>
                    <a:pt x="273" y="164"/>
                    <a:pt x="275" y="164"/>
                    <a:pt x="275" y="161"/>
                  </a:cubicBezTo>
                  <a:cubicBezTo>
                    <a:pt x="274" y="159"/>
                    <a:pt x="273" y="158"/>
                    <a:pt x="272" y="158"/>
                  </a:cubicBezTo>
                  <a:cubicBezTo>
                    <a:pt x="271" y="157"/>
                    <a:pt x="270" y="157"/>
                    <a:pt x="270" y="156"/>
                  </a:cubicBezTo>
                  <a:cubicBezTo>
                    <a:pt x="269" y="155"/>
                    <a:pt x="269" y="154"/>
                    <a:pt x="270" y="152"/>
                  </a:cubicBezTo>
                  <a:cubicBezTo>
                    <a:pt x="270" y="151"/>
                    <a:pt x="271" y="150"/>
                    <a:pt x="270" y="148"/>
                  </a:cubicBezTo>
                  <a:cubicBezTo>
                    <a:pt x="270" y="147"/>
                    <a:pt x="270" y="147"/>
                    <a:pt x="269" y="146"/>
                  </a:cubicBezTo>
                  <a:cubicBezTo>
                    <a:pt x="269" y="145"/>
                    <a:pt x="268" y="144"/>
                    <a:pt x="269" y="142"/>
                  </a:cubicBezTo>
                  <a:cubicBezTo>
                    <a:pt x="269" y="140"/>
                    <a:pt x="271" y="139"/>
                    <a:pt x="273" y="139"/>
                  </a:cubicBezTo>
                  <a:cubicBezTo>
                    <a:pt x="273" y="139"/>
                    <a:pt x="274" y="139"/>
                    <a:pt x="275" y="140"/>
                  </a:cubicBezTo>
                  <a:cubicBezTo>
                    <a:pt x="275" y="140"/>
                    <a:pt x="276" y="140"/>
                    <a:pt x="276" y="140"/>
                  </a:cubicBezTo>
                  <a:cubicBezTo>
                    <a:pt x="277" y="140"/>
                    <a:pt x="278" y="141"/>
                    <a:pt x="279" y="141"/>
                  </a:cubicBezTo>
                  <a:cubicBezTo>
                    <a:pt x="280" y="141"/>
                    <a:pt x="281" y="141"/>
                    <a:pt x="282" y="140"/>
                  </a:cubicBezTo>
                  <a:cubicBezTo>
                    <a:pt x="283" y="140"/>
                    <a:pt x="284" y="140"/>
                    <a:pt x="285" y="139"/>
                  </a:cubicBezTo>
                  <a:cubicBezTo>
                    <a:pt x="286" y="139"/>
                    <a:pt x="287" y="139"/>
                    <a:pt x="289" y="138"/>
                  </a:cubicBezTo>
                  <a:cubicBezTo>
                    <a:pt x="290" y="138"/>
                    <a:pt x="291" y="137"/>
                    <a:pt x="292" y="137"/>
                  </a:cubicBezTo>
                  <a:cubicBezTo>
                    <a:pt x="292" y="136"/>
                    <a:pt x="293" y="136"/>
                    <a:pt x="294" y="136"/>
                  </a:cubicBezTo>
                  <a:cubicBezTo>
                    <a:pt x="295" y="135"/>
                    <a:pt x="295" y="135"/>
                    <a:pt x="295" y="135"/>
                  </a:cubicBezTo>
                  <a:cubicBezTo>
                    <a:pt x="295" y="134"/>
                    <a:pt x="295" y="134"/>
                    <a:pt x="295" y="134"/>
                  </a:cubicBezTo>
                  <a:cubicBezTo>
                    <a:pt x="295" y="133"/>
                    <a:pt x="295" y="133"/>
                    <a:pt x="295" y="133"/>
                  </a:cubicBezTo>
                  <a:cubicBezTo>
                    <a:pt x="295" y="130"/>
                    <a:pt x="295" y="129"/>
                    <a:pt x="298" y="129"/>
                  </a:cubicBezTo>
                  <a:cubicBezTo>
                    <a:pt x="301" y="128"/>
                    <a:pt x="303" y="128"/>
                    <a:pt x="305" y="127"/>
                  </a:cubicBezTo>
                  <a:cubicBezTo>
                    <a:pt x="307" y="127"/>
                    <a:pt x="309" y="127"/>
                    <a:pt x="311" y="127"/>
                  </a:cubicBezTo>
                  <a:cubicBezTo>
                    <a:pt x="311" y="125"/>
                    <a:pt x="311" y="125"/>
                    <a:pt x="311" y="125"/>
                  </a:cubicBezTo>
                  <a:cubicBezTo>
                    <a:pt x="311" y="127"/>
                    <a:pt x="311" y="127"/>
                    <a:pt x="311" y="127"/>
                  </a:cubicBezTo>
                  <a:cubicBezTo>
                    <a:pt x="312" y="127"/>
                    <a:pt x="312" y="127"/>
                    <a:pt x="313" y="127"/>
                  </a:cubicBezTo>
                  <a:cubicBezTo>
                    <a:pt x="316" y="126"/>
                    <a:pt x="316" y="126"/>
                    <a:pt x="316" y="126"/>
                  </a:cubicBezTo>
                  <a:cubicBezTo>
                    <a:pt x="318" y="126"/>
                    <a:pt x="320" y="126"/>
                    <a:pt x="322" y="126"/>
                  </a:cubicBezTo>
                  <a:cubicBezTo>
                    <a:pt x="325" y="126"/>
                    <a:pt x="327" y="126"/>
                    <a:pt x="329" y="127"/>
                  </a:cubicBezTo>
                  <a:cubicBezTo>
                    <a:pt x="331" y="127"/>
                    <a:pt x="337" y="128"/>
                    <a:pt x="339" y="128"/>
                  </a:cubicBezTo>
                  <a:cubicBezTo>
                    <a:pt x="342" y="128"/>
                    <a:pt x="342" y="128"/>
                    <a:pt x="342" y="128"/>
                  </a:cubicBezTo>
                  <a:cubicBezTo>
                    <a:pt x="341" y="125"/>
                    <a:pt x="341" y="125"/>
                    <a:pt x="341" y="125"/>
                  </a:cubicBezTo>
                  <a:cubicBezTo>
                    <a:pt x="341" y="123"/>
                    <a:pt x="341" y="122"/>
                    <a:pt x="342" y="121"/>
                  </a:cubicBezTo>
                  <a:cubicBezTo>
                    <a:pt x="342" y="120"/>
                    <a:pt x="342" y="119"/>
                    <a:pt x="343" y="119"/>
                  </a:cubicBezTo>
                  <a:cubicBezTo>
                    <a:pt x="344" y="118"/>
                    <a:pt x="344" y="118"/>
                    <a:pt x="344" y="117"/>
                  </a:cubicBezTo>
                  <a:cubicBezTo>
                    <a:pt x="346" y="114"/>
                    <a:pt x="346" y="113"/>
                    <a:pt x="343" y="110"/>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76" name="Freeform 76">
              <a:extLst>
                <a:ext uri="{FF2B5EF4-FFF2-40B4-BE49-F238E27FC236}">
                  <a16:creationId xmlns:a16="http://schemas.microsoft.com/office/drawing/2014/main" id="{21AADA04-DB14-4F4C-84E0-E05C0B2BB61A}"/>
                </a:ext>
              </a:extLst>
            </p:cNvPr>
            <p:cNvSpPr>
              <a:spLocks/>
            </p:cNvSpPr>
            <p:nvPr/>
          </p:nvSpPr>
          <p:spPr bwMode="auto">
            <a:xfrm>
              <a:off x="959881" y="1495364"/>
              <a:ext cx="352663" cy="268138"/>
            </a:xfrm>
            <a:custGeom>
              <a:avLst/>
              <a:gdLst>
                <a:gd name="T0" fmla="*/ 173 w 174"/>
                <a:gd name="T1" fmla="*/ 135 h 144"/>
                <a:gd name="T2" fmla="*/ 172 w 174"/>
                <a:gd name="T3" fmla="*/ 119 h 144"/>
                <a:gd name="T4" fmla="*/ 164 w 174"/>
                <a:gd name="T5" fmla="*/ 108 h 144"/>
                <a:gd name="T6" fmla="*/ 155 w 174"/>
                <a:gd name="T7" fmla="*/ 100 h 144"/>
                <a:gd name="T8" fmla="*/ 157 w 174"/>
                <a:gd name="T9" fmla="*/ 94 h 144"/>
                <a:gd name="T10" fmla="*/ 157 w 174"/>
                <a:gd name="T11" fmla="*/ 92 h 144"/>
                <a:gd name="T12" fmla="*/ 156 w 174"/>
                <a:gd name="T13" fmla="*/ 81 h 144"/>
                <a:gd name="T14" fmla="*/ 153 w 174"/>
                <a:gd name="T15" fmla="*/ 68 h 144"/>
                <a:gd name="T16" fmla="*/ 151 w 174"/>
                <a:gd name="T17" fmla="*/ 64 h 144"/>
                <a:gd name="T18" fmla="*/ 139 w 174"/>
                <a:gd name="T19" fmla="*/ 51 h 144"/>
                <a:gd name="T20" fmla="*/ 130 w 174"/>
                <a:gd name="T21" fmla="*/ 42 h 144"/>
                <a:gd name="T22" fmla="*/ 110 w 174"/>
                <a:gd name="T23" fmla="*/ 18 h 144"/>
                <a:gd name="T24" fmla="*/ 84 w 174"/>
                <a:gd name="T25" fmla="*/ 0 h 144"/>
                <a:gd name="T26" fmla="*/ 50 w 174"/>
                <a:gd name="T27" fmla="*/ 5 h 144"/>
                <a:gd name="T28" fmla="*/ 41 w 174"/>
                <a:gd name="T29" fmla="*/ 4 h 144"/>
                <a:gd name="T30" fmla="*/ 27 w 174"/>
                <a:gd name="T31" fmla="*/ 20 h 144"/>
                <a:gd name="T32" fmla="*/ 24 w 174"/>
                <a:gd name="T33" fmla="*/ 30 h 144"/>
                <a:gd name="T34" fmla="*/ 19 w 174"/>
                <a:gd name="T35" fmla="*/ 40 h 144"/>
                <a:gd name="T36" fmla="*/ 13 w 174"/>
                <a:gd name="T37" fmla="*/ 47 h 144"/>
                <a:gd name="T38" fmla="*/ 4 w 174"/>
                <a:gd name="T39" fmla="*/ 64 h 144"/>
                <a:gd name="T40" fmla="*/ 15 w 174"/>
                <a:gd name="T41" fmla="*/ 81 h 144"/>
                <a:gd name="T42" fmla="*/ 21 w 174"/>
                <a:gd name="T43" fmla="*/ 86 h 144"/>
                <a:gd name="T44" fmla="*/ 21 w 174"/>
                <a:gd name="T45" fmla="*/ 93 h 144"/>
                <a:gd name="T46" fmla="*/ 19 w 174"/>
                <a:gd name="T47" fmla="*/ 99 h 144"/>
                <a:gd name="T48" fmla="*/ 39 w 174"/>
                <a:gd name="T49" fmla="*/ 100 h 144"/>
                <a:gd name="T50" fmla="*/ 67 w 174"/>
                <a:gd name="T51" fmla="*/ 93 h 144"/>
                <a:gd name="T52" fmla="*/ 78 w 174"/>
                <a:gd name="T53" fmla="*/ 99 h 144"/>
                <a:gd name="T54" fmla="*/ 83 w 174"/>
                <a:gd name="T55" fmla="*/ 98 h 144"/>
                <a:gd name="T56" fmla="*/ 87 w 174"/>
                <a:gd name="T57" fmla="*/ 102 h 144"/>
                <a:gd name="T58" fmla="*/ 90 w 174"/>
                <a:gd name="T59" fmla="*/ 106 h 144"/>
                <a:gd name="T60" fmla="*/ 100 w 174"/>
                <a:gd name="T61" fmla="*/ 101 h 144"/>
                <a:gd name="T62" fmla="*/ 100 w 174"/>
                <a:gd name="T63" fmla="*/ 111 h 144"/>
                <a:gd name="T64" fmla="*/ 89 w 174"/>
                <a:gd name="T65" fmla="*/ 113 h 144"/>
                <a:gd name="T66" fmla="*/ 80 w 174"/>
                <a:gd name="T67" fmla="*/ 109 h 144"/>
                <a:gd name="T68" fmla="*/ 70 w 174"/>
                <a:gd name="T69" fmla="*/ 105 h 144"/>
                <a:gd name="T70" fmla="*/ 66 w 174"/>
                <a:gd name="T71" fmla="*/ 103 h 144"/>
                <a:gd name="T72" fmla="*/ 62 w 174"/>
                <a:gd name="T73" fmla="*/ 109 h 144"/>
                <a:gd name="T74" fmla="*/ 48 w 174"/>
                <a:gd name="T75" fmla="*/ 112 h 144"/>
                <a:gd name="T76" fmla="*/ 43 w 174"/>
                <a:gd name="T77" fmla="*/ 116 h 144"/>
                <a:gd name="T78" fmla="*/ 27 w 174"/>
                <a:gd name="T79" fmla="*/ 117 h 144"/>
                <a:gd name="T80" fmla="*/ 20 w 174"/>
                <a:gd name="T81" fmla="*/ 119 h 144"/>
                <a:gd name="T82" fmla="*/ 16 w 174"/>
                <a:gd name="T83" fmla="*/ 122 h 144"/>
                <a:gd name="T84" fmla="*/ 17 w 174"/>
                <a:gd name="T85" fmla="*/ 133 h 144"/>
                <a:gd name="T86" fmla="*/ 21 w 174"/>
                <a:gd name="T87" fmla="*/ 144 h 144"/>
                <a:gd name="T88" fmla="*/ 34 w 174"/>
                <a:gd name="T89" fmla="*/ 138 h 144"/>
                <a:gd name="T90" fmla="*/ 47 w 174"/>
                <a:gd name="T91" fmla="*/ 139 h 144"/>
                <a:gd name="T92" fmla="*/ 73 w 174"/>
                <a:gd name="T93" fmla="*/ 131 h 144"/>
                <a:gd name="T94" fmla="*/ 95 w 174"/>
                <a:gd name="T95" fmla="*/ 131 h 144"/>
                <a:gd name="T96" fmla="*/ 120 w 174"/>
                <a:gd name="T97" fmla="*/ 132 h 144"/>
                <a:gd name="T98" fmla="*/ 126 w 174"/>
                <a:gd name="T99" fmla="*/ 133 h 144"/>
                <a:gd name="T100" fmla="*/ 133 w 174"/>
                <a:gd name="T101" fmla="*/ 137 h 144"/>
                <a:gd name="T102" fmla="*/ 138 w 174"/>
                <a:gd name="T103" fmla="*/ 139 h 144"/>
                <a:gd name="T104" fmla="*/ 140 w 174"/>
                <a:gd name="T105" fmla="*/ 140 h 144"/>
                <a:gd name="T106" fmla="*/ 142 w 174"/>
                <a:gd name="T107" fmla="*/ 140 h 144"/>
                <a:gd name="T108" fmla="*/ 147 w 174"/>
                <a:gd name="T109" fmla="*/ 143 h 144"/>
                <a:gd name="T110" fmla="*/ 156 w 174"/>
                <a:gd name="T111" fmla="*/ 140 h 144"/>
                <a:gd name="T112" fmla="*/ 162 w 174"/>
                <a:gd name="T113" fmla="*/ 140 h 144"/>
                <a:gd name="T114" fmla="*/ 173 w 174"/>
                <a:gd name="T115" fmla="*/ 1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 h="144">
                  <a:moveTo>
                    <a:pt x="173" y="136"/>
                  </a:moveTo>
                  <a:cubicBezTo>
                    <a:pt x="173" y="136"/>
                    <a:pt x="173" y="136"/>
                    <a:pt x="173" y="136"/>
                  </a:cubicBezTo>
                  <a:cubicBezTo>
                    <a:pt x="173" y="136"/>
                    <a:pt x="173" y="135"/>
                    <a:pt x="173" y="135"/>
                  </a:cubicBezTo>
                  <a:cubicBezTo>
                    <a:pt x="173" y="134"/>
                    <a:pt x="172" y="133"/>
                    <a:pt x="173" y="132"/>
                  </a:cubicBezTo>
                  <a:cubicBezTo>
                    <a:pt x="173" y="131"/>
                    <a:pt x="173" y="131"/>
                    <a:pt x="173" y="131"/>
                  </a:cubicBezTo>
                  <a:cubicBezTo>
                    <a:pt x="173" y="126"/>
                    <a:pt x="174" y="123"/>
                    <a:pt x="172" y="119"/>
                  </a:cubicBezTo>
                  <a:cubicBezTo>
                    <a:pt x="171" y="118"/>
                    <a:pt x="171" y="117"/>
                    <a:pt x="171" y="116"/>
                  </a:cubicBezTo>
                  <a:cubicBezTo>
                    <a:pt x="170" y="112"/>
                    <a:pt x="169" y="109"/>
                    <a:pt x="165" y="108"/>
                  </a:cubicBezTo>
                  <a:cubicBezTo>
                    <a:pt x="164" y="108"/>
                    <a:pt x="164" y="108"/>
                    <a:pt x="164" y="108"/>
                  </a:cubicBezTo>
                  <a:cubicBezTo>
                    <a:pt x="162" y="107"/>
                    <a:pt x="161" y="107"/>
                    <a:pt x="160" y="105"/>
                  </a:cubicBezTo>
                  <a:cubicBezTo>
                    <a:pt x="159" y="105"/>
                    <a:pt x="159" y="104"/>
                    <a:pt x="158" y="104"/>
                  </a:cubicBezTo>
                  <a:cubicBezTo>
                    <a:pt x="157" y="102"/>
                    <a:pt x="156" y="101"/>
                    <a:pt x="155" y="100"/>
                  </a:cubicBezTo>
                  <a:cubicBezTo>
                    <a:pt x="155" y="99"/>
                    <a:pt x="155" y="98"/>
                    <a:pt x="155" y="96"/>
                  </a:cubicBezTo>
                  <a:cubicBezTo>
                    <a:pt x="156" y="96"/>
                    <a:pt x="156" y="96"/>
                    <a:pt x="156" y="95"/>
                  </a:cubicBezTo>
                  <a:cubicBezTo>
                    <a:pt x="157" y="95"/>
                    <a:pt x="157" y="94"/>
                    <a:pt x="157" y="94"/>
                  </a:cubicBezTo>
                  <a:cubicBezTo>
                    <a:pt x="157" y="94"/>
                    <a:pt x="157" y="94"/>
                    <a:pt x="157" y="94"/>
                  </a:cubicBezTo>
                  <a:cubicBezTo>
                    <a:pt x="157" y="93"/>
                    <a:pt x="157" y="93"/>
                    <a:pt x="157" y="93"/>
                  </a:cubicBezTo>
                  <a:cubicBezTo>
                    <a:pt x="158" y="93"/>
                    <a:pt x="157" y="93"/>
                    <a:pt x="157" y="92"/>
                  </a:cubicBezTo>
                  <a:cubicBezTo>
                    <a:pt x="157" y="92"/>
                    <a:pt x="157" y="91"/>
                    <a:pt x="157" y="91"/>
                  </a:cubicBezTo>
                  <a:cubicBezTo>
                    <a:pt x="157" y="90"/>
                    <a:pt x="157" y="88"/>
                    <a:pt x="157" y="87"/>
                  </a:cubicBezTo>
                  <a:cubicBezTo>
                    <a:pt x="157" y="85"/>
                    <a:pt x="157" y="83"/>
                    <a:pt x="156" y="81"/>
                  </a:cubicBezTo>
                  <a:cubicBezTo>
                    <a:pt x="155" y="80"/>
                    <a:pt x="155" y="79"/>
                    <a:pt x="154" y="78"/>
                  </a:cubicBezTo>
                  <a:cubicBezTo>
                    <a:pt x="151" y="74"/>
                    <a:pt x="150" y="72"/>
                    <a:pt x="152" y="69"/>
                  </a:cubicBezTo>
                  <a:cubicBezTo>
                    <a:pt x="152" y="68"/>
                    <a:pt x="152" y="68"/>
                    <a:pt x="153" y="68"/>
                  </a:cubicBezTo>
                  <a:cubicBezTo>
                    <a:pt x="154" y="65"/>
                    <a:pt x="154" y="65"/>
                    <a:pt x="154" y="65"/>
                  </a:cubicBezTo>
                  <a:cubicBezTo>
                    <a:pt x="152" y="64"/>
                    <a:pt x="152" y="64"/>
                    <a:pt x="152" y="64"/>
                  </a:cubicBezTo>
                  <a:cubicBezTo>
                    <a:pt x="152" y="64"/>
                    <a:pt x="151" y="64"/>
                    <a:pt x="151" y="64"/>
                  </a:cubicBezTo>
                  <a:cubicBezTo>
                    <a:pt x="149" y="62"/>
                    <a:pt x="147" y="60"/>
                    <a:pt x="145" y="58"/>
                  </a:cubicBezTo>
                  <a:cubicBezTo>
                    <a:pt x="144" y="56"/>
                    <a:pt x="142" y="54"/>
                    <a:pt x="140" y="52"/>
                  </a:cubicBezTo>
                  <a:cubicBezTo>
                    <a:pt x="139" y="52"/>
                    <a:pt x="139" y="52"/>
                    <a:pt x="139" y="51"/>
                  </a:cubicBezTo>
                  <a:cubicBezTo>
                    <a:pt x="137" y="50"/>
                    <a:pt x="136" y="50"/>
                    <a:pt x="134" y="48"/>
                  </a:cubicBezTo>
                  <a:cubicBezTo>
                    <a:pt x="133" y="47"/>
                    <a:pt x="133" y="46"/>
                    <a:pt x="132" y="44"/>
                  </a:cubicBezTo>
                  <a:cubicBezTo>
                    <a:pt x="131" y="43"/>
                    <a:pt x="131" y="43"/>
                    <a:pt x="130" y="42"/>
                  </a:cubicBezTo>
                  <a:cubicBezTo>
                    <a:pt x="129" y="40"/>
                    <a:pt x="128" y="38"/>
                    <a:pt x="126" y="37"/>
                  </a:cubicBezTo>
                  <a:cubicBezTo>
                    <a:pt x="124" y="35"/>
                    <a:pt x="122" y="33"/>
                    <a:pt x="121" y="29"/>
                  </a:cubicBezTo>
                  <a:cubicBezTo>
                    <a:pt x="119" y="22"/>
                    <a:pt x="118" y="19"/>
                    <a:pt x="110" y="18"/>
                  </a:cubicBezTo>
                  <a:cubicBezTo>
                    <a:pt x="104" y="17"/>
                    <a:pt x="102" y="14"/>
                    <a:pt x="99" y="9"/>
                  </a:cubicBezTo>
                  <a:cubicBezTo>
                    <a:pt x="99" y="8"/>
                    <a:pt x="99" y="8"/>
                    <a:pt x="99" y="8"/>
                  </a:cubicBezTo>
                  <a:cubicBezTo>
                    <a:pt x="95" y="2"/>
                    <a:pt x="88" y="0"/>
                    <a:pt x="84" y="0"/>
                  </a:cubicBezTo>
                  <a:cubicBezTo>
                    <a:pt x="83" y="0"/>
                    <a:pt x="82" y="0"/>
                    <a:pt x="81" y="0"/>
                  </a:cubicBezTo>
                  <a:cubicBezTo>
                    <a:pt x="76" y="0"/>
                    <a:pt x="71" y="1"/>
                    <a:pt x="66" y="2"/>
                  </a:cubicBezTo>
                  <a:cubicBezTo>
                    <a:pt x="61" y="4"/>
                    <a:pt x="56" y="5"/>
                    <a:pt x="50" y="5"/>
                  </a:cubicBezTo>
                  <a:cubicBezTo>
                    <a:pt x="49" y="5"/>
                    <a:pt x="48" y="5"/>
                    <a:pt x="47" y="5"/>
                  </a:cubicBezTo>
                  <a:cubicBezTo>
                    <a:pt x="46" y="5"/>
                    <a:pt x="46" y="5"/>
                    <a:pt x="46" y="5"/>
                  </a:cubicBezTo>
                  <a:cubicBezTo>
                    <a:pt x="44" y="5"/>
                    <a:pt x="43" y="4"/>
                    <a:pt x="41" y="4"/>
                  </a:cubicBezTo>
                  <a:cubicBezTo>
                    <a:pt x="37" y="4"/>
                    <a:pt x="35" y="6"/>
                    <a:pt x="33" y="10"/>
                  </a:cubicBezTo>
                  <a:cubicBezTo>
                    <a:pt x="33" y="11"/>
                    <a:pt x="32" y="12"/>
                    <a:pt x="32" y="12"/>
                  </a:cubicBezTo>
                  <a:cubicBezTo>
                    <a:pt x="31" y="16"/>
                    <a:pt x="29" y="19"/>
                    <a:pt x="27" y="20"/>
                  </a:cubicBezTo>
                  <a:cubicBezTo>
                    <a:pt x="25" y="20"/>
                    <a:pt x="25" y="20"/>
                    <a:pt x="25" y="20"/>
                  </a:cubicBezTo>
                  <a:cubicBezTo>
                    <a:pt x="25" y="22"/>
                    <a:pt x="25" y="22"/>
                    <a:pt x="25" y="22"/>
                  </a:cubicBezTo>
                  <a:cubicBezTo>
                    <a:pt x="25" y="24"/>
                    <a:pt x="25" y="27"/>
                    <a:pt x="24" y="30"/>
                  </a:cubicBezTo>
                  <a:cubicBezTo>
                    <a:pt x="24" y="31"/>
                    <a:pt x="23" y="33"/>
                    <a:pt x="22" y="35"/>
                  </a:cubicBezTo>
                  <a:cubicBezTo>
                    <a:pt x="21" y="35"/>
                    <a:pt x="21" y="36"/>
                    <a:pt x="21" y="37"/>
                  </a:cubicBezTo>
                  <a:cubicBezTo>
                    <a:pt x="20" y="38"/>
                    <a:pt x="20" y="39"/>
                    <a:pt x="19" y="40"/>
                  </a:cubicBezTo>
                  <a:cubicBezTo>
                    <a:pt x="18" y="41"/>
                    <a:pt x="18" y="41"/>
                    <a:pt x="18" y="41"/>
                  </a:cubicBezTo>
                  <a:cubicBezTo>
                    <a:pt x="18" y="41"/>
                    <a:pt x="17" y="42"/>
                    <a:pt x="16" y="43"/>
                  </a:cubicBezTo>
                  <a:cubicBezTo>
                    <a:pt x="15" y="44"/>
                    <a:pt x="14" y="46"/>
                    <a:pt x="13" y="47"/>
                  </a:cubicBezTo>
                  <a:cubicBezTo>
                    <a:pt x="12" y="49"/>
                    <a:pt x="10" y="52"/>
                    <a:pt x="8" y="53"/>
                  </a:cubicBezTo>
                  <a:cubicBezTo>
                    <a:pt x="6" y="55"/>
                    <a:pt x="0" y="58"/>
                    <a:pt x="4" y="64"/>
                  </a:cubicBezTo>
                  <a:cubicBezTo>
                    <a:pt x="4" y="64"/>
                    <a:pt x="4" y="64"/>
                    <a:pt x="4" y="64"/>
                  </a:cubicBezTo>
                  <a:cubicBezTo>
                    <a:pt x="6" y="67"/>
                    <a:pt x="8" y="70"/>
                    <a:pt x="10" y="72"/>
                  </a:cubicBezTo>
                  <a:cubicBezTo>
                    <a:pt x="11" y="74"/>
                    <a:pt x="12" y="75"/>
                    <a:pt x="12" y="77"/>
                  </a:cubicBezTo>
                  <a:cubicBezTo>
                    <a:pt x="13" y="78"/>
                    <a:pt x="14" y="80"/>
                    <a:pt x="15" y="81"/>
                  </a:cubicBezTo>
                  <a:cubicBezTo>
                    <a:pt x="15" y="81"/>
                    <a:pt x="15" y="82"/>
                    <a:pt x="15" y="82"/>
                  </a:cubicBezTo>
                  <a:cubicBezTo>
                    <a:pt x="16" y="84"/>
                    <a:pt x="17" y="85"/>
                    <a:pt x="19" y="86"/>
                  </a:cubicBezTo>
                  <a:cubicBezTo>
                    <a:pt x="20" y="86"/>
                    <a:pt x="20" y="86"/>
                    <a:pt x="21" y="86"/>
                  </a:cubicBezTo>
                  <a:cubicBezTo>
                    <a:pt x="22" y="86"/>
                    <a:pt x="22" y="86"/>
                    <a:pt x="23" y="86"/>
                  </a:cubicBezTo>
                  <a:cubicBezTo>
                    <a:pt x="23" y="86"/>
                    <a:pt x="23" y="86"/>
                    <a:pt x="24" y="86"/>
                  </a:cubicBezTo>
                  <a:cubicBezTo>
                    <a:pt x="24" y="89"/>
                    <a:pt x="23" y="90"/>
                    <a:pt x="21" y="93"/>
                  </a:cubicBezTo>
                  <a:cubicBezTo>
                    <a:pt x="20" y="94"/>
                    <a:pt x="20" y="94"/>
                    <a:pt x="20" y="94"/>
                  </a:cubicBezTo>
                  <a:cubicBezTo>
                    <a:pt x="20" y="95"/>
                    <a:pt x="20" y="95"/>
                    <a:pt x="20" y="96"/>
                  </a:cubicBezTo>
                  <a:cubicBezTo>
                    <a:pt x="19" y="99"/>
                    <a:pt x="19" y="99"/>
                    <a:pt x="19" y="99"/>
                  </a:cubicBezTo>
                  <a:cubicBezTo>
                    <a:pt x="22" y="98"/>
                    <a:pt x="22" y="98"/>
                    <a:pt x="22" y="98"/>
                  </a:cubicBezTo>
                  <a:cubicBezTo>
                    <a:pt x="22" y="98"/>
                    <a:pt x="23" y="98"/>
                    <a:pt x="24" y="98"/>
                  </a:cubicBezTo>
                  <a:cubicBezTo>
                    <a:pt x="30" y="98"/>
                    <a:pt x="36" y="99"/>
                    <a:pt x="39" y="100"/>
                  </a:cubicBezTo>
                  <a:cubicBezTo>
                    <a:pt x="41" y="100"/>
                    <a:pt x="43" y="100"/>
                    <a:pt x="44" y="100"/>
                  </a:cubicBezTo>
                  <a:cubicBezTo>
                    <a:pt x="49" y="100"/>
                    <a:pt x="54" y="99"/>
                    <a:pt x="58" y="96"/>
                  </a:cubicBezTo>
                  <a:cubicBezTo>
                    <a:pt x="61" y="94"/>
                    <a:pt x="64" y="93"/>
                    <a:pt x="67" y="93"/>
                  </a:cubicBezTo>
                  <a:cubicBezTo>
                    <a:pt x="68" y="93"/>
                    <a:pt x="68" y="93"/>
                    <a:pt x="69" y="93"/>
                  </a:cubicBezTo>
                  <a:cubicBezTo>
                    <a:pt x="72" y="94"/>
                    <a:pt x="74" y="94"/>
                    <a:pt x="76" y="98"/>
                  </a:cubicBezTo>
                  <a:cubicBezTo>
                    <a:pt x="77" y="99"/>
                    <a:pt x="77" y="99"/>
                    <a:pt x="78" y="99"/>
                  </a:cubicBezTo>
                  <a:cubicBezTo>
                    <a:pt x="78" y="99"/>
                    <a:pt x="78" y="99"/>
                    <a:pt x="79" y="99"/>
                  </a:cubicBezTo>
                  <a:cubicBezTo>
                    <a:pt x="79" y="99"/>
                    <a:pt x="79" y="99"/>
                    <a:pt x="80" y="98"/>
                  </a:cubicBezTo>
                  <a:cubicBezTo>
                    <a:pt x="81" y="98"/>
                    <a:pt x="82" y="98"/>
                    <a:pt x="83" y="98"/>
                  </a:cubicBezTo>
                  <a:cubicBezTo>
                    <a:pt x="83" y="98"/>
                    <a:pt x="84" y="98"/>
                    <a:pt x="84" y="98"/>
                  </a:cubicBezTo>
                  <a:cubicBezTo>
                    <a:pt x="85" y="98"/>
                    <a:pt x="87" y="99"/>
                    <a:pt x="87" y="100"/>
                  </a:cubicBezTo>
                  <a:cubicBezTo>
                    <a:pt x="87" y="101"/>
                    <a:pt x="87" y="101"/>
                    <a:pt x="87" y="102"/>
                  </a:cubicBezTo>
                  <a:cubicBezTo>
                    <a:pt x="87" y="103"/>
                    <a:pt x="87" y="104"/>
                    <a:pt x="88" y="104"/>
                  </a:cubicBezTo>
                  <a:cubicBezTo>
                    <a:pt x="88" y="105"/>
                    <a:pt x="88" y="105"/>
                    <a:pt x="88" y="105"/>
                  </a:cubicBezTo>
                  <a:cubicBezTo>
                    <a:pt x="90" y="106"/>
                    <a:pt x="90" y="106"/>
                    <a:pt x="90" y="106"/>
                  </a:cubicBezTo>
                  <a:cubicBezTo>
                    <a:pt x="90" y="106"/>
                    <a:pt x="91" y="106"/>
                    <a:pt x="96" y="103"/>
                  </a:cubicBezTo>
                  <a:cubicBezTo>
                    <a:pt x="96" y="102"/>
                    <a:pt x="97" y="102"/>
                    <a:pt x="97" y="102"/>
                  </a:cubicBezTo>
                  <a:cubicBezTo>
                    <a:pt x="98" y="101"/>
                    <a:pt x="99" y="101"/>
                    <a:pt x="100" y="101"/>
                  </a:cubicBezTo>
                  <a:cubicBezTo>
                    <a:pt x="101" y="101"/>
                    <a:pt x="102" y="102"/>
                    <a:pt x="103" y="103"/>
                  </a:cubicBezTo>
                  <a:cubicBezTo>
                    <a:pt x="104" y="103"/>
                    <a:pt x="105" y="104"/>
                    <a:pt x="105" y="104"/>
                  </a:cubicBezTo>
                  <a:cubicBezTo>
                    <a:pt x="105" y="109"/>
                    <a:pt x="103" y="110"/>
                    <a:pt x="100" y="111"/>
                  </a:cubicBezTo>
                  <a:cubicBezTo>
                    <a:pt x="98" y="111"/>
                    <a:pt x="97" y="112"/>
                    <a:pt x="96" y="112"/>
                  </a:cubicBezTo>
                  <a:cubicBezTo>
                    <a:pt x="94" y="113"/>
                    <a:pt x="92" y="114"/>
                    <a:pt x="91" y="114"/>
                  </a:cubicBezTo>
                  <a:cubicBezTo>
                    <a:pt x="90" y="114"/>
                    <a:pt x="90" y="114"/>
                    <a:pt x="89" y="113"/>
                  </a:cubicBezTo>
                  <a:cubicBezTo>
                    <a:pt x="88" y="113"/>
                    <a:pt x="87" y="112"/>
                    <a:pt x="85" y="111"/>
                  </a:cubicBezTo>
                  <a:cubicBezTo>
                    <a:pt x="85" y="111"/>
                    <a:pt x="84" y="110"/>
                    <a:pt x="83" y="110"/>
                  </a:cubicBezTo>
                  <a:cubicBezTo>
                    <a:pt x="82" y="109"/>
                    <a:pt x="81" y="109"/>
                    <a:pt x="80" y="109"/>
                  </a:cubicBezTo>
                  <a:cubicBezTo>
                    <a:pt x="79" y="109"/>
                    <a:pt x="78" y="108"/>
                    <a:pt x="77" y="108"/>
                  </a:cubicBezTo>
                  <a:cubicBezTo>
                    <a:pt x="76" y="108"/>
                    <a:pt x="75" y="107"/>
                    <a:pt x="74" y="107"/>
                  </a:cubicBezTo>
                  <a:cubicBezTo>
                    <a:pt x="73" y="107"/>
                    <a:pt x="71" y="106"/>
                    <a:pt x="70" y="105"/>
                  </a:cubicBezTo>
                  <a:cubicBezTo>
                    <a:pt x="70" y="105"/>
                    <a:pt x="70" y="105"/>
                    <a:pt x="69" y="104"/>
                  </a:cubicBezTo>
                  <a:cubicBezTo>
                    <a:pt x="68" y="103"/>
                    <a:pt x="68" y="103"/>
                    <a:pt x="67" y="103"/>
                  </a:cubicBezTo>
                  <a:cubicBezTo>
                    <a:pt x="66" y="103"/>
                    <a:pt x="66" y="103"/>
                    <a:pt x="66" y="103"/>
                  </a:cubicBezTo>
                  <a:cubicBezTo>
                    <a:pt x="65" y="103"/>
                    <a:pt x="65" y="103"/>
                    <a:pt x="65" y="103"/>
                  </a:cubicBezTo>
                  <a:cubicBezTo>
                    <a:pt x="64" y="104"/>
                    <a:pt x="64" y="105"/>
                    <a:pt x="64" y="106"/>
                  </a:cubicBezTo>
                  <a:cubicBezTo>
                    <a:pt x="63" y="107"/>
                    <a:pt x="63" y="108"/>
                    <a:pt x="62" y="109"/>
                  </a:cubicBezTo>
                  <a:cubicBezTo>
                    <a:pt x="59" y="110"/>
                    <a:pt x="56" y="110"/>
                    <a:pt x="53" y="111"/>
                  </a:cubicBezTo>
                  <a:cubicBezTo>
                    <a:pt x="52" y="111"/>
                    <a:pt x="50" y="111"/>
                    <a:pt x="49" y="111"/>
                  </a:cubicBezTo>
                  <a:cubicBezTo>
                    <a:pt x="48" y="112"/>
                    <a:pt x="48" y="112"/>
                    <a:pt x="48" y="112"/>
                  </a:cubicBezTo>
                  <a:cubicBezTo>
                    <a:pt x="48" y="112"/>
                    <a:pt x="48" y="112"/>
                    <a:pt x="48" y="112"/>
                  </a:cubicBezTo>
                  <a:cubicBezTo>
                    <a:pt x="47" y="113"/>
                    <a:pt x="47" y="113"/>
                    <a:pt x="47" y="114"/>
                  </a:cubicBezTo>
                  <a:cubicBezTo>
                    <a:pt x="46" y="115"/>
                    <a:pt x="45" y="116"/>
                    <a:pt x="43" y="116"/>
                  </a:cubicBezTo>
                  <a:cubicBezTo>
                    <a:pt x="39" y="117"/>
                    <a:pt x="35" y="117"/>
                    <a:pt x="32" y="117"/>
                  </a:cubicBezTo>
                  <a:cubicBezTo>
                    <a:pt x="31" y="117"/>
                    <a:pt x="29" y="117"/>
                    <a:pt x="28" y="117"/>
                  </a:cubicBezTo>
                  <a:cubicBezTo>
                    <a:pt x="27" y="117"/>
                    <a:pt x="27" y="117"/>
                    <a:pt x="27" y="117"/>
                  </a:cubicBezTo>
                  <a:cubicBezTo>
                    <a:pt x="26" y="117"/>
                    <a:pt x="25" y="117"/>
                    <a:pt x="24" y="117"/>
                  </a:cubicBezTo>
                  <a:cubicBezTo>
                    <a:pt x="23" y="117"/>
                    <a:pt x="22" y="117"/>
                    <a:pt x="21" y="118"/>
                  </a:cubicBezTo>
                  <a:cubicBezTo>
                    <a:pt x="20" y="118"/>
                    <a:pt x="20" y="119"/>
                    <a:pt x="20" y="119"/>
                  </a:cubicBezTo>
                  <a:cubicBezTo>
                    <a:pt x="19" y="120"/>
                    <a:pt x="19" y="120"/>
                    <a:pt x="18" y="120"/>
                  </a:cubicBezTo>
                  <a:cubicBezTo>
                    <a:pt x="16" y="120"/>
                    <a:pt x="16" y="120"/>
                    <a:pt x="16" y="120"/>
                  </a:cubicBezTo>
                  <a:cubicBezTo>
                    <a:pt x="16" y="122"/>
                    <a:pt x="16" y="122"/>
                    <a:pt x="16" y="122"/>
                  </a:cubicBezTo>
                  <a:cubicBezTo>
                    <a:pt x="16" y="129"/>
                    <a:pt x="16" y="131"/>
                    <a:pt x="19" y="131"/>
                  </a:cubicBezTo>
                  <a:cubicBezTo>
                    <a:pt x="19" y="131"/>
                    <a:pt x="19" y="131"/>
                    <a:pt x="19" y="131"/>
                  </a:cubicBezTo>
                  <a:cubicBezTo>
                    <a:pt x="18" y="132"/>
                    <a:pt x="17" y="132"/>
                    <a:pt x="17" y="133"/>
                  </a:cubicBezTo>
                  <a:cubicBezTo>
                    <a:pt x="14" y="136"/>
                    <a:pt x="15" y="139"/>
                    <a:pt x="17" y="142"/>
                  </a:cubicBezTo>
                  <a:cubicBezTo>
                    <a:pt x="18" y="142"/>
                    <a:pt x="19" y="143"/>
                    <a:pt x="20" y="144"/>
                  </a:cubicBezTo>
                  <a:cubicBezTo>
                    <a:pt x="21" y="144"/>
                    <a:pt x="21" y="144"/>
                    <a:pt x="21" y="144"/>
                  </a:cubicBezTo>
                  <a:cubicBezTo>
                    <a:pt x="22" y="143"/>
                    <a:pt x="22" y="143"/>
                    <a:pt x="22" y="143"/>
                  </a:cubicBezTo>
                  <a:cubicBezTo>
                    <a:pt x="23" y="143"/>
                    <a:pt x="23" y="142"/>
                    <a:pt x="25" y="141"/>
                  </a:cubicBezTo>
                  <a:cubicBezTo>
                    <a:pt x="28" y="140"/>
                    <a:pt x="31" y="139"/>
                    <a:pt x="34" y="138"/>
                  </a:cubicBezTo>
                  <a:cubicBezTo>
                    <a:pt x="35" y="138"/>
                    <a:pt x="36" y="138"/>
                    <a:pt x="37" y="138"/>
                  </a:cubicBezTo>
                  <a:cubicBezTo>
                    <a:pt x="39" y="138"/>
                    <a:pt x="41" y="138"/>
                    <a:pt x="42" y="138"/>
                  </a:cubicBezTo>
                  <a:cubicBezTo>
                    <a:pt x="44" y="139"/>
                    <a:pt x="46" y="139"/>
                    <a:pt x="47" y="139"/>
                  </a:cubicBezTo>
                  <a:cubicBezTo>
                    <a:pt x="50" y="139"/>
                    <a:pt x="52" y="138"/>
                    <a:pt x="54" y="138"/>
                  </a:cubicBezTo>
                  <a:cubicBezTo>
                    <a:pt x="57" y="136"/>
                    <a:pt x="60" y="134"/>
                    <a:pt x="62" y="131"/>
                  </a:cubicBezTo>
                  <a:cubicBezTo>
                    <a:pt x="73" y="131"/>
                    <a:pt x="73" y="131"/>
                    <a:pt x="73" y="131"/>
                  </a:cubicBezTo>
                  <a:cubicBezTo>
                    <a:pt x="76" y="132"/>
                    <a:pt x="80" y="132"/>
                    <a:pt x="83" y="132"/>
                  </a:cubicBezTo>
                  <a:cubicBezTo>
                    <a:pt x="85" y="132"/>
                    <a:pt x="85" y="132"/>
                    <a:pt x="85" y="132"/>
                  </a:cubicBezTo>
                  <a:cubicBezTo>
                    <a:pt x="88" y="132"/>
                    <a:pt x="92" y="132"/>
                    <a:pt x="95" y="131"/>
                  </a:cubicBezTo>
                  <a:cubicBezTo>
                    <a:pt x="98" y="131"/>
                    <a:pt x="102" y="131"/>
                    <a:pt x="105" y="131"/>
                  </a:cubicBezTo>
                  <a:cubicBezTo>
                    <a:pt x="110" y="131"/>
                    <a:pt x="114" y="131"/>
                    <a:pt x="119" y="132"/>
                  </a:cubicBezTo>
                  <a:cubicBezTo>
                    <a:pt x="119" y="132"/>
                    <a:pt x="120" y="132"/>
                    <a:pt x="120" y="132"/>
                  </a:cubicBezTo>
                  <a:cubicBezTo>
                    <a:pt x="121" y="131"/>
                    <a:pt x="122" y="131"/>
                    <a:pt x="122" y="131"/>
                  </a:cubicBezTo>
                  <a:cubicBezTo>
                    <a:pt x="123" y="131"/>
                    <a:pt x="123" y="131"/>
                    <a:pt x="124" y="132"/>
                  </a:cubicBezTo>
                  <a:cubicBezTo>
                    <a:pt x="125" y="132"/>
                    <a:pt x="125" y="133"/>
                    <a:pt x="126" y="133"/>
                  </a:cubicBezTo>
                  <a:cubicBezTo>
                    <a:pt x="127" y="134"/>
                    <a:pt x="127" y="134"/>
                    <a:pt x="127" y="134"/>
                  </a:cubicBezTo>
                  <a:cubicBezTo>
                    <a:pt x="129" y="135"/>
                    <a:pt x="130" y="136"/>
                    <a:pt x="132" y="136"/>
                  </a:cubicBezTo>
                  <a:cubicBezTo>
                    <a:pt x="133" y="137"/>
                    <a:pt x="133" y="137"/>
                    <a:pt x="133" y="137"/>
                  </a:cubicBezTo>
                  <a:cubicBezTo>
                    <a:pt x="134" y="137"/>
                    <a:pt x="134" y="138"/>
                    <a:pt x="135" y="138"/>
                  </a:cubicBezTo>
                  <a:cubicBezTo>
                    <a:pt x="135" y="138"/>
                    <a:pt x="136" y="139"/>
                    <a:pt x="137" y="139"/>
                  </a:cubicBezTo>
                  <a:cubicBezTo>
                    <a:pt x="137" y="139"/>
                    <a:pt x="138" y="139"/>
                    <a:pt x="138" y="139"/>
                  </a:cubicBezTo>
                  <a:cubicBezTo>
                    <a:pt x="138" y="140"/>
                    <a:pt x="139" y="140"/>
                    <a:pt x="139" y="140"/>
                  </a:cubicBezTo>
                  <a:cubicBezTo>
                    <a:pt x="139" y="140"/>
                    <a:pt x="139" y="140"/>
                    <a:pt x="139" y="140"/>
                  </a:cubicBezTo>
                  <a:cubicBezTo>
                    <a:pt x="140" y="140"/>
                    <a:pt x="140" y="140"/>
                    <a:pt x="140" y="140"/>
                  </a:cubicBezTo>
                  <a:cubicBezTo>
                    <a:pt x="140" y="140"/>
                    <a:pt x="140" y="140"/>
                    <a:pt x="141" y="140"/>
                  </a:cubicBezTo>
                  <a:cubicBezTo>
                    <a:pt x="141" y="140"/>
                    <a:pt x="141" y="140"/>
                    <a:pt x="142" y="140"/>
                  </a:cubicBezTo>
                  <a:cubicBezTo>
                    <a:pt x="142" y="140"/>
                    <a:pt x="142" y="140"/>
                    <a:pt x="142" y="140"/>
                  </a:cubicBezTo>
                  <a:cubicBezTo>
                    <a:pt x="143" y="140"/>
                    <a:pt x="143" y="140"/>
                    <a:pt x="144" y="141"/>
                  </a:cubicBezTo>
                  <a:cubicBezTo>
                    <a:pt x="145" y="142"/>
                    <a:pt x="145" y="142"/>
                    <a:pt x="146" y="143"/>
                  </a:cubicBezTo>
                  <a:cubicBezTo>
                    <a:pt x="146" y="143"/>
                    <a:pt x="147" y="143"/>
                    <a:pt x="147" y="143"/>
                  </a:cubicBezTo>
                  <a:cubicBezTo>
                    <a:pt x="148" y="143"/>
                    <a:pt x="149" y="142"/>
                    <a:pt x="150" y="142"/>
                  </a:cubicBezTo>
                  <a:cubicBezTo>
                    <a:pt x="151" y="141"/>
                    <a:pt x="151" y="141"/>
                    <a:pt x="151" y="141"/>
                  </a:cubicBezTo>
                  <a:cubicBezTo>
                    <a:pt x="153" y="140"/>
                    <a:pt x="154" y="140"/>
                    <a:pt x="156" y="140"/>
                  </a:cubicBezTo>
                  <a:cubicBezTo>
                    <a:pt x="157" y="140"/>
                    <a:pt x="157" y="140"/>
                    <a:pt x="158" y="140"/>
                  </a:cubicBezTo>
                  <a:cubicBezTo>
                    <a:pt x="159" y="140"/>
                    <a:pt x="160" y="140"/>
                    <a:pt x="160" y="140"/>
                  </a:cubicBezTo>
                  <a:cubicBezTo>
                    <a:pt x="161" y="140"/>
                    <a:pt x="161" y="140"/>
                    <a:pt x="162" y="140"/>
                  </a:cubicBezTo>
                  <a:cubicBezTo>
                    <a:pt x="163" y="140"/>
                    <a:pt x="163" y="140"/>
                    <a:pt x="163" y="140"/>
                  </a:cubicBezTo>
                  <a:cubicBezTo>
                    <a:pt x="166" y="140"/>
                    <a:pt x="168" y="139"/>
                    <a:pt x="171" y="138"/>
                  </a:cubicBezTo>
                  <a:cubicBezTo>
                    <a:pt x="173" y="138"/>
                    <a:pt x="173" y="138"/>
                    <a:pt x="173" y="138"/>
                  </a:cubicBezTo>
                  <a:cubicBezTo>
                    <a:pt x="173" y="137"/>
                    <a:pt x="173" y="137"/>
                    <a:pt x="173" y="137"/>
                  </a:cubicBezTo>
                  <a:lnTo>
                    <a:pt x="173" y="136"/>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77" name="Freeform 77">
              <a:extLst>
                <a:ext uri="{FF2B5EF4-FFF2-40B4-BE49-F238E27FC236}">
                  <a16:creationId xmlns:a16="http://schemas.microsoft.com/office/drawing/2014/main" id="{412A47CC-BD13-4554-8229-A5BDDE27405D}"/>
                </a:ext>
              </a:extLst>
            </p:cNvPr>
            <p:cNvSpPr>
              <a:spLocks/>
            </p:cNvSpPr>
            <p:nvPr/>
          </p:nvSpPr>
          <p:spPr bwMode="auto">
            <a:xfrm>
              <a:off x="2016754" y="1760420"/>
              <a:ext cx="181912" cy="380120"/>
            </a:xfrm>
            <a:custGeom>
              <a:avLst/>
              <a:gdLst>
                <a:gd name="T0" fmla="*/ 89 w 90"/>
                <a:gd name="T1" fmla="*/ 55 h 204"/>
                <a:gd name="T2" fmla="*/ 88 w 90"/>
                <a:gd name="T3" fmla="*/ 54 h 204"/>
                <a:gd name="T4" fmla="*/ 87 w 90"/>
                <a:gd name="T5" fmla="*/ 50 h 204"/>
                <a:gd name="T6" fmla="*/ 83 w 90"/>
                <a:gd name="T7" fmla="*/ 38 h 204"/>
                <a:gd name="T8" fmla="*/ 79 w 90"/>
                <a:gd name="T9" fmla="*/ 31 h 204"/>
                <a:gd name="T10" fmla="*/ 83 w 90"/>
                <a:gd name="T11" fmla="*/ 25 h 204"/>
                <a:gd name="T12" fmla="*/ 83 w 90"/>
                <a:gd name="T13" fmla="*/ 23 h 204"/>
                <a:gd name="T14" fmla="*/ 83 w 90"/>
                <a:gd name="T15" fmla="*/ 22 h 204"/>
                <a:gd name="T16" fmla="*/ 79 w 90"/>
                <a:gd name="T17" fmla="*/ 17 h 204"/>
                <a:gd name="T18" fmla="*/ 74 w 90"/>
                <a:gd name="T19" fmla="*/ 13 h 204"/>
                <a:gd name="T20" fmla="*/ 70 w 90"/>
                <a:gd name="T21" fmla="*/ 8 h 204"/>
                <a:gd name="T22" fmla="*/ 64 w 90"/>
                <a:gd name="T23" fmla="*/ 3 h 204"/>
                <a:gd name="T24" fmla="*/ 60 w 90"/>
                <a:gd name="T25" fmla="*/ 0 h 204"/>
                <a:gd name="T26" fmla="*/ 54 w 90"/>
                <a:gd name="T27" fmla="*/ 2 h 204"/>
                <a:gd name="T28" fmla="*/ 52 w 90"/>
                <a:gd name="T29" fmla="*/ 3 h 204"/>
                <a:gd name="T30" fmla="*/ 47 w 90"/>
                <a:gd name="T31" fmla="*/ 6 h 204"/>
                <a:gd name="T32" fmla="*/ 49 w 90"/>
                <a:gd name="T33" fmla="*/ 9 h 204"/>
                <a:gd name="T34" fmla="*/ 49 w 90"/>
                <a:gd name="T35" fmla="*/ 15 h 204"/>
                <a:gd name="T36" fmla="*/ 48 w 90"/>
                <a:gd name="T37" fmla="*/ 17 h 204"/>
                <a:gd name="T38" fmla="*/ 44 w 90"/>
                <a:gd name="T39" fmla="*/ 23 h 204"/>
                <a:gd name="T40" fmla="*/ 35 w 90"/>
                <a:gd name="T41" fmla="*/ 32 h 204"/>
                <a:gd name="T42" fmla="*/ 34 w 90"/>
                <a:gd name="T43" fmla="*/ 32 h 204"/>
                <a:gd name="T44" fmla="*/ 29 w 90"/>
                <a:gd name="T45" fmla="*/ 31 h 204"/>
                <a:gd name="T46" fmla="*/ 26 w 90"/>
                <a:gd name="T47" fmla="*/ 32 h 204"/>
                <a:gd name="T48" fmla="*/ 23 w 90"/>
                <a:gd name="T49" fmla="*/ 31 h 204"/>
                <a:gd name="T50" fmla="*/ 22 w 90"/>
                <a:gd name="T51" fmla="*/ 30 h 204"/>
                <a:gd name="T52" fmla="*/ 18 w 90"/>
                <a:gd name="T53" fmla="*/ 32 h 204"/>
                <a:gd name="T54" fmla="*/ 16 w 90"/>
                <a:gd name="T55" fmla="*/ 36 h 204"/>
                <a:gd name="T56" fmla="*/ 12 w 90"/>
                <a:gd name="T57" fmla="*/ 38 h 204"/>
                <a:gd name="T58" fmla="*/ 10 w 90"/>
                <a:gd name="T59" fmla="*/ 47 h 204"/>
                <a:gd name="T60" fmla="*/ 7 w 90"/>
                <a:gd name="T61" fmla="*/ 71 h 204"/>
                <a:gd name="T62" fmla="*/ 17 w 90"/>
                <a:gd name="T63" fmla="*/ 81 h 204"/>
                <a:gd name="T64" fmla="*/ 18 w 90"/>
                <a:gd name="T65" fmla="*/ 99 h 204"/>
                <a:gd name="T66" fmla="*/ 25 w 90"/>
                <a:gd name="T67" fmla="*/ 116 h 204"/>
                <a:gd name="T68" fmla="*/ 25 w 90"/>
                <a:gd name="T69" fmla="*/ 137 h 204"/>
                <a:gd name="T70" fmla="*/ 26 w 90"/>
                <a:gd name="T71" fmla="*/ 150 h 204"/>
                <a:gd name="T72" fmla="*/ 25 w 90"/>
                <a:gd name="T73" fmla="*/ 179 h 204"/>
                <a:gd name="T74" fmla="*/ 27 w 90"/>
                <a:gd name="T75" fmla="*/ 194 h 204"/>
                <a:gd name="T76" fmla="*/ 29 w 90"/>
                <a:gd name="T77" fmla="*/ 201 h 204"/>
                <a:gd name="T78" fmla="*/ 33 w 90"/>
                <a:gd name="T79" fmla="*/ 203 h 204"/>
                <a:gd name="T80" fmla="*/ 44 w 90"/>
                <a:gd name="T81" fmla="*/ 201 h 204"/>
                <a:gd name="T82" fmla="*/ 54 w 90"/>
                <a:gd name="T83" fmla="*/ 199 h 204"/>
                <a:gd name="T84" fmla="*/ 58 w 90"/>
                <a:gd name="T85" fmla="*/ 199 h 204"/>
                <a:gd name="T86" fmla="*/ 59 w 90"/>
                <a:gd name="T87" fmla="*/ 181 h 204"/>
                <a:gd name="T88" fmla="*/ 58 w 90"/>
                <a:gd name="T89" fmla="*/ 160 h 204"/>
                <a:gd name="T90" fmla="*/ 58 w 90"/>
                <a:gd name="T91" fmla="*/ 126 h 204"/>
                <a:gd name="T92" fmla="*/ 58 w 90"/>
                <a:gd name="T93" fmla="*/ 119 h 204"/>
                <a:gd name="T94" fmla="*/ 59 w 90"/>
                <a:gd name="T95" fmla="*/ 112 h 204"/>
                <a:gd name="T96" fmla="*/ 66 w 90"/>
                <a:gd name="T97" fmla="*/ 109 h 204"/>
                <a:gd name="T98" fmla="*/ 71 w 90"/>
                <a:gd name="T99" fmla="*/ 94 h 204"/>
                <a:gd name="T100" fmla="*/ 78 w 90"/>
                <a:gd name="T101" fmla="*/ 85 h 204"/>
                <a:gd name="T102" fmla="*/ 82 w 90"/>
                <a:gd name="T103" fmla="*/ 81 h 204"/>
                <a:gd name="T104" fmla="*/ 84 w 90"/>
                <a:gd name="T105" fmla="*/ 78 h 204"/>
                <a:gd name="T106" fmla="*/ 85 w 90"/>
                <a:gd name="T107" fmla="*/ 75 h 204"/>
                <a:gd name="T108" fmla="*/ 84 w 90"/>
                <a:gd name="T109" fmla="*/ 73 h 204"/>
                <a:gd name="T110" fmla="*/ 86 w 90"/>
                <a:gd name="T111" fmla="*/ 65 h 204"/>
                <a:gd name="T112" fmla="*/ 90 w 90"/>
                <a:gd name="T113" fmla="*/ 5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 h="204">
                  <a:moveTo>
                    <a:pt x="90" y="55"/>
                  </a:moveTo>
                  <a:cubicBezTo>
                    <a:pt x="89" y="55"/>
                    <a:pt x="89" y="55"/>
                    <a:pt x="89" y="55"/>
                  </a:cubicBezTo>
                  <a:cubicBezTo>
                    <a:pt x="89" y="55"/>
                    <a:pt x="89" y="55"/>
                    <a:pt x="89" y="55"/>
                  </a:cubicBezTo>
                  <a:cubicBezTo>
                    <a:pt x="88" y="54"/>
                    <a:pt x="88" y="54"/>
                    <a:pt x="88" y="54"/>
                  </a:cubicBezTo>
                  <a:cubicBezTo>
                    <a:pt x="87" y="53"/>
                    <a:pt x="87" y="53"/>
                    <a:pt x="87" y="52"/>
                  </a:cubicBezTo>
                  <a:cubicBezTo>
                    <a:pt x="87" y="51"/>
                    <a:pt x="87" y="50"/>
                    <a:pt x="87" y="50"/>
                  </a:cubicBezTo>
                  <a:cubicBezTo>
                    <a:pt x="87" y="49"/>
                    <a:pt x="87" y="48"/>
                    <a:pt x="87" y="47"/>
                  </a:cubicBezTo>
                  <a:cubicBezTo>
                    <a:pt x="86" y="43"/>
                    <a:pt x="85" y="41"/>
                    <a:pt x="83" y="38"/>
                  </a:cubicBezTo>
                  <a:cubicBezTo>
                    <a:pt x="83" y="38"/>
                    <a:pt x="83" y="38"/>
                    <a:pt x="83" y="38"/>
                  </a:cubicBezTo>
                  <a:cubicBezTo>
                    <a:pt x="82" y="36"/>
                    <a:pt x="79" y="34"/>
                    <a:pt x="79" y="31"/>
                  </a:cubicBezTo>
                  <a:cubicBezTo>
                    <a:pt x="80" y="30"/>
                    <a:pt x="81" y="29"/>
                    <a:pt x="81" y="27"/>
                  </a:cubicBezTo>
                  <a:cubicBezTo>
                    <a:pt x="82" y="26"/>
                    <a:pt x="83" y="26"/>
                    <a:pt x="83" y="25"/>
                  </a:cubicBezTo>
                  <a:cubicBezTo>
                    <a:pt x="83" y="23"/>
                    <a:pt x="83" y="23"/>
                    <a:pt x="83" y="23"/>
                  </a:cubicBezTo>
                  <a:cubicBezTo>
                    <a:pt x="83" y="23"/>
                    <a:pt x="83" y="23"/>
                    <a:pt x="83" y="23"/>
                  </a:cubicBezTo>
                  <a:cubicBezTo>
                    <a:pt x="83" y="22"/>
                    <a:pt x="83" y="22"/>
                    <a:pt x="83" y="22"/>
                  </a:cubicBezTo>
                  <a:cubicBezTo>
                    <a:pt x="83" y="22"/>
                    <a:pt x="83" y="22"/>
                    <a:pt x="83" y="22"/>
                  </a:cubicBezTo>
                  <a:cubicBezTo>
                    <a:pt x="82" y="21"/>
                    <a:pt x="82" y="21"/>
                    <a:pt x="81" y="20"/>
                  </a:cubicBezTo>
                  <a:cubicBezTo>
                    <a:pt x="80" y="19"/>
                    <a:pt x="79" y="18"/>
                    <a:pt x="79" y="17"/>
                  </a:cubicBezTo>
                  <a:cubicBezTo>
                    <a:pt x="78" y="16"/>
                    <a:pt x="78" y="16"/>
                    <a:pt x="78" y="16"/>
                  </a:cubicBezTo>
                  <a:cubicBezTo>
                    <a:pt x="77" y="15"/>
                    <a:pt x="76" y="14"/>
                    <a:pt x="74" y="13"/>
                  </a:cubicBezTo>
                  <a:cubicBezTo>
                    <a:pt x="73" y="12"/>
                    <a:pt x="72" y="12"/>
                    <a:pt x="72" y="11"/>
                  </a:cubicBezTo>
                  <a:cubicBezTo>
                    <a:pt x="70" y="8"/>
                    <a:pt x="70" y="8"/>
                    <a:pt x="70" y="8"/>
                  </a:cubicBezTo>
                  <a:cubicBezTo>
                    <a:pt x="68" y="7"/>
                    <a:pt x="67" y="6"/>
                    <a:pt x="66" y="4"/>
                  </a:cubicBezTo>
                  <a:cubicBezTo>
                    <a:pt x="65" y="4"/>
                    <a:pt x="65" y="4"/>
                    <a:pt x="64" y="3"/>
                  </a:cubicBezTo>
                  <a:cubicBezTo>
                    <a:pt x="63" y="1"/>
                    <a:pt x="61" y="0"/>
                    <a:pt x="60" y="0"/>
                  </a:cubicBezTo>
                  <a:cubicBezTo>
                    <a:pt x="60" y="0"/>
                    <a:pt x="60" y="0"/>
                    <a:pt x="60" y="0"/>
                  </a:cubicBezTo>
                  <a:cubicBezTo>
                    <a:pt x="59" y="0"/>
                    <a:pt x="59" y="0"/>
                    <a:pt x="59" y="0"/>
                  </a:cubicBezTo>
                  <a:cubicBezTo>
                    <a:pt x="58" y="0"/>
                    <a:pt x="56" y="1"/>
                    <a:pt x="54" y="2"/>
                  </a:cubicBezTo>
                  <a:cubicBezTo>
                    <a:pt x="53" y="2"/>
                    <a:pt x="53" y="2"/>
                    <a:pt x="53" y="2"/>
                  </a:cubicBezTo>
                  <a:cubicBezTo>
                    <a:pt x="53" y="2"/>
                    <a:pt x="52" y="3"/>
                    <a:pt x="52" y="3"/>
                  </a:cubicBezTo>
                  <a:cubicBezTo>
                    <a:pt x="50" y="4"/>
                    <a:pt x="49" y="4"/>
                    <a:pt x="48" y="5"/>
                  </a:cubicBezTo>
                  <a:cubicBezTo>
                    <a:pt x="47" y="6"/>
                    <a:pt x="47" y="6"/>
                    <a:pt x="47" y="6"/>
                  </a:cubicBezTo>
                  <a:cubicBezTo>
                    <a:pt x="48" y="7"/>
                    <a:pt x="48" y="7"/>
                    <a:pt x="48" y="7"/>
                  </a:cubicBezTo>
                  <a:cubicBezTo>
                    <a:pt x="48" y="7"/>
                    <a:pt x="49" y="8"/>
                    <a:pt x="49" y="9"/>
                  </a:cubicBezTo>
                  <a:cubicBezTo>
                    <a:pt x="49" y="9"/>
                    <a:pt x="50" y="10"/>
                    <a:pt x="50" y="10"/>
                  </a:cubicBezTo>
                  <a:cubicBezTo>
                    <a:pt x="50" y="13"/>
                    <a:pt x="50" y="15"/>
                    <a:pt x="49" y="15"/>
                  </a:cubicBezTo>
                  <a:cubicBezTo>
                    <a:pt x="48" y="16"/>
                    <a:pt x="48" y="16"/>
                    <a:pt x="48" y="16"/>
                  </a:cubicBezTo>
                  <a:cubicBezTo>
                    <a:pt x="48" y="17"/>
                    <a:pt x="48" y="17"/>
                    <a:pt x="48" y="17"/>
                  </a:cubicBezTo>
                  <a:cubicBezTo>
                    <a:pt x="47" y="18"/>
                    <a:pt x="47" y="18"/>
                    <a:pt x="47" y="18"/>
                  </a:cubicBezTo>
                  <a:cubicBezTo>
                    <a:pt x="47" y="20"/>
                    <a:pt x="46" y="21"/>
                    <a:pt x="44" y="23"/>
                  </a:cubicBezTo>
                  <a:cubicBezTo>
                    <a:pt x="43" y="24"/>
                    <a:pt x="42" y="25"/>
                    <a:pt x="42" y="26"/>
                  </a:cubicBezTo>
                  <a:cubicBezTo>
                    <a:pt x="40" y="29"/>
                    <a:pt x="38" y="30"/>
                    <a:pt x="35" y="32"/>
                  </a:cubicBezTo>
                  <a:cubicBezTo>
                    <a:pt x="35" y="32"/>
                    <a:pt x="35" y="32"/>
                    <a:pt x="35" y="32"/>
                  </a:cubicBezTo>
                  <a:cubicBezTo>
                    <a:pt x="34" y="32"/>
                    <a:pt x="34" y="32"/>
                    <a:pt x="34" y="32"/>
                  </a:cubicBezTo>
                  <a:cubicBezTo>
                    <a:pt x="33" y="32"/>
                    <a:pt x="32" y="32"/>
                    <a:pt x="32" y="32"/>
                  </a:cubicBezTo>
                  <a:cubicBezTo>
                    <a:pt x="31" y="32"/>
                    <a:pt x="30" y="31"/>
                    <a:pt x="29" y="31"/>
                  </a:cubicBezTo>
                  <a:cubicBezTo>
                    <a:pt x="28" y="31"/>
                    <a:pt x="28" y="31"/>
                    <a:pt x="27" y="32"/>
                  </a:cubicBezTo>
                  <a:cubicBezTo>
                    <a:pt x="26" y="32"/>
                    <a:pt x="26" y="32"/>
                    <a:pt x="26" y="32"/>
                  </a:cubicBezTo>
                  <a:cubicBezTo>
                    <a:pt x="25" y="32"/>
                    <a:pt x="25" y="32"/>
                    <a:pt x="24" y="32"/>
                  </a:cubicBezTo>
                  <a:cubicBezTo>
                    <a:pt x="24" y="31"/>
                    <a:pt x="24" y="31"/>
                    <a:pt x="23" y="31"/>
                  </a:cubicBezTo>
                  <a:cubicBezTo>
                    <a:pt x="23" y="30"/>
                    <a:pt x="23" y="30"/>
                    <a:pt x="23" y="30"/>
                  </a:cubicBezTo>
                  <a:cubicBezTo>
                    <a:pt x="22" y="30"/>
                    <a:pt x="22" y="30"/>
                    <a:pt x="22" y="30"/>
                  </a:cubicBezTo>
                  <a:cubicBezTo>
                    <a:pt x="22" y="30"/>
                    <a:pt x="22" y="30"/>
                    <a:pt x="21" y="30"/>
                  </a:cubicBezTo>
                  <a:cubicBezTo>
                    <a:pt x="20" y="30"/>
                    <a:pt x="19" y="31"/>
                    <a:pt x="18" y="32"/>
                  </a:cubicBezTo>
                  <a:cubicBezTo>
                    <a:pt x="18" y="32"/>
                    <a:pt x="17" y="33"/>
                    <a:pt x="17" y="34"/>
                  </a:cubicBezTo>
                  <a:cubicBezTo>
                    <a:pt x="17" y="35"/>
                    <a:pt x="16" y="36"/>
                    <a:pt x="16" y="36"/>
                  </a:cubicBezTo>
                  <a:cubicBezTo>
                    <a:pt x="15" y="37"/>
                    <a:pt x="14" y="37"/>
                    <a:pt x="13" y="38"/>
                  </a:cubicBezTo>
                  <a:cubicBezTo>
                    <a:pt x="12" y="38"/>
                    <a:pt x="12" y="38"/>
                    <a:pt x="12" y="38"/>
                  </a:cubicBezTo>
                  <a:cubicBezTo>
                    <a:pt x="12" y="41"/>
                    <a:pt x="12" y="41"/>
                    <a:pt x="12" y="41"/>
                  </a:cubicBezTo>
                  <a:cubicBezTo>
                    <a:pt x="12" y="44"/>
                    <a:pt x="12" y="46"/>
                    <a:pt x="10" y="47"/>
                  </a:cubicBezTo>
                  <a:cubicBezTo>
                    <a:pt x="5" y="49"/>
                    <a:pt x="3" y="55"/>
                    <a:pt x="2" y="57"/>
                  </a:cubicBezTo>
                  <a:cubicBezTo>
                    <a:pt x="0" y="64"/>
                    <a:pt x="1" y="66"/>
                    <a:pt x="7" y="71"/>
                  </a:cubicBezTo>
                  <a:cubicBezTo>
                    <a:pt x="8" y="72"/>
                    <a:pt x="8" y="72"/>
                    <a:pt x="9" y="73"/>
                  </a:cubicBezTo>
                  <a:cubicBezTo>
                    <a:pt x="12" y="75"/>
                    <a:pt x="15" y="78"/>
                    <a:pt x="17" y="81"/>
                  </a:cubicBezTo>
                  <a:cubicBezTo>
                    <a:pt x="19" y="84"/>
                    <a:pt x="19" y="88"/>
                    <a:pt x="18" y="92"/>
                  </a:cubicBezTo>
                  <a:cubicBezTo>
                    <a:pt x="18" y="94"/>
                    <a:pt x="18" y="97"/>
                    <a:pt x="18" y="99"/>
                  </a:cubicBezTo>
                  <a:cubicBezTo>
                    <a:pt x="19" y="102"/>
                    <a:pt x="20" y="105"/>
                    <a:pt x="22" y="108"/>
                  </a:cubicBezTo>
                  <a:cubicBezTo>
                    <a:pt x="23" y="111"/>
                    <a:pt x="25" y="113"/>
                    <a:pt x="25" y="116"/>
                  </a:cubicBezTo>
                  <a:cubicBezTo>
                    <a:pt x="27" y="120"/>
                    <a:pt x="26" y="125"/>
                    <a:pt x="26" y="131"/>
                  </a:cubicBezTo>
                  <a:cubicBezTo>
                    <a:pt x="26" y="133"/>
                    <a:pt x="25" y="135"/>
                    <a:pt x="25" y="137"/>
                  </a:cubicBezTo>
                  <a:cubicBezTo>
                    <a:pt x="25" y="141"/>
                    <a:pt x="26" y="145"/>
                    <a:pt x="26" y="149"/>
                  </a:cubicBezTo>
                  <a:cubicBezTo>
                    <a:pt x="26" y="150"/>
                    <a:pt x="26" y="150"/>
                    <a:pt x="26" y="150"/>
                  </a:cubicBezTo>
                  <a:cubicBezTo>
                    <a:pt x="26" y="157"/>
                    <a:pt x="26" y="166"/>
                    <a:pt x="25" y="174"/>
                  </a:cubicBezTo>
                  <a:cubicBezTo>
                    <a:pt x="25" y="176"/>
                    <a:pt x="25" y="177"/>
                    <a:pt x="25" y="179"/>
                  </a:cubicBezTo>
                  <a:cubicBezTo>
                    <a:pt x="24" y="184"/>
                    <a:pt x="23" y="188"/>
                    <a:pt x="26" y="192"/>
                  </a:cubicBezTo>
                  <a:cubicBezTo>
                    <a:pt x="26" y="193"/>
                    <a:pt x="27" y="194"/>
                    <a:pt x="27" y="194"/>
                  </a:cubicBezTo>
                  <a:cubicBezTo>
                    <a:pt x="28" y="195"/>
                    <a:pt x="29" y="196"/>
                    <a:pt x="29" y="198"/>
                  </a:cubicBezTo>
                  <a:cubicBezTo>
                    <a:pt x="29" y="199"/>
                    <a:pt x="29" y="200"/>
                    <a:pt x="29" y="201"/>
                  </a:cubicBezTo>
                  <a:cubicBezTo>
                    <a:pt x="28" y="204"/>
                    <a:pt x="28" y="204"/>
                    <a:pt x="28" y="204"/>
                  </a:cubicBezTo>
                  <a:cubicBezTo>
                    <a:pt x="33" y="203"/>
                    <a:pt x="33" y="203"/>
                    <a:pt x="33" y="203"/>
                  </a:cubicBezTo>
                  <a:cubicBezTo>
                    <a:pt x="35" y="203"/>
                    <a:pt x="37" y="203"/>
                    <a:pt x="39" y="202"/>
                  </a:cubicBezTo>
                  <a:cubicBezTo>
                    <a:pt x="41" y="202"/>
                    <a:pt x="42" y="201"/>
                    <a:pt x="44" y="201"/>
                  </a:cubicBezTo>
                  <a:cubicBezTo>
                    <a:pt x="46" y="200"/>
                    <a:pt x="48" y="199"/>
                    <a:pt x="50" y="199"/>
                  </a:cubicBezTo>
                  <a:cubicBezTo>
                    <a:pt x="51" y="199"/>
                    <a:pt x="52" y="199"/>
                    <a:pt x="54" y="199"/>
                  </a:cubicBezTo>
                  <a:cubicBezTo>
                    <a:pt x="55" y="199"/>
                    <a:pt x="55" y="199"/>
                    <a:pt x="56" y="199"/>
                  </a:cubicBezTo>
                  <a:cubicBezTo>
                    <a:pt x="58" y="199"/>
                    <a:pt x="58" y="199"/>
                    <a:pt x="58" y="199"/>
                  </a:cubicBezTo>
                  <a:cubicBezTo>
                    <a:pt x="59" y="197"/>
                    <a:pt x="59" y="197"/>
                    <a:pt x="59" y="197"/>
                  </a:cubicBezTo>
                  <a:cubicBezTo>
                    <a:pt x="59" y="193"/>
                    <a:pt x="59" y="187"/>
                    <a:pt x="59" y="181"/>
                  </a:cubicBezTo>
                  <a:cubicBezTo>
                    <a:pt x="58" y="178"/>
                    <a:pt x="58" y="175"/>
                    <a:pt x="58" y="172"/>
                  </a:cubicBezTo>
                  <a:cubicBezTo>
                    <a:pt x="59" y="168"/>
                    <a:pt x="59" y="164"/>
                    <a:pt x="58" y="160"/>
                  </a:cubicBezTo>
                  <a:cubicBezTo>
                    <a:pt x="58" y="153"/>
                    <a:pt x="57" y="147"/>
                    <a:pt x="58" y="140"/>
                  </a:cubicBezTo>
                  <a:cubicBezTo>
                    <a:pt x="58" y="135"/>
                    <a:pt x="58" y="131"/>
                    <a:pt x="58" y="126"/>
                  </a:cubicBezTo>
                  <a:cubicBezTo>
                    <a:pt x="58" y="124"/>
                    <a:pt x="58" y="122"/>
                    <a:pt x="58" y="120"/>
                  </a:cubicBezTo>
                  <a:cubicBezTo>
                    <a:pt x="58" y="119"/>
                    <a:pt x="58" y="119"/>
                    <a:pt x="58" y="119"/>
                  </a:cubicBezTo>
                  <a:cubicBezTo>
                    <a:pt x="59" y="118"/>
                    <a:pt x="59" y="117"/>
                    <a:pt x="59" y="116"/>
                  </a:cubicBezTo>
                  <a:cubicBezTo>
                    <a:pt x="58" y="115"/>
                    <a:pt x="58" y="114"/>
                    <a:pt x="59" y="112"/>
                  </a:cubicBezTo>
                  <a:cubicBezTo>
                    <a:pt x="59" y="110"/>
                    <a:pt x="61" y="110"/>
                    <a:pt x="64" y="109"/>
                  </a:cubicBezTo>
                  <a:cubicBezTo>
                    <a:pt x="65" y="109"/>
                    <a:pt x="65" y="109"/>
                    <a:pt x="66" y="109"/>
                  </a:cubicBezTo>
                  <a:cubicBezTo>
                    <a:pt x="70" y="108"/>
                    <a:pt x="70" y="104"/>
                    <a:pt x="70" y="100"/>
                  </a:cubicBezTo>
                  <a:cubicBezTo>
                    <a:pt x="70" y="98"/>
                    <a:pt x="70" y="96"/>
                    <a:pt x="71" y="94"/>
                  </a:cubicBezTo>
                  <a:cubicBezTo>
                    <a:pt x="72" y="93"/>
                    <a:pt x="72" y="92"/>
                    <a:pt x="73" y="91"/>
                  </a:cubicBezTo>
                  <a:cubicBezTo>
                    <a:pt x="74" y="89"/>
                    <a:pt x="76" y="86"/>
                    <a:pt x="78" y="85"/>
                  </a:cubicBezTo>
                  <a:cubicBezTo>
                    <a:pt x="79" y="84"/>
                    <a:pt x="79" y="84"/>
                    <a:pt x="79" y="84"/>
                  </a:cubicBezTo>
                  <a:cubicBezTo>
                    <a:pt x="81" y="83"/>
                    <a:pt x="82" y="83"/>
                    <a:pt x="82" y="81"/>
                  </a:cubicBezTo>
                  <a:cubicBezTo>
                    <a:pt x="83" y="81"/>
                    <a:pt x="83" y="80"/>
                    <a:pt x="83" y="80"/>
                  </a:cubicBezTo>
                  <a:cubicBezTo>
                    <a:pt x="83" y="79"/>
                    <a:pt x="83" y="79"/>
                    <a:pt x="84" y="78"/>
                  </a:cubicBezTo>
                  <a:cubicBezTo>
                    <a:pt x="84" y="78"/>
                    <a:pt x="84" y="77"/>
                    <a:pt x="84" y="77"/>
                  </a:cubicBezTo>
                  <a:cubicBezTo>
                    <a:pt x="85" y="77"/>
                    <a:pt x="85" y="76"/>
                    <a:pt x="85" y="75"/>
                  </a:cubicBezTo>
                  <a:cubicBezTo>
                    <a:pt x="85" y="74"/>
                    <a:pt x="85" y="73"/>
                    <a:pt x="85" y="73"/>
                  </a:cubicBezTo>
                  <a:cubicBezTo>
                    <a:pt x="84" y="73"/>
                    <a:pt x="84" y="73"/>
                    <a:pt x="84" y="73"/>
                  </a:cubicBezTo>
                  <a:cubicBezTo>
                    <a:pt x="84" y="72"/>
                    <a:pt x="83" y="71"/>
                    <a:pt x="83" y="70"/>
                  </a:cubicBezTo>
                  <a:cubicBezTo>
                    <a:pt x="83" y="68"/>
                    <a:pt x="83" y="66"/>
                    <a:pt x="86" y="65"/>
                  </a:cubicBezTo>
                  <a:cubicBezTo>
                    <a:pt x="88" y="65"/>
                    <a:pt x="89" y="63"/>
                    <a:pt x="90" y="61"/>
                  </a:cubicBezTo>
                  <a:cubicBezTo>
                    <a:pt x="90" y="59"/>
                    <a:pt x="90" y="57"/>
                    <a:pt x="90" y="55"/>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78" name="Freeform 78">
              <a:extLst>
                <a:ext uri="{FF2B5EF4-FFF2-40B4-BE49-F238E27FC236}">
                  <a16:creationId xmlns:a16="http://schemas.microsoft.com/office/drawing/2014/main" id="{E3DBF2E0-D272-403A-9453-F90CF562AFBE}"/>
                </a:ext>
              </a:extLst>
            </p:cNvPr>
            <p:cNvSpPr>
              <a:spLocks/>
            </p:cNvSpPr>
            <p:nvPr/>
          </p:nvSpPr>
          <p:spPr bwMode="auto">
            <a:xfrm>
              <a:off x="988898" y="821422"/>
              <a:ext cx="505558" cy="428405"/>
            </a:xfrm>
            <a:custGeom>
              <a:avLst/>
              <a:gdLst>
                <a:gd name="T0" fmla="*/ 120 w 250"/>
                <a:gd name="T1" fmla="*/ 1 h 230"/>
                <a:gd name="T2" fmla="*/ 116 w 250"/>
                <a:gd name="T3" fmla="*/ 10 h 230"/>
                <a:gd name="T4" fmla="*/ 106 w 250"/>
                <a:gd name="T5" fmla="*/ 31 h 230"/>
                <a:gd name="T6" fmla="*/ 90 w 250"/>
                <a:gd name="T7" fmla="*/ 41 h 230"/>
                <a:gd name="T8" fmla="*/ 81 w 250"/>
                <a:gd name="T9" fmla="*/ 47 h 230"/>
                <a:gd name="T10" fmla="*/ 80 w 250"/>
                <a:gd name="T11" fmla="*/ 53 h 230"/>
                <a:gd name="T12" fmla="*/ 74 w 250"/>
                <a:gd name="T13" fmla="*/ 65 h 230"/>
                <a:gd name="T14" fmla="*/ 70 w 250"/>
                <a:gd name="T15" fmla="*/ 73 h 230"/>
                <a:gd name="T16" fmla="*/ 69 w 250"/>
                <a:gd name="T17" fmla="*/ 92 h 230"/>
                <a:gd name="T18" fmla="*/ 63 w 250"/>
                <a:gd name="T19" fmla="*/ 100 h 230"/>
                <a:gd name="T20" fmla="*/ 51 w 250"/>
                <a:gd name="T21" fmla="*/ 112 h 230"/>
                <a:gd name="T22" fmla="*/ 47 w 250"/>
                <a:gd name="T23" fmla="*/ 117 h 230"/>
                <a:gd name="T24" fmla="*/ 42 w 250"/>
                <a:gd name="T25" fmla="*/ 120 h 230"/>
                <a:gd name="T26" fmla="*/ 39 w 250"/>
                <a:gd name="T27" fmla="*/ 124 h 230"/>
                <a:gd name="T28" fmla="*/ 35 w 250"/>
                <a:gd name="T29" fmla="*/ 130 h 230"/>
                <a:gd name="T30" fmla="*/ 38 w 250"/>
                <a:gd name="T31" fmla="*/ 132 h 230"/>
                <a:gd name="T32" fmla="*/ 32 w 250"/>
                <a:gd name="T33" fmla="*/ 143 h 230"/>
                <a:gd name="T34" fmla="*/ 29 w 250"/>
                <a:gd name="T35" fmla="*/ 152 h 230"/>
                <a:gd name="T36" fmla="*/ 26 w 250"/>
                <a:gd name="T37" fmla="*/ 156 h 230"/>
                <a:gd name="T38" fmla="*/ 24 w 250"/>
                <a:gd name="T39" fmla="*/ 162 h 230"/>
                <a:gd name="T40" fmla="*/ 23 w 250"/>
                <a:gd name="T41" fmla="*/ 166 h 230"/>
                <a:gd name="T42" fmla="*/ 19 w 250"/>
                <a:gd name="T43" fmla="*/ 173 h 230"/>
                <a:gd name="T44" fmla="*/ 17 w 250"/>
                <a:gd name="T45" fmla="*/ 174 h 230"/>
                <a:gd name="T46" fmla="*/ 9 w 250"/>
                <a:gd name="T47" fmla="*/ 181 h 230"/>
                <a:gd name="T48" fmla="*/ 5 w 250"/>
                <a:gd name="T49" fmla="*/ 199 h 230"/>
                <a:gd name="T50" fmla="*/ 2 w 250"/>
                <a:gd name="T51" fmla="*/ 216 h 230"/>
                <a:gd name="T52" fmla="*/ 1 w 250"/>
                <a:gd name="T53" fmla="*/ 219 h 230"/>
                <a:gd name="T54" fmla="*/ 2 w 250"/>
                <a:gd name="T55" fmla="*/ 230 h 230"/>
                <a:gd name="T56" fmla="*/ 7 w 250"/>
                <a:gd name="T57" fmla="*/ 222 h 230"/>
                <a:gd name="T58" fmla="*/ 8 w 250"/>
                <a:gd name="T59" fmla="*/ 217 h 230"/>
                <a:gd name="T60" fmla="*/ 8 w 250"/>
                <a:gd name="T61" fmla="*/ 208 h 230"/>
                <a:gd name="T62" fmla="*/ 119 w 250"/>
                <a:gd name="T63" fmla="*/ 168 h 230"/>
                <a:gd name="T64" fmla="*/ 119 w 250"/>
                <a:gd name="T65" fmla="*/ 158 h 230"/>
                <a:gd name="T66" fmla="*/ 137 w 250"/>
                <a:gd name="T67" fmla="*/ 144 h 230"/>
                <a:gd name="T68" fmla="*/ 151 w 250"/>
                <a:gd name="T69" fmla="*/ 135 h 230"/>
                <a:gd name="T70" fmla="*/ 151 w 250"/>
                <a:gd name="T71" fmla="*/ 128 h 230"/>
                <a:gd name="T72" fmla="*/ 152 w 250"/>
                <a:gd name="T73" fmla="*/ 113 h 230"/>
                <a:gd name="T74" fmla="*/ 154 w 250"/>
                <a:gd name="T75" fmla="*/ 68 h 230"/>
                <a:gd name="T76" fmla="*/ 154 w 250"/>
                <a:gd name="T77" fmla="*/ 57 h 230"/>
                <a:gd name="T78" fmla="*/ 250 w 250"/>
                <a:gd name="T7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0" h="230">
                  <a:moveTo>
                    <a:pt x="121" y="0"/>
                  </a:moveTo>
                  <a:cubicBezTo>
                    <a:pt x="120" y="1"/>
                    <a:pt x="120" y="1"/>
                    <a:pt x="120" y="1"/>
                  </a:cubicBezTo>
                  <a:cubicBezTo>
                    <a:pt x="120" y="2"/>
                    <a:pt x="119" y="4"/>
                    <a:pt x="118" y="5"/>
                  </a:cubicBezTo>
                  <a:cubicBezTo>
                    <a:pt x="118" y="7"/>
                    <a:pt x="117" y="9"/>
                    <a:pt x="116" y="10"/>
                  </a:cubicBezTo>
                  <a:cubicBezTo>
                    <a:pt x="116" y="12"/>
                    <a:pt x="116" y="13"/>
                    <a:pt x="115" y="14"/>
                  </a:cubicBezTo>
                  <a:cubicBezTo>
                    <a:pt x="113" y="20"/>
                    <a:pt x="111" y="27"/>
                    <a:pt x="106" y="31"/>
                  </a:cubicBezTo>
                  <a:cubicBezTo>
                    <a:pt x="103" y="35"/>
                    <a:pt x="98" y="37"/>
                    <a:pt x="94" y="39"/>
                  </a:cubicBezTo>
                  <a:cubicBezTo>
                    <a:pt x="93" y="39"/>
                    <a:pt x="91" y="40"/>
                    <a:pt x="90" y="41"/>
                  </a:cubicBezTo>
                  <a:cubicBezTo>
                    <a:pt x="89" y="41"/>
                    <a:pt x="88" y="42"/>
                    <a:pt x="87" y="42"/>
                  </a:cubicBezTo>
                  <a:cubicBezTo>
                    <a:pt x="84" y="43"/>
                    <a:pt x="82" y="44"/>
                    <a:pt x="81" y="47"/>
                  </a:cubicBezTo>
                  <a:cubicBezTo>
                    <a:pt x="80" y="49"/>
                    <a:pt x="80" y="51"/>
                    <a:pt x="80" y="52"/>
                  </a:cubicBezTo>
                  <a:cubicBezTo>
                    <a:pt x="80" y="52"/>
                    <a:pt x="80" y="53"/>
                    <a:pt x="80" y="53"/>
                  </a:cubicBezTo>
                  <a:cubicBezTo>
                    <a:pt x="80" y="55"/>
                    <a:pt x="80" y="55"/>
                    <a:pt x="79" y="57"/>
                  </a:cubicBezTo>
                  <a:cubicBezTo>
                    <a:pt x="78" y="59"/>
                    <a:pt x="75" y="62"/>
                    <a:pt x="74" y="65"/>
                  </a:cubicBezTo>
                  <a:cubicBezTo>
                    <a:pt x="74" y="67"/>
                    <a:pt x="73" y="68"/>
                    <a:pt x="73" y="69"/>
                  </a:cubicBezTo>
                  <a:cubicBezTo>
                    <a:pt x="72" y="70"/>
                    <a:pt x="71" y="71"/>
                    <a:pt x="70" y="73"/>
                  </a:cubicBezTo>
                  <a:cubicBezTo>
                    <a:pt x="70" y="76"/>
                    <a:pt x="69" y="80"/>
                    <a:pt x="70" y="83"/>
                  </a:cubicBezTo>
                  <a:cubicBezTo>
                    <a:pt x="70" y="86"/>
                    <a:pt x="69" y="89"/>
                    <a:pt x="69" y="92"/>
                  </a:cubicBezTo>
                  <a:cubicBezTo>
                    <a:pt x="68" y="94"/>
                    <a:pt x="67" y="96"/>
                    <a:pt x="65" y="98"/>
                  </a:cubicBezTo>
                  <a:cubicBezTo>
                    <a:pt x="63" y="100"/>
                    <a:pt x="63" y="100"/>
                    <a:pt x="63" y="100"/>
                  </a:cubicBezTo>
                  <a:cubicBezTo>
                    <a:pt x="62" y="101"/>
                    <a:pt x="60" y="103"/>
                    <a:pt x="58" y="105"/>
                  </a:cubicBezTo>
                  <a:cubicBezTo>
                    <a:pt x="55" y="107"/>
                    <a:pt x="53" y="110"/>
                    <a:pt x="51" y="112"/>
                  </a:cubicBezTo>
                  <a:cubicBezTo>
                    <a:pt x="50" y="113"/>
                    <a:pt x="50" y="113"/>
                    <a:pt x="50" y="113"/>
                  </a:cubicBezTo>
                  <a:cubicBezTo>
                    <a:pt x="49" y="115"/>
                    <a:pt x="48" y="116"/>
                    <a:pt x="47" y="117"/>
                  </a:cubicBezTo>
                  <a:cubicBezTo>
                    <a:pt x="46" y="117"/>
                    <a:pt x="46" y="117"/>
                    <a:pt x="45" y="118"/>
                  </a:cubicBezTo>
                  <a:cubicBezTo>
                    <a:pt x="44" y="118"/>
                    <a:pt x="43" y="119"/>
                    <a:pt x="42" y="120"/>
                  </a:cubicBezTo>
                  <a:cubicBezTo>
                    <a:pt x="41" y="121"/>
                    <a:pt x="40" y="122"/>
                    <a:pt x="39" y="123"/>
                  </a:cubicBezTo>
                  <a:cubicBezTo>
                    <a:pt x="39" y="124"/>
                    <a:pt x="39" y="124"/>
                    <a:pt x="39" y="124"/>
                  </a:cubicBezTo>
                  <a:cubicBezTo>
                    <a:pt x="39" y="124"/>
                    <a:pt x="38" y="125"/>
                    <a:pt x="38" y="125"/>
                  </a:cubicBezTo>
                  <a:cubicBezTo>
                    <a:pt x="36" y="127"/>
                    <a:pt x="35" y="128"/>
                    <a:pt x="35" y="130"/>
                  </a:cubicBezTo>
                  <a:cubicBezTo>
                    <a:pt x="36" y="133"/>
                    <a:pt x="36" y="133"/>
                    <a:pt x="36" y="133"/>
                  </a:cubicBezTo>
                  <a:cubicBezTo>
                    <a:pt x="38" y="132"/>
                    <a:pt x="38" y="132"/>
                    <a:pt x="38" y="132"/>
                  </a:cubicBezTo>
                  <a:cubicBezTo>
                    <a:pt x="37" y="132"/>
                    <a:pt x="37" y="132"/>
                    <a:pt x="37" y="133"/>
                  </a:cubicBezTo>
                  <a:cubicBezTo>
                    <a:pt x="35" y="136"/>
                    <a:pt x="33" y="139"/>
                    <a:pt x="32" y="143"/>
                  </a:cubicBezTo>
                  <a:cubicBezTo>
                    <a:pt x="31" y="144"/>
                    <a:pt x="31" y="146"/>
                    <a:pt x="30" y="147"/>
                  </a:cubicBezTo>
                  <a:cubicBezTo>
                    <a:pt x="30" y="149"/>
                    <a:pt x="30" y="151"/>
                    <a:pt x="29" y="152"/>
                  </a:cubicBezTo>
                  <a:cubicBezTo>
                    <a:pt x="29" y="153"/>
                    <a:pt x="28" y="153"/>
                    <a:pt x="28" y="153"/>
                  </a:cubicBezTo>
                  <a:cubicBezTo>
                    <a:pt x="27" y="154"/>
                    <a:pt x="26" y="155"/>
                    <a:pt x="26" y="156"/>
                  </a:cubicBezTo>
                  <a:cubicBezTo>
                    <a:pt x="25" y="158"/>
                    <a:pt x="25" y="159"/>
                    <a:pt x="24" y="161"/>
                  </a:cubicBezTo>
                  <a:cubicBezTo>
                    <a:pt x="24" y="162"/>
                    <a:pt x="24" y="162"/>
                    <a:pt x="24" y="162"/>
                  </a:cubicBezTo>
                  <a:cubicBezTo>
                    <a:pt x="24" y="162"/>
                    <a:pt x="24" y="163"/>
                    <a:pt x="24" y="163"/>
                  </a:cubicBezTo>
                  <a:cubicBezTo>
                    <a:pt x="24" y="164"/>
                    <a:pt x="24" y="165"/>
                    <a:pt x="23" y="166"/>
                  </a:cubicBezTo>
                  <a:cubicBezTo>
                    <a:pt x="22" y="168"/>
                    <a:pt x="22" y="169"/>
                    <a:pt x="21" y="170"/>
                  </a:cubicBezTo>
                  <a:cubicBezTo>
                    <a:pt x="21" y="171"/>
                    <a:pt x="20" y="172"/>
                    <a:pt x="19" y="173"/>
                  </a:cubicBezTo>
                  <a:cubicBezTo>
                    <a:pt x="19" y="174"/>
                    <a:pt x="19" y="174"/>
                    <a:pt x="17" y="174"/>
                  </a:cubicBezTo>
                  <a:cubicBezTo>
                    <a:pt x="17" y="174"/>
                    <a:pt x="17" y="174"/>
                    <a:pt x="17" y="174"/>
                  </a:cubicBezTo>
                  <a:cubicBezTo>
                    <a:pt x="13" y="175"/>
                    <a:pt x="11" y="178"/>
                    <a:pt x="10" y="181"/>
                  </a:cubicBezTo>
                  <a:cubicBezTo>
                    <a:pt x="9" y="181"/>
                    <a:pt x="9" y="181"/>
                    <a:pt x="9" y="181"/>
                  </a:cubicBezTo>
                  <a:cubicBezTo>
                    <a:pt x="8" y="184"/>
                    <a:pt x="7" y="187"/>
                    <a:pt x="6" y="189"/>
                  </a:cubicBezTo>
                  <a:cubicBezTo>
                    <a:pt x="5" y="192"/>
                    <a:pt x="5" y="196"/>
                    <a:pt x="5" y="199"/>
                  </a:cubicBezTo>
                  <a:cubicBezTo>
                    <a:pt x="5" y="201"/>
                    <a:pt x="5" y="204"/>
                    <a:pt x="4" y="206"/>
                  </a:cubicBezTo>
                  <a:cubicBezTo>
                    <a:pt x="3" y="209"/>
                    <a:pt x="2" y="213"/>
                    <a:pt x="2" y="216"/>
                  </a:cubicBezTo>
                  <a:cubicBezTo>
                    <a:pt x="2" y="217"/>
                    <a:pt x="2" y="217"/>
                    <a:pt x="2" y="217"/>
                  </a:cubicBezTo>
                  <a:cubicBezTo>
                    <a:pt x="1" y="218"/>
                    <a:pt x="1" y="218"/>
                    <a:pt x="1" y="219"/>
                  </a:cubicBezTo>
                  <a:cubicBezTo>
                    <a:pt x="0" y="222"/>
                    <a:pt x="0" y="225"/>
                    <a:pt x="1" y="228"/>
                  </a:cubicBezTo>
                  <a:cubicBezTo>
                    <a:pt x="2" y="230"/>
                    <a:pt x="2" y="230"/>
                    <a:pt x="2" y="230"/>
                  </a:cubicBezTo>
                  <a:cubicBezTo>
                    <a:pt x="4" y="229"/>
                    <a:pt x="4" y="229"/>
                    <a:pt x="4" y="229"/>
                  </a:cubicBezTo>
                  <a:cubicBezTo>
                    <a:pt x="6" y="227"/>
                    <a:pt x="7" y="224"/>
                    <a:pt x="7" y="222"/>
                  </a:cubicBezTo>
                  <a:cubicBezTo>
                    <a:pt x="7" y="221"/>
                    <a:pt x="7" y="220"/>
                    <a:pt x="7" y="220"/>
                  </a:cubicBezTo>
                  <a:cubicBezTo>
                    <a:pt x="8" y="219"/>
                    <a:pt x="8" y="218"/>
                    <a:pt x="8" y="217"/>
                  </a:cubicBezTo>
                  <a:cubicBezTo>
                    <a:pt x="8" y="217"/>
                    <a:pt x="8" y="217"/>
                    <a:pt x="8" y="217"/>
                  </a:cubicBezTo>
                  <a:cubicBezTo>
                    <a:pt x="8" y="208"/>
                    <a:pt x="8" y="208"/>
                    <a:pt x="8" y="208"/>
                  </a:cubicBezTo>
                  <a:cubicBezTo>
                    <a:pt x="120" y="208"/>
                    <a:pt x="120" y="208"/>
                    <a:pt x="120" y="208"/>
                  </a:cubicBezTo>
                  <a:cubicBezTo>
                    <a:pt x="119" y="168"/>
                    <a:pt x="119" y="168"/>
                    <a:pt x="119" y="168"/>
                  </a:cubicBezTo>
                  <a:cubicBezTo>
                    <a:pt x="118" y="167"/>
                    <a:pt x="118" y="167"/>
                    <a:pt x="118" y="167"/>
                  </a:cubicBezTo>
                  <a:cubicBezTo>
                    <a:pt x="117" y="165"/>
                    <a:pt x="117" y="160"/>
                    <a:pt x="119" y="158"/>
                  </a:cubicBezTo>
                  <a:cubicBezTo>
                    <a:pt x="121" y="153"/>
                    <a:pt x="128" y="147"/>
                    <a:pt x="133" y="145"/>
                  </a:cubicBezTo>
                  <a:cubicBezTo>
                    <a:pt x="135" y="145"/>
                    <a:pt x="136" y="144"/>
                    <a:pt x="137" y="144"/>
                  </a:cubicBezTo>
                  <a:cubicBezTo>
                    <a:pt x="139" y="143"/>
                    <a:pt x="140" y="143"/>
                    <a:pt x="142" y="142"/>
                  </a:cubicBezTo>
                  <a:cubicBezTo>
                    <a:pt x="145" y="141"/>
                    <a:pt x="151" y="140"/>
                    <a:pt x="151" y="135"/>
                  </a:cubicBezTo>
                  <a:cubicBezTo>
                    <a:pt x="151" y="134"/>
                    <a:pt x="151" y="132"/>
                    <a:pt x="151" y="130"/>
                  </a:cubicBezTo>
                  <a:cubicBezTo>
                    <a:pt x="151" y="128"/>
                    <a:pt x="151" y="128"/>
                    <a:pt x="151" y="128"/>
                  </a:cubicBezTo>
                  <a:cubicBezTo>
                    <a:pt x="151" y="123"/>
                    <a:pt x="152" y="118"/>
                    <a:pt x="152" y="113"/>
                  </a:cubicBezTo>
                  <a:cubicBezTo>
                    <a:pt x="152" y="113"/>
                    <a:pt x="152" y="113"/>
                    <a:pt x="152" y="113"/>
                  </a:cubicBezTo>
                  <a:cubicBezTo>
                    <a:pt x="152" y="103"/>
                    <a:pt x="153" y="93"/>
                    <a:pt x="153" y="84"/>
                  </a:cubicBezTo>
                  <a:cubicBezTo>
                    <a:pt x="153" y="78"/>
                    <a:pt x="154" y="73"/>
                    <a:pt x="154" y="68"/>
                  </a:cubicBezTo>
                  <a:cubicBezTo>
                    <a:pt x="154" y="67"/>
                    <a:pt x="154" y="67"/>
                    <a:pt x="154" y="67"/>
                  </a:cubicBezTo>
                  <a:cubicBezTo>
                    <a:pt x="154" y="63"/>
                    <a:pt x="154" y="60"/>
                    <a:pt x="154" y="57"/>
                  </a:cubicBezTo>
                  <a:cubicBezTo>
                    <a:pt x="249" y="55"/>
                    <a:pt x="249" y="55"/>
                    <a:pt x="249" y="55"/>
                  </a:cubicBezTo>
                  <a:cubicBezTo>
                    <a:pt x="250" y="0"/>
                    <a:pt x="250" y="0"/>
                    <a:pt x="250" y="0"/>
                  </a:cubicBezTo>
                  <a:lnTo>
                    <a:pt x="121" y="0"/>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79" name="Freeform 79">
              <a:extLst>
                <a:ext uri="{FF2B5EF4-FFF2-40B4-BE49-F238E27FC236}">
                  <a16:creationId xmlns:a16="http://schemas.microsoft.com/office/drawing/2014/main" id="{8CED7729-C162-4623-8DF0-2BC65DC5937C}"/>
                </a:ext>
              </a:extLst>
            </p:cNvPr>
            <p:cNvSpPr>
              <a:spLocks/>
            </p:cNvSpPr>
            <p:nvPr/>
          </p:nvSpPr>
          <p:spPr bwMode="auto">
            <a:xfrm>
              <a:off x="1471019" y="1860073"/>
              <a:ext cx="358243" cy="397585"/>
            </a:xfrm>
            <a:custGeom>
              <a:avLst/>
              <a:gdLst>
                <a:gd name="T0" fmla="*/ 172 w 177"/>
                <a:gd name="T1" fmla="*/ 59 h 213"/>
                <a:gd name="T2" fmla="*/ 170 w 177"/>
                <a:gd name="T3" fmla="*/ 46 h 213"/>
                <a:gd name="T4" fmla="*/ 139 w 177"/>
                <a:gd name="T5" fmla="*/ 26 h 213"/>
                <a:gd name="T6" fmla="*/ 130 w 177"/>
                <a:gd name="T7" fmla="*/ 30 h 213"/>
                <a:gd name="T8" fmla="*/ 119 w 177"/>
                <a:gd name="T9" fmla="*/ 35 h 213"/>
                <a:gd name="T10" fmla="*/ 108 w 177"/>
                <a:gd name="T11" fmla="*/ 28 h 213"/>
                <a:gd name="T12" fmla="*/ 90 w 177"/>
                <a:gd name="T13" fmla="*/ 13 h 213"/>
                <a:gd name="T14" fmla="*/ 85 w 177"/>
                <a:gd name="T15" fmla="*/ 9 h 213"/>
                <a:gd name="T16" fmla="*/ 71 w 177"/>
                <a:gd name="T17" fmla="*/ 18 h 213"/>
                <a:gd name="T18" fmla="*/ 70 w 177"/>
                <a:gd name="T19" fmla="*/ 9 h 213"/>
                <a:gd name="T20" fmla="*/ 65 w 177"/>
                <a:gd name="T21" fmla="*/ 0 h 213"/>
                <a:gd name="T22" fmla="*/ 59 w 177"/>
                <a:gd name="T23" fmla="*/ 5 h 213"/>
                <a:gd name="T24" fmla="*/ 57 w 177"/>
                <a:gd name="T25" fmla="*/ 9 h 213"/>
                <a:gd name="T26" fmla="*/ 49 w 177"/>
                <a:gd name="T27" fmla="*/ 15 h 213"/>
                <a:gd name="T28" fmla="*/ 38 w 177"/>
                <a:gd name="T29" fmla="*/ 16 h 213"/>
                <a:gd name="T30" fmla="*/ 30 w 177"/>
                <a:gd name="T31" fmla="*/ 10 h 213"/>
                <a:gd name="T32" fmla="*/ 26 w 177"/>
                <a:gd name="T33" fmla="*/ 14 h 213"/>
                <a:gd name="T34" fmla="*/ 22 w 177"/>
                <a:gd name="T35" fmla="*/ 18 h 213"/>
                <a:gd name="T36" fmla="*/ 19 w 177"/>
                <a:gd name="T37" fmla="*/ 20 h 213"/>
                <a:gd name="T38" fmla="*/ 14 w 177"/>
                <a:gd name="T39" fmla="*/ 25 h 213"/>
                <a:gd name="T40" fmla="*/ 19 w 177"/>
                <a:gd name="T41" fmla="*/ 44 h 213"/>
                <a:gd name="T42" fmla="*/ 21 w 177"/>
                <a:gd name="T43" fmla="*/ 50 h 213"/>
                <a:gd name="T44" fmla="*/ 25 w 177"/>
                <a:gd name="T45" fmla="*/ 55 h 213"/>
                <a:gd name="T46" fmla="*/ 19 w 177"/>
                <a:gd name="T47" fmla="*/ 58 h 213"/>
                <a:gd name="T48" fmla="*/ 24 w 177"/>
                <a:gd name="T49" fmla="*/ 67 h 213"/>
                <a:gd name="T50" fmla="*/ 26 w 177"/>
                <a:gd name="T51" fmla="*/ 69 h 213"/>
                <a:gd name="T52" fmla="*/ 25 w 177"/>
                <a:gd name="T53" fmla="*/ 76 h 213"/>
                <a:gd name="T54" fmla="*/ 23 w 177"/>
                <a:gd name="T55" fmla="*/ 76 h 213"/>
                <a:gd name="T56" fmla="*/ 21 w 177"/>
                <a:gd name="T57" fmla="*/ 76 h 213"/>
                <a:gd name="T58" fmla="*/ 15 w 177"/>
                <a:gd name="T59" fmla="*/ 73 h 213"/>
                <a:gd name="T60" fmla="*/ 14 w 177"/>
                <a:gd name="T61" fmla="*/ 84 h 213"/>
                <a:gd name="T62" fmla="*/ 16 w 177"/>
                <a:gd name="T63" fmla="*/ 90 h 213"/>
                <a:gd name="T64" fmla="*/ 12 w 177"/>
                <a:gd name="T65" fmla="*/ 101 h 213"/>
                <a:gd name="T66" fmla="*/ 8 w 177"/>
                <a:gd name="T67" fmla="*/ 103 h 213"/>
                <a:gd name="T68" fmla="*/ 4 w 177"/>
                <a:gd name="T69" fmla="*/ 105 h 213"/>
                <a:gd name="T70" fmla="*/ 9 w 177"/>
                <a:gd name="T71" fmla="*/ 119 h 213"/>
                <a:gd name="T72" fmla="*/ 2 w 177"/>
                <a:gd name="T73" fmla="*/ 141 h 213"/>
                <a:gd name="T74" fmla="*/ 14 w 177"/>
                <a:gd name="T75" fmla="*/ 146 h 213"/>
                <a:gd name="T76" fmla="*/ 23 w 177"/>
                <a:gd name="T77" fmla="*/ 153 h 213"/>
                <a:gd name="T78" fmla="*/ 32 w 177"/>
                <a:gd name="T79" fmla="*/ 161 h 213"/>
                <a:gd name="T80" fmla="*/ 34 w 177"/>
                <a:gd name="T81" fmla="*/ 178 h 213"/>
                <a:gd name="T82" fmla="*/ 30 w 177"/>
                <a:gd name="T83" fmla="*/ 197 h 213"/>
                <a:gd name="T84" fmla="*/ 32 w 177"/>
                <a:gd name="T85" fmla="*/ 212 h 213"/>
                <a:gd name="T86" fmla="*/ 48 w 177"/>
                <a:gd name="T87" fmla="*/ 203 h 213"/>
                <a:gd name="T88" fmla="*/ 59 w 177"/>
                <a:gd name="T89" fmla="*/ 199 h 213"/>
                <a:gd name="T90" fmla="*/ 80 w 177"/>
                <a:gd name="T91" fmla="*/ 189 h 213"/>
                <a:gd name="T92" fmla="*/ 92 w 177"/>
                <a:gd name="T93" fmla="*/ 187 h 213"/>
                <a:gd name="T94" fmla="*/ 96 w 177"/>
                <a:gd name="T95" fmla="*/ 184 h 213"/>
                <a:gd name="T96" fmla="*/ 103 w 177"/>
                <a:gd name="T97" fmla="*/ 185 h 213"/>
                <a:gd name="T98" fmla="*/ 109 w 177"/>
                <a:gd name="T99" fmla="*/ 187 h 213"/>
                <a:gd name="T100" fmla="*/ 112 w 177"/>
                <a:gd name="T101" fmla="*/ 182 h 213"/>
                <a:gd name="T102" fmla="*/ 123 w 177"/>
                <a:gd name="T103" fmla="*/ 182 h 213"/>
                <a:gd name="T104" fmla="*/ 138 w 177"/>
                <a:gd name="T105" fmla="*/ 182 h 213"/>
                <a:gd name="T106" fmla="*/ 145 w 177"/>
                <a:gd name="T107" fmla="*/ 187 h 213"/>
                <a:gd name="T108" fmla="*/ 149 w 177"/>
                <a:gd name="T109" fmla="*/ 186 h 213"/>
                <a:gd name="T110" fmla="*/ 154 w 177"/>
                <a:gd name="T111" fmla="*/ 185 h 213"/>
                <a:gd name="T112" fmla="*/ 161 w 177"/>
                <a:gd name="T113" fmla="*/ 189 h 213"/>
                <a:gd name="T114" fmla="*/ 166 w 177"/>
                <a:gd name="T115" fmla="*/ 189 h 213"/>
                <a:gd name="T116" fmla="*/ 169 w 177"/>
                <a:gd name="T117" fmla="*/ 171 h 213"/>
                <a:gd name="T118" fmla="*/ 161 w 177"/>
                <a:gd name="T119" fmla="*/ 159 h 213"/>
                <a:gd name="T120" fmla="*/ 156 w 177"/>
                <a:gd name="T121" fmla="*/ 13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 h="213">
                  <a:moveTo>
                    <a:pt x="173" y="88"/>
                  </a:moveTo>
                  <a:cubicBezTo>
                    <a:pt x="177" y="80"/>
                    <a:pt x="176" y="73"/>
                    <a:pt x="174" y="65"/>
                  </a:cubicBezTo>
                  <a:cubicBezTo>
                    <a:pt x="174" y="63"/>
                    <a:pt x="173" y="61"/>
                    <a:pt x="172" y="59"/>
                  </a:cubicBezTo>
                  <a:cubicBezTo>
                    <a:pt x="171" y="59"/>
                    <a:pt x="171" y="58"/>
                    <a:pt x="170" y="57"/>
                  </a:cubicBezTo>
                  <a:cubicBezTo>
                    <a:pt x="169" y="54"/>
                    <a:pt x="169" y="53"/>
                    <a:pt x="170" y="51"/>
                  </a:cubicBezTo>
                  <a:cubicBezTo>
                    <a:pt x="170" y="49"/>
                    <a:pt x="170" y="48"/>
                    <a:pt x="170" y="46"/>
                  </a:cubicBezTo>
                  <a:cubicBezTo>
                    <a:pt x="169" y="41"/>
                    <a:pt x="164" y="35"/>
                    <a:pt x="160" y="31"/>
                  </a:cubicBezTo>
                  <a:cubicBezTo>
                    <a:pt x="156" y="27"/>
                    <a:pt x="152" y="25"/>
                    <a:pt x="146" y="25"/>
                  </a:cubicBezTo>
                  <a:cubicBezTo>
                    <a:pt x="144" y="25"/>
                    <a:pt x="142" y="26"/>
                    <a:pt x="139" y="26"/>
                  </a:cubicBezTo>
                  <a:cubicBezTo>
                    <a:pt x="137" y="27"/>
                    <a:pt x="135" y="28"/>
                    <a:pt x="133" y="29"/>
                  </a:cubicBezTo>
                  <a:cubicBezTo>
                    <a:pt x="132" y="29"/>
                    <a:pt x="132" y="29"/>
                    <a:pt x="132" y="29"/>
                  </a:cubicBezTo>
                  <a:cubicBezTo>
                    <a:pt x="132" y="30"/>
                    <a:pt x="131" y="30"/>
                    <a:pt x="130" y="30"/>
                  </a:cubicBezTo>
                  <a:cubicBezTo>
                    <a:pt x="129" y="31"/>
                    <a:pt x="128" y="32"/>
                    <a:pt x="126" y="34"/>
                  </a:cubicBezTo>
                  <a:cubicBezTo>
                    <a:pt x="125" y="35"/>
                    <a:pt x="124" y="37"/>
                    <a:pt x="122" y="37"/>
                  </a:cubicBezTo>
                  <a:cubicBezTo>
                    <a:pt x="121" y="37"/>
                    <a:pt x="120" y="36"/>
                    <a:pt x="119" y="35"/>
                  </a:cubicBezTo>
                  <a:cubicBezTo>
                    <a:pt x="118" y="34"/>
                    <a:pt x="116" y="33"/>
                    <a:pt x="115" y="33"/>
                  </a:cubicBezTo>
                  <a:cubicBezTo>
                    <a:pt x="115" y="33"/>
                    <a:pt x="114" y="32"/>
                    <a:pt x="113" y="32"/>
                  </a:cubicBezTo>
                  <a:cubicBezTo>
                    <a:pt x="111" y="32"/>
                    <a:pt x="110" y="32"/>
                    <a:pt x="108" y="28"/>
                  </a:cubicBezTo>
                  <a:cubicBezTo>
                    <a:pt x="106" y="24"/>
                    <a:pt x="101" y="15"/>
                    <a:pt x="95" y="14"/>
                  </a:cubicBezTo>
                  <a:cubicBezTo>
                    <a:pt x="94" y="14"/>
                    <a:pt x="94" y="14"/>
                    <a:pt x="93" y="14"/>
                  </a:cubicBezTo>
                  <a:cubicBezTo>
                    <a:pt x="92" y="14"/>
                    <a:pt x="91" y="14"/>
                    <a:pt x="90" y="13"/>
                  </a:cubicBezTo>
                  <a:cubicBezTo>
                    <a:pt x="89" y="12"/>
                    <a:pt x="89" y="12"/>
                    <a:pt x="88" y="11"/>
                  </a:cubicBezTo>
                  <a:cubicBezTo>
                    <a:pt x="88" y="11"/>
                    <a:pt x="87" y="10"/>
                    <a:pt x="86" y="10"/>
                  </a:cubicBezTo>
                  <a:cubicBezTo>
                    <a:pt x="86" y="9"/>
                    <a:pt x="85" y="9"/>
                    <a:pt x="85" y="9"/>
                  </a:cubicBezTo>
                  <a:cubicBezTo>
                    <a:pt x="82" y="9"/>
                    <a:pt x="80" y="11"/>
                    <a:pt x="78" y="13"/>
                  </a:cubicBezTo>
                  <a:cubicBezTo>
                    <a:pt x="78" y="13"/>
                    <a:pt x="77" y="14"/>
                    <a:pt x="77" y="14"/>
                  </a:cubicBezTo>
                  <a:cubicBezTo>
                    <a:pt x="76" y="15"/>
                    <a:pt x="73" y="18"/>
                    <a:pt x="71" y="18"/>
                  </a:cubicBezTo>
                  <a:cubicBezTo>
                    <a:pt x="71" y="18"/>
                    <a:pt x="71" y="18"/>
                    <a:pt x="70" y="17"/>
                  </a:cubicBezTo>
                  <a:cubicBezTo>
                    <a:pt x="69" y="17"/>
                    <a:pt x="69" y="15"/>
                    <a:pt x="70" y="12"/>
                  </a:cubicBezTo>
                  <a:cubicBezTo>
                    <a:pt x="70" y="11"/>
                    <a:pt x="70" y="10"/>
                    <a:pt x="70" y="9"/>
                  </a:cubicBezTo>
                  <a:cubicBezTo>
                    <a:pt x="70" y="8"/>
                    <a:pt x="70" y="2"/>
                    <a:pt x="68" y="0"/>
                  </a:cubicBezTo>
                  <a:cubicBezTo>
                    <a:pt x="67" y="0"/>
                    <a:pt x="67" y="0"/>
                    <a:pt x="67" y="0"/>
                  </a:cubicBezTo>
                  <a:cubicBezTo>
                    <a:pt x="65" y="0"/>
                    <a:pt x="65" y="0"/>
                    <a:pt x="65" y="0"/>
                  </a:cubicBezTo>
                  <a:cubicBezTo>
                    <a:pt x="65" y="0"/>
                    <a:pt x="64" y="1"/>
                    <a:pt x="63" y="3"/>
                  </a:cubicBezTo>
                  <a:cubicBezTo>
                    <a:pt x="62" y="4"/>
                    <a:pt x="62" y="6"/>
                    <a:pt x="60" y="6"/>
                  </a:cubicBezTo>
                  <a:cubicBezTo>
                    <a:pt x="60" y="6"/>
                    <a:pt x="59" y="6"/>
                    <a:pt x="59" y="5"/>
                  </a:cubicBezTo>
                  <a:cubicBezTo>
                    <a:pt x="54" y="3"/>
                    <a:pt x="54" y="3"/>
                    <a:pt x="54" y="3"/>
                  </a:cubicBezTo>
                  <a:cubicBezTo>
                    <a:pt x="56" y="8"/>
                    <a:pt x="56" y="8"/>
                    <a:pt x="56" y="8"/>
                  </a:cubicBezTo>
                  <a:cubicBezTo>
                    <a:pt x="56" y="8"/>
                    <a:pt x="56" y="9"/>
                    <a:pt x="57" y="9"/>
                  </a:cubicBezTo>
                  <a:cubicBezTo>
                    <a:pt x="57" y="10"/>
                    <a:pt x="58" y="11"/>
                    <a:pt x="57" y="12"/>
                  </a:cubicBezTo>
                  <a:cubicBezTo>
                    <a:pt x="57" y="12"/>
                    <a:pt x="57" y="13"/>
                    <a:pt x="53" y="13"/>
                  </a:cubicBezTo>
                  <a:cubicBezTo>
                    <a:pt x="51" y="13"/>
                    <a:pt x="50" y="13"/>
                    <a:pt x="49" y="15"/>
                  </a:cubicBezTo>
                  <a:cubicBezTo>
                    <a:pt x="49" y="16"/>
                    <a:pt x="48" y="16"/>
                    <a:pt x="48" y="17"/>
                  </a:cubicBezTo>
                  <a:cubicBezTo>
                    <a:pt x="47" y="18"/>
                    <a:pt x="46" y="18"/>
                    <a:pt x="45" y="18"/>
                  </a:cubicBezTo>
                  <a:cubicBezTo>
                    <a:pt x="44" y="18"/>
                    <a:pt x="41" y="18"/>
                    <a:pt x="38" y="16"/>
                  </a:cubicBezTo>
                  <a:cubicBezTo>
                    <a:pt x="37" y="15"/>
                    <a:pt x="36" y="14"/>
                    <a:pt x="35" y="13"/>
                  </a:cubicBezTo>
                  <a:cubicBezTo>
                    <a:pt x="34" y="12"/>
                    <a:pt x="34" y="11"/>
                    <a:pt x="32" y="11"/>
                  </a:cubicBezTo>
                  <a:cubicBezTo>
                    <a:pt x="31" y="10"/>
                    <a:pt x="31" y="10"/>
                    <a:pt x="30" y="10"/>
                  </a:cubicBezTo>
                  <a:cubicBezTo>
                    <a:pt x="29" y="10"/>
                    <a:pt x="29" y="10"/>
                    <a:pt x="29" y="10"/>
                  </a:cubicBezTo>
                  <a:cubicBezTo>
                    <a:pt x="29" y="10"/>
                    <a:pt x="29" y="10"/>
                    <a:pt x="29" y="10"/>
                  </a:cubicBezTo>
                  <a:cubicBezTo>
                    <a:pt x="28" y="10"/>
                    <a:pt x="27" y="12"/>
                    <a:pt x="26" y="14"/>
                  </a:cubicBezTo>
                  <a:cubicBezTo>
                    <a:pt x="25" y="15"/>
                    <a:pt x="25" y="16"/>
                    <a:pt x="24" y="17"/>
                  </a:cubicBezTo>
                  <a:cubicBezTo>
                    <a:pt x="23" y="17"/>
                    <a:pt x="23" y="17"/>
                    <a:pt x="22" y="18"/>
                  </a:cubicBezTo>
                  <a:cubicBezTo>
                    <a:pt x="22" y="18"/>
                    <a:pt x="22" y="18"/>
                    <a:pt x="22" y="18"/>
                  </a:cubicBezTo>
                  <a:cubicBezTo>
                    <a:pt x="21" y="18"/>
                    <a:pt x="20" y="18"/>
                    <a:pt x="20" y="18"/>
                  </a:cubicBezTo>
                  <a:cubicBezTo>
                    <a:pt x="19" y="19"/>
                    <a:pt x="19" y="19"/>
                    <a:pt x="19" y="19"/>
                  </a:cubicBezTo>
                  <a:cubicBezTo>
                    <a:pt x="19" y="20"/>
                    <a:pt x="19" y="20"/>
                    <a:pt x="19" y="20"/>
                  </a:cubicBezTo>
                  <a:cubicBezTo>
                    <a:pt x="18" y="21"/>
                    <a:pt x="17" y="23"/>
                    <a:pt x="15" y="23"/>
                  </a:cubicBezTo>
                  <a:cubicBezTo>
                    <a:pt x="14" y="24"/>
                    <a:pt x="14" y="24"/>
                    <a:pt x="14" y="24"/>
                  </a:cubicBezTo>
                  <a:cubicBezTo>
                    <a:pt x="14" y="25"/>
                    <a:pt x="14" y="25"/>
                    <a:pt x="14" y="25"/>
                  </a:cubicBezTo>
                  <a:cubicBezTo>
                    <a:pt x="14" y="30"/>
                    <a:pt x="14" y="34"/>
                    <a:pt x="14" y="39"/>
                  </a:cubicBezTo>
                  <a:cubicBezTo>
                    <a:pt x="14" y="40"/>
                    <a:pt x="15" y="42"/>
                    <a:pt x="17" y="44"/>
                  </a:cubicBezTo>
                  <a:cubicBezTo>
                    <a:pt x="18" y="44"/>
                    <a:pt x="18" y="44"/>
                    <a:pt x="19" y="44"/>
                  </a:cubicBezTo>
                  <a:cubicBezTo>
                    <a:pt x="20" y="45"/>
                    <a:pt x="21" y="45"/>
                    <a:pt x="21" y="46"/>
                  </a:cubicBezTo>
                  <a:cubicBezTo>
                    <a:pt x="21" y="46"/>
                    <a:pt x="21" y="47"/>
                    <a:pt x="21" y="47"/>
                  </a:cubicBezTo>
                  <a:cubicBezTo>
                    <a:pt x="21" y="48"/>
                    <a:pt x="20" y="48"/>
                    <a:pt x="21" y="50"/>
                  </a:cubicBezTo>
                  <a:cubicBezTo>
                    <a:pt x="21" y="51"/>
                    <a:pt x="22" y="52"/>
                    <a:pt x="23" y="52"/>
                  </a:cubicBezTo>
                  <a:cubicBezTo>
                    <a:pt x="24" y="53"/>
                    <a:pt x="24" y="53"/>
                    <a:pt x="24" y="53"/>
                  </a:cubicBezTo>
                  <a:cubicBezTo>
                    <a:pt x="24" y="54"/>
                    <a:pt x="25" y="54"/>
                    <a:pt x="25" y="55"/>
                  </a:cubicBezTo>
                  <a:cubicBezTo>
                    <a:pt x="25" y="55"/>
                    <a:pt x="24" y="55"/>
                    <a:pt x="23" y="55"/>
                  </a:cubicBezTo>
                  <a:cubicBezTo>
                    <a:pt x="23" y="55"/>
                    <a:pt x="22" y="56"/>
                    <a:pt x="21" y="56"/>
                  </a:cubicBezTo>
                  <a:cubicBezTo>
                    <a:pt x="20" y="56"/>
                    <a:pt x="20" y="57"/>
                    <a:pt x="19" y="58"/>
                  </a:cubicBezTo>
                  <a:cubicBezTo>
                    <a:pt x="19" y="60"/>
                    <a:pt x="19" y="61"/>
                    <a:pt x="20" y="63"/>
                  </a:cubicBezTo>
                  <a:cubicBezTo>
                    <a:pt x="20" y="64"/>
                    <a:pt x="21" y="65"/>
                    <a:pt x="22" y="65"/>
                  </a:cubicBezTo>
                  <a:cubicBezTo>
                    <a:pt x="22" y="66"/>
                    <a:pt x="23" y="67"/>
                    <a:pt x="24" y="67"/>
                  </a:cubicBezTo>
                  <a:cubicBezTo>
                    <a:pt x="24" y="68"/>
                    <a:pt x="24" y="68"/>
                    <a:pt x="24" y="68"/>
                  </a:cubicBezTo>
                  <a:cubicBezTo>
                    <a:pt x="25" y="68"/>
                    <a:pt x="25" y="68"/>
                    <a:pt x="25" y="68"/>
                  </a:cubicBezTo>
                  <a:cubicBezTo>
                    <a:pt x="26" y="69"/>
                    <a:pt x="26" y="69"/>
                    <a:pt x="26" y="69"/>
                  </a:cubicBezTo>
                  <a:cubicBezTo>
                    <a:pt x="28" y="71"/>
                    <a:pt x="28" y="74"/>
                    <a:pt x="27" y="76"/>
                  </a:cubicBezTo>
                  <a:cubicBezTo>
                    <a:pt x="27" y="77"/>
                    <a:pt x="26" y="77"/>
                    <a:pt x="26" y="77"/>
                  </a:cubicBezTo>
                  <a:cubicBezTo>
                    <a:pt x="26" y="77"/>
                    <a:pt x="25" y="77"/>
                    <a:pt x="25" y="76"/>
                  </a:cubicBezTo>
                  <a:cubicBezTo>
                    <a:pt x="24" y="76"/>
                    <a:pt x="24" y="76"/>
                    <a:pt x="24" y="76"/>
                  </a:cubicBezTo>
                  <a:cubicBezTo>
                    <a:pt x="24" y="76"/>
                    <a:pt x="24" y="76"/>
                    <a:pt x="24" y="76"/>
                  </a:cubicBezTo>
                  <a:cubicBezTo>
                    <a:pt x="23" y="76"/>
                    <a:pt x="23" y="76"/>
                    <a:pt x="23" y="76"/>
                  </a:cubicBezTo>
                  <a:cubicBezTo>
                    <a:pt x="23" y="76"/>
                    <a:pt x="23" y="76"/>
                    <a:pt x="23" y="76"/>
                  </a:cubicBezTo>
                  <a:cubicBezTo>
                    <a:pt x="22" y="76"/>
                    <a:pt x="22" y="76"/>
                    <a:pt x="22" y="76"/>
                  </a:cubicBezTo>
                  <a:cubicBezTo>
                    <a:pt x="22" y="76"/>
                    <a:pt x="21" y="76"/>
                    <a:pt x="21" y="76"/>
                  </a:cubicBezTo>
                  <a:cubicBezTo>
                    <a:pt x="20" y="75"/>
                    <a:pt x="19" y="75"/>
                    <a:pt x="19" y="74"/>
                  </a:cubicBezTo>
                  <a:cubicBezTo>
                    <a:pt x="18" y="74"/>
                    <a:pt x="18" y="73"/>
                    <a:pt x="16" y="73"/>
                  </a:cubicBezTo>
                  <a:cubicBezTo>
                    <a:pt x="16" y="73"/>
                    <a:pt x="16" y="73"/>
                    <a:pt x="15" y="73"/>
                  </a:cubicBezTo>
                  <a:cubicBezTo>
                    <a:pt x="14" y="73"/>
                    <a:pt x="14" y="73"/>
                    <a:pt x="13" y="73"/>
                  </a:cubicBezTo>
                  <a:cubicBezTo>
                    <a:pt x="11" y="75"/>
                    <a:pt x="10" y="77"/>
                    <a:pt x="10" y="79"/>
                  </a:cubicBezTo>
                  <a:cubicBezTo>
                    <a:pt x="10" y="82"/>
                    <a:pt x="12" y="83"/>
                    <a:pt x="14" y="84"/>
                  </a:cubicBezTo>
                  <a:cubicBezTo>
                    <a:pt x="15" y="84"/>
                    <a:pt x="16" y="85"/>
                    <a:pt x="17" y="85"/>
                  </a:cubicBezTo>
                  <a:cubicBezTo>
                    <a:pt x="18" y="86"/>
                    <a:pt x="18" y="87"/>
                    <a:pt x="18" y="87"/>
                  </a:cubicBezTo>
                  <a:cubicBezTo>
                    <a:pt x="18" y="88"/>
                    <a:pt x="17" y="89"/>
                    <a:pt x="16" y="90"/>
                  </a:cubicBezTo>
                  <a:cubicBezTo>
                    <a:pt x="16" y="91"/>
                    <a:pt x="15" y="91"/>
                    <a:pt x="15" y="92"/>
                  </a:cubicBezTo>
                  <a:cubicBezTo>
                    <a:pt x="14" y="93"/>
                    <a:pt x="14" y="95"/>
                    <a:pt x="14" y="96"/>
                  </a:cubicBezTo>
                  <a:cubicBezTo>
                    <a:pt x="14" y="98"/>
                    <a:pt x="13" y="100"/>
                    <a:pt x="12" y="101"/>
                  </a:cubicBezTo>
                  <a:cubicBezTo>
                    <a:pt x="11" y="103"/>
                    <a:pt x="11" y="103"/>
                    <a:pt x="10" y="103"/>
                  </a:cubicBezTo>
                  <a:cubicBezTo>
                    <a:pt x="10" y="103"/>
                    <a:pt x="10" y="103"/>
                    <a:pt x="10" y="103"/>
                  </a:cubicBezTo>
                  <a:cubicBezTo>
                    <a:pt x="8" y="103"/>
                    <a:pt x="8" y="103"/>
                    <a:pt x="8" y="103"/>
                  </a:cubicBezTo>
                  <a:cubicBezTo>
                    <a:pt x="8" y="103"/>
                    <a:pt x="7" y="103"/>
                    <a:pt x="6" y="103"/>
                  </a:cubicBezTo>
                  <a:cubicBezTo>
                    <a:pt x="4" y="104"/>
                    <a:pt x="4" y="104"/>
                    <a:pt x="4" y="104"/>
                  </a:cubicBezTo>
                  <a:cubicBezTo>
                    <a:pt x="4" y="105"/>
                    <a:pt x="4" y="105"/>
                    <a:pt x="4" y="105"/>
                  </a:cubicBezTo>
                  <a:cubicBezTo>
                    <a:pt x="4" y="108"/>
                    <a:pt x="5" y="110"/>
                    <a:pt x="6" y="112"/>
                  </a:cubicBezTo>
                  <a:cubicBezTo>
                    <a:pt x="6" y="113"/>
                    <a:pt x="6" y="113"/>
                    <a:pt x="7" y="114"/>
                  </a:cubicBezTo>
                  <a:cubicBezTo>
                    <a:pt x="8" y="115"/>
                    <a:pt x="9" y="117"/>
                    <a:pt x="9" y="119"/>
                  </a:cubicBezTo>
                  <a:cubicBezTo>
                    <a:pt x="9" y="122"/>
                    <a:pt x="9" y="124"/>
                    <a:pt x="8" y="127"/>
                  </a:cubicBezTo>
                  <a:cubicBezTo>
                    <a:pt x="7" y="130"/>
                    <a:pt x="5" y="132"/>
                    <a:pt x="4" y="134"/>
                  </a:cubicBezTo>
                  <a:cubicBezTo>
                    <a:pt x="2" y="136"/>
                    <a:pt x="0" y="139"/>
                    <a:pt x="2" y="141"/>
                  </a:cubicBezTo>
                  <a:cubicBezTo>
                    <a:pt x="4" y="144"/>
                    <a:pt x="7" y="146"/>
                    <a:pt x="10" y="146"/>
                  </a:cubicBezTo>
                  <a:cubicBezTo>
                    <a:pt x="11" y="147"/>
                    <a:pt x="11" y="147"/>
                    <a:pt x="12" y="147"/>
                  </a:cubicBezTo>
                  <a:cubicBezTo>
                    <a:pt x="12" y="147"/>
                    <a:pt x="13" y="147"/>
                    <a:pt x="14" y="146"/>
                  </a:cubicBezTo>
                  <a:cubicBezTo>
                    <a:pt x="15" y="146"/>
                    <a:pt x="15" y="146"/>
                    <a:pt x="16" y="146"/>
                  </a:cubicBezTo>
                  <a:cubicBezTo>
                    <a:pt x="18" y="146"/>
                    <a:pt x="19" y="147"/>
                    <a:pt x="20" y="147"/>
                  </a:cubicBezTo>
                  <a:cubicBezTo>
                    <a:pt x="21" y="148"/>
                    <a:pt x="22" y="150"/>
                    <a:pt x="23" y="153"/>
                  </a:cubicBezTo>
                  <a:cubicBezTo>
                    <a:pt x="23" y="154"/>
                    <a:pt x="24" y="154"/>
                    <a:pt x="24" y="155"/>
                  </a:cubicBezTo>
                  <a:cubicBezTo>
                    <a:pt x="26" y="158"/>
                    <a:pt x="27" y="158"/>
                    <a:pt x="29" y="159"/>
                  </a:cubicBezTo>
                  <a:cubicBezTo>
                    <a:pt x="30" y="160"/>
                    <a:pt x="31" y="160"/>
                    <a:pt x="32" y="161"/>
                  </a:cubicBezTo>
                  <a:cubicBezTo>
                    <a:pt x="34" y="162"/>
                    <a:pt x="34" y="165"/>
                    <a:pt x="34" y="168"/>
                  </a:cubicBezTo>
                  <a:cubicBezTo>
                    <a:pt x="34" y="170"/>
                    <a:pt x="34" y="170"/>
                    <a:pt x="34" y="170"/>
                  </a:cubicBezTo>
                  <a:cubicBezTo>
                    <a:pt x="34" y="173"/>
                    <a:pt x="34" y="175"/>
                    <a:pt x="34" y="178"/>
                  </a:cubicBezTo>
                  <a:cubicBezTo>
                    <a:pt x="34" y="181"/>
                    <a:pt x="32" y="184"/>
                    <a:pt x="31" y="187"/>
                  </a:cubicBezTo>
                  <a:cubicBezTo>
                    <a:pt x="30" y="189"/>
                    <a:pt x="30" y="192"/>
                    <a:pt x="30" y="195"/>
                  </a:cubicBezTo>
                  <a:cubicBezTo>
                    <a:pt x="30" y="197"/>
                    <a:pt x="30" y="197"/>
                    <a:pt x="30" y="197"/>
                  </a:cubicBezTo>
                  <a:cubicBezTo>
                    <a:pt x="29" y="202"/>
                    <a:pt x="29" y="206"/>
                    <a:pt x="29" y="210"/>
                  </a:cubicBezTo>
                  <a:cubicBezTo>
                    <a:pt x="29" y="213"/>
                    <a:pt x="29" y="213"/>
                    <a:pt x="29" y="213"/>
                  </a:cubicBezTo>
                  <a:cubicBezTo>
                    <a:pt x="32" y="212"/>
                    <a:pt x="32" y="212"/>
                    <a:pt x="32" y="212"/>
                  </a:cubicBezTo>
                  <a:cubicBezTo>
                    <a:pt x="35" y="211"/>
                    <a:pt x="38" y="209"/>
                    <a:pt x="41" y="207"/>
                  </a:cubicBezTo>
                  <a:cubicBezTo>
                    <a:pt x="42" y="206"/>
                    <a:pt x="42" y="205"/>
                    <a:pt x="43" y="205"/>
                  </a:cubicBezTo>
                  <a:cubicBezTo>
                    <a:pt x="45" y="204"/>
                    <a:pt x="46" y="204"/>
                    <a:pt x="48" y="203"/>
                  </a:cubicBezTo>
                  <a:cubicBezTo>
                    <a:pt x="49" y="203"/>
                    <a:pt x="50" y="203"/>
                    <a:pt x="52" y="202"/>
                  </a:cubicBezTo>
                  <a:cubicBezTo>
                    <a:pt x="53" y="202"/>
                    <a:pt x="54" y="202"/>
                    <a:pt x="55" y="201"/>
                  </a:cubicBezTo>
                  <a:cubicBezTo>
                    <a:pt x="56" y="200"/>
                    <a:pt x="58" y="200"/>
                    <a:pt x="59" y="199"/>
                  </a:cubicBezTo>
                  <a:cubicBezTo>
                    <a:pt x="64" y="198"/>
                    <a:pt x="68" y="196"/>
                    <a:pt x="72" y="194"/>
                  </a:cubicBezTo>
                  <a:cubicBezTo>
                    <a:pt x="73" y="194"/>
                    <a:pt x="73" y="193"/>
                    <a:pt x="74" y="192"/>
                  </a:cubicBezTo>
                  <a:cubicBezTo>
                    <a:pt x="76" y="191"/>
                    <a:pt x="78" y="190"/>
                    <a:pt x="80" y="189"/>
                  </a:cubicBezTo>
                  <a:cubicBezTo>
                    <a:pt x="81" y="189"/>
                    <a:pt x="82" y="189"/>
                    <a:pt x="83" y="189"/>
                  </a:cubicBezTo>
                  <a:cubicBezTo>
                    <a:pt x="84" y="189"/>
                    <a:pt x="85" y="189"/>
                    <a:pt x="86" y="189"/>
                  </a:cubicBezTo>
                  <a:cubicBezTo>
                    <a:pt x="88" y="188"/>
                    <a:pt x="90" y="188"/>
                    <a:pt x="92" y="187"/>
                  </a:cubicBezTo>
                  <a:cubicBezTo>
                    <a:pt x="92" y="187"/>
                    <a:pt x="92" y="187"/>
                    <a:pt x="92" y="187"/>
                  </a:cubicBezTo>
                  <a:cubicBezTo>
                    <a:pt x="93" y="187"/>
                    <a:pt x="94" y="186"/>
                    <a:pt x="94" y="186"/>
                  </a:cubicBezTo>
                  <a:cubicBezTo>
                    <a:pt x="95" y="185"/>
                    <a:pt x="95" y="184"/>
                    <a:pt x="96" y="184"/>
                  </a:cubicBezTo>
                  <a:cubicBezTo>
                    <a:pt x="96" y="184"/>
                    <a:pt x="96" y="183"/>
                    <a:pt x="97" y="183"/>
                  </a:cubicBezTo>
                  <a:cubicBezTo>
                    <a:pt x="100" y="183"/>
                    <a:pt x="102" y="184"/>
                    <a:pt x="103" y="185"/>
                  </a:cubicBezTo>
                  <a:cubicBezTo>
                    <a:pt x="103" y="185"/>
                    <a:pt x="103" y="185"/>
                    <a:pt x="103" y="185"/>
                  </a:cubicBezTo>
                  <a:cubicBezTo>
                    <a:pt x="103" y="186"/>
                    <a:pt x="104" y="186"/>
                    <a:pt x="105" y="187"/>
                  </a:cubicBezTo>
                  <a:cubicBezTo>
                    <a:pt x="105" y="187"/>
                    <a:pt x="106" y="187"/>
                    <a:pt x="106" y="187"/>
                  </a:cubicBezTo>
                  <a:cubicBezTo>
                    <a:pt x="107" y="187"/>
                    <a:pt x="108" y="187"/>
                    <a:pt x="109" y="187"/>
                  </a:cubicBezTo>
                  <a:cubicBezTo>
                    <a:pt x="111" y="186"/>
                    <a:pt x="112" y="184"/>
                    <a:pt x="112" y="183"/>
                  </a:cubicBezTo>
                  <a:cubicBezTo>
                    <a:pt x="112" y="182"/>
                    <a:pt x="112" y="182"/>
                    <a:pt x="112" y="182"/>
                  </a:cubicBezTo>
                  <a:cubicBezTo>
                    <a:pt x="112" y="182"/>
                    <a:pt x="112" y="182"/>
                    <a:pt x="112" y="182"/>
                  </a:cubicBezTo>
                  <a:cubicBezTo>
                    <a:pt x="113" y="182"/>
                    <a:pt x="113" y="182"/>
                    <a:pt x="114" y="182"/>
                  </a:cubicBezTo>
                  <a:cubicBezTo>
                    <a:pt x="115" y="183"/>
                    <a:pt x="115" y="183"/>
                    <a:pt x="116" y="183"/>
                  </a:cubicBezTo>
                  <a:cubicBezTo>
                    <a:pt x="119" y="183"/>
                    <a:pt x="121" y="182"/>
                    <a:pt x="123" y="182"/>
                  </a:cubicBezTo>
                  <a:cubicBezTo>
                    <a:pt x="126" y="181"/>
                    <a:pt x="128" y="181"/>
                    <a:pt x="130" y="181"/>
                  </a:cubicBezTo>
                  <a:cubicBezTo>
                    <a:pt x="131" y="181"/>
                    <a:pt x="131" y="181"/>
                    <a:pt x="131" y="181"/>
                  </a:cubicBezTo>
                  <a:cubicBezTo>
                    <a:pt x="133" y="181"/>
                    <a:pt x="136" y="181"/>
                    <a:pt x="138" y="182"/>
                  </a:cubicBezTo>
                  <a:cubicBezTo>
                    <a:pt x="138" y="182"/>
                    <a:pt x="139" y="183"/>
                    <a:pt x="140" y="183"/>
                  </a:cubicBezTo>
                  <a:cubicBezTo>
                    <a:pt x="141" y="184"/>
                    <a:pt x="142" y="186"/>
                    <a:pt x="144" y="186"/>
                  </a:cubicBezTo>
                  <a:cubicBezTo>
                    <a:pt x="144" y="186"/>
                    <a:pt x="145" y="187"/>
                    <a:pt x="145" y="187"/>
                  </a:cubicBezTo>
                  <a:cubicBezTo>
                    <a:pt x="146" y="187"/>
                    <a:pt x="147" y="186"/>
                    <a:pt x="148" y="186"/>
                  </a:cubicBezTo>
                  <a:cubicBezTo>
                    <a:pt x="148" y="186"/>
                    <a:pt x="148" y="186"/>
                    <a:pt x="148" y="186"/>
                  </a:cubicBezTo>
                  <a:cubicBezTo>
                    <a:pt x="149" y="186"/>
                    <a:pt x="149" y="186"/>
                    <a:pt x="149" y="186"/>
                  </a:cubicBezTo>
                  <a:cubicBezTo>
                    <a:pt x="150" y="186"/>
                    <a:pt x="150" y="186"/>
                    <a:pt x="150" y="186"/>
                  </a:cubicBezTo>
                  <a:cubicBezTo>
                    <a:pt x="151" y="186"/>
                    <a:pt x="152" y="186"/>
                    <a:pt x="152" y="186"/>
                  </a:cubicBezTo>
                  <a:cubicBezTo>
                    <a:pt x="153" y="185"/>
                    <a:pt x="153" y="185"/>
                    <a:pt x="154" y="185"/>
                  </a:cubicBezTo>
                  <a:cubicBezTo>
                    <a:pt x="154" y="186"/>
                    <a:pt x="154" y="187"/>
                    <a:pt x="155" y="187"/>
                  </a:cubicBezTo>
                  <a:cubicBezTo>
                    <a:pt x="156" y="188"/>
                    <a:pt x="157" y="189"/>
                    <a:pt x="159" y="189"/>
                  </a:cubicBezTo>
                  <a:cubicBezTo>
                    <a:pt x="159" y="189"/>
                    <a:pt x="160" y="189"/>
                    <a:pt x="161" y="189"/>
                  </a:cubicBezTo>
                  <a:cubicBezTo>
                    <a:pt x="162" y="188"/>
                    <a:pt x="162" y="188"/>
                    <a:pt x="163" y="188"/>
                  </a:cubicBezTo>
                  <a:cubicBezTo>
                    <a:pt x="163" y="188"/>
                    <a:pt x="163" y="188"/>
                    <a:pt x="163" y="188"/>
                  </a:cubicBezTo>
                  <a:cubicBezTo>
                    <a:pt x="164" y="188"/>
                    <a:pt x="165" y="189"/>
                    <a:pt x="166" y="189"/>
                  </a:cubicBezTo>
                  <a:cubicBezTo>
                    <a:pt x="168" y="190"/>
                    <a:pt x="168" y="190"/>
                    <a:pt x="168" y="190"/>
                  </a:cubicBezTo>
                  <a:cubicBezTo>
                    <a:pt x="168" y="188"/>
                    <a:pt x="168" y="188"/>
                    <a:pt x="168" y="188"/>
                  </a:cubicBezTo>
                  <a:cubicBezTo>
                    <a:pt x="170" y="182"/>
                    <a:pt x="171" y="176"/>
                    <a:pt x="169" y="171"/>
                  </a:cubicBezTo>
                  <a:cubicBezTo>
                    <a:pt x="168" y="170"/>
                    <a:pt x="167" y="169"/>
                    <a:pt x="166" y="168"/>
                  </a:cubicBezTo>
                  <a:cubicBezTo>
                    <a:pt x="165" y="167"/>
                    <a:pt x="164" y="166"/>
                    <a:pt x="164" y="165"/>
                  </a:cubicBezTo>
                  <a:cubicBezTo>
                    <a:pt x="162" y="163"/>
                    <a:pt x="162" y="161"/>
                    <a:pt x="161" y="159"/>
                  </a:cubicBezTo>
                  <a:cubicBezTo>
                    <a:pt x="161" y="157"/>
                    <a:pt x="161" y="157"/>
                    <a:pt x="161" y="157"/>
                  </a:cubicBezTo>
                  <a:cubicBezTo>
                    <a:pt x="160" y="155"/>
                    <a:pt x="160" y="154"/>
                    <a:pt x="159" y="152"/>
                  </a:cubicBezTo>
                  <a:cubicBezTo>
                    <a:pt x="157" y="147"/>
                    <a:pt x="156" y="142"/>
                    <a:pt x="156" y="136"/>
                  </a:cubicBezTo>
                  <a:cubicBezTo>
                    <a:pt x="156" y="128"/>
                    <a:pt x="158" y="120"/>
                    <a:pt x="161" y="112"/>
                  </a:cubicBezTo>
                  <a:cubicBezTo>
                    <a:pt x="164" y="103"/>
                    <a:pt x="168" y="96"/>
                    <a:pt x="173" y="88"/>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80" name="Freeform 80">
              <a:extLst>
                <a:ext uri="{FF2B5EF4-FFF2-40B4-BE49-F238E27FC236}">
                  <a16:creationId xmlns:a16="http://schemas.microsoft.com/office/drawing/2014/main" id="{F0DD5861-094C-444C-9841-4A6893121111}"/>
                </a:ext>
              </a:extLst>
            </p:cNvPr>
            <p:cNvSpPr>
              <a:spLocks/>
            </p:cNvSpPr>
            <p:nvPr/>
          </p:nvSpPr>
          <p:spPr bwMode="auto">
            <a:xfrm>
              <a:off x="1784621" y="1834389"/>
              <a:ext cx="261149" cy="400667"/>
            </a:xfrm>
            <a:custGeom>
              <a:avLst/>
              <a:gdLst>
                <a:gd name="T0" fmla="*/ 126 w 129"/>
                <a:gd name="T1" fmla="*/ 164 h 215"/>
                <a:gd name="T2" fmla="*/ 117 w 129"/>
                <a:gd name="T3" fmla="*/ 158 h 215"/>
                <a:gd name="T4" fmla="*/ 111 w 129"/>
                <a:gd name="T5" fmla="*/ 134 h 215"/>
                <a:gd name="T6" fmla="*/ 113 w 129"/>
                <a:gd name="T7" fmla="*/ 126 h 215"/>
                <a:gd name="T8" fmla="*/ 112 w 129"/>
                <a:gd name="T9" fmla="*/ 124 h 215"/>
                <a:gd name="T10" fmla="*/ 110 w 129"/>
                <a:gd name="T11" fmla="*/ 117 h 215"/>
                <a:gd name="T12" fmla="*/ 112 w 129"/>
                <a:gd name="T13" fmla="*/ 102 h 215"/>
                <a:gd name="T14" fmla="*/ 111 w 129"/>
                <a:gd name="T15" fmla="*/ 98 h 215"/>
                <a:gd name="T16" fmla="*/ 114 w 129"/>
                <a:gd name="T17" fmla="*/ 96 h 215"/>
                <a:gd name="T18" fmla="*/ 114 w 129"/>
                <a:gd name="T19" fmla="*/ 95 h 215"/>
                <a:gd name="T20" fmla="*/ 107 w 129"/>
                <a:gd name="T21" fmla="*/ 83 h 215"/>
                <a:gd name="T22" fmla="*/ 109 w 129"/>
                <a:gd name="T23" fmla="*/ 76 h 215"/>
                <a:gd name="T24" fmla="*/ 107 w 129"/>
                <a:gd name="T25" fmla="*/ 68 h 215"/>
                <a:gd name="T26" fmla="*/ 109 w 129"/>
                <a:gd name="T27" fmla="*/ 59 h 215"/>
                <a:gd name="T28" fmla="*/ 104 w 129"/>
                <a:gd name="T29" fmla="*/ 56 h 215"/>
                <a:gd name="T30" fmla="*/ 101 w 129"/>
                <a:gd name="T31" fmla="*/ 56 h 215"/>
                <a:gd name="T32" fmla="*/ 104 w 129"/>
                <a:gd name="T33" fmla="*/ 45 h 215"/>
                <a:gd name="T34" fmla="*/ 105 w 129"/>
                <a:gd name="T35" fmla="*/ 30 h 215"/>
                <a:gd name="T36" fmla="*/ 93 w 129"/>
                <a:gd name="T37" fmla="*/ 17 h 215"/>
                <a:gd name="T38" fmla="*/ 88 w 129"/>
                <a:gd name="T39" fmla="*/ 0 h 215"/>
                <a:gd name="T40" fmla="*/ 13 w 129"/>
                <a:gd name="T41" fmla="*/ 6 h 215"/>
                <a:gd name="T42" fmla="*/ 13 w 129"/>
                <a:gd name="T43" fmla="*/ 27 h 215"/>
                <a:gd name="T44" fmla="*/ 13 w 129"/>
                <a:gd name="T45" fmla="*/ 57 h 215"/>
                <a:gd name="T46" fmla="*/ 14 w 129"/>
                <a:gd name="T47" fmla="*/ 65 h 215"/>
                <a:gd name="T48" fmla="*/ 16 w 129"/>
                <a:gd name="T49" fmla="*/ 74 h 215"/>
                <a:gd name="T50" fmla="*/ 17 w 129"/>
                <a:gd name="T51" fmla="*/ 101 h 215"/>
                <a:gd name="T52" fmla="*/ 0 w 129"/>
                <a:gd name="T53" fmla="*/ 150 h 215"/>
                <a:gd name="T54" fmla="*/ 5 w 129"/>
                <a:gd name="T55" fmla="*/ 171 h 215"/>
                <a:gd name="T56" fmla="*/ 8 w 129"/>
                <a:gd name="T57" fmla="*/ 179 h 215"/>
                <a:gd name="T58" fmla="*/ 13 w 129"/>
                <a:gd name="T59" fmla="*/ 186 h 215"/>
                <a:gd name="T60" fmla="*/ 12 w 129"/>
                <a:gd name="T61" fmla="*/ 204 h 215"/>
                <a:gd name="T62" fmla="*/ 18 w 129"/>
                <a:gd name="T63" fmla="*/ 205 h 215"/>
                <a:gd name="T64" fmla="*/ 29 w 129"/>
                <a:gd name="T65" fmla="*/ 212 h 215"/>
                <a:gd name="T66" fmla="*/ 33 w 129"/>
                <a:gd name="T67" fmla="*/ 215 h 215"/>
                <a:gd name="T68" fmla="*/ 41 w 129"/>
                <a:gd name="T69" fmla="*/ 209 h 215"/>
                <a:gd name="T70" fmla="*/ 49 w 129"/>
                <a:gd name="T71" fmla="*/ 204 h 215"/>
                <a:gd name="T72" fmla="*/ 53 w 129"/>
                <a:gd name="T73" fmla="*/ 203 h 215"/>
                <a:gd name="T74" fmla="*/ 57 w 129"/>
                <a:gd name="T75" fmla="*/ 200 h 215"/>
                <a:gd name="T76" fmla="*/ 59 w 129"/>
                <a:gd name="T77" fmla="*/ 200 h 215"/>
                <a:gd name="T78" fmla="*/ 61 w 129"/>
                <a:gd name="T79" fmla="*/ 200 h 215"/>
                <a:gd name="T80" fmla="*/ 65 w 129"/>
                <a:gd name="T81" fmla="*/ 199 h 215"/>
                <a:gd name="T82" fmla="*/ 73 w 129"/>
                <a:gd name="T83" fmla="*/ 195 h 215"/>
                <a:gd name="T84" fmla="*/ 90 w 129"/>
                <a:gd name="T85" fmla="*/ 185 h 215"/>
                <a:gd name="T86" fmla="*/ 102 w 129"/>
                <a:gd name="T87" fmla="*/ 181 h 215"/>
                <a:gd name="T88" fmla="*/ 107 w 129"/>
                <a:gd name="T89" fmla="*/ 181 h 215"/>
                <a:gd name="T90" fmla="*/ 112 w 129"/>
                <a:gd name="T91" fmla="*/ 180 h 215"/>
                <a:gd name="T92" fmla="*/ 116 w 129"/>
                <a:gd name="T93" fmla="*/ 179 h 215"/>
                <a:gd name="T94" fmla="*/ 126 w 129"/>
                <a:gd name="T95" fmla="*/ 173 h 215"/>
                <a:gd name="T96" fmla="*/ 129 w 129"/>
                <a:gd name="T97" fmla="*/ 17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 h="215">
                  <a:moveTo>
                    <a:pt x="128" y="169"/>
                  </a:moveTo>
                  <a:cubicBezTo>
                    <a:pt x="128" y="168"/>
                    <a:pt x="127" y="165"/>
                    <a:pt x="126" y="164"/>
                  </a:cubicBezTo>
                  <a:cubicBezTo>
                    <a:pt x="124" y="162"/>
                    <a:pt x="123" y="161"/>
                    <a:pt x="121" y="160"/>
                  </a:cubicBezTo>
                  <a:cubicBezTo>
                    <a:pt x="119" y="159"/>
                    <a:pt x="118" y="159"/>
                    <a:pt x="117" y="158"/>
                  </a:cubicBezTo>
                  <a:cubicBezTo>
                    <a:pt x="112" y="153"/>
                    <a:pt x="107" y="144"/>
                    <a:pt x="110" y="136"/>
                  </a:cubicBezTo>
                  <a:cubicBezTo>
                    <a:pt x="110" y="136"/>
                    <a:pt x="110" y="135"/>
                    <a:pt x="111" y="134"/>
                  </a:cubicBezTo>
                  <a:cubicBezTo>
                    <a:pt x="111" y="133"/>
                    <a:pt x="112" y="132"/>
                    <a:pt x="112" y="131"/>
                  </a:cubicBezTo>
                  <a:cubicBezTo>
                    <a:pt x="112" y="129"/>
                    <a:pt x="113" y="128"/>
                    <a:pt x="113" y="126"/>
                  </a:cubicBezTo>
                  <a:cubicBezTo>
                    <a:pt x="113" y="125"/>
                    <a:pt x="113" y="125"/>
                    <a:pt x="113" y="125"/>
                  </a:cubicBezTo>
                  <a:cubicBezTo>
                    <a:pt x="112" y="124"/>
                    <a:pt x="112" y="124"/>
                    <a:pt x="112" y="124"/>
                  </a:cubicBezTo>
                  <a:cubicBezTo>
                    <a:pt x="111" y="124"/>
                    <a:pt x="110" y="123"/>
                    <a:pt x="110" y="122"/>
                  </a:cubicBezTo>
                  <a:cubicBezTo>
                    <a:pt x="109" y="121"/>
                    <a:pt x="109" y="119"/>
                    <a:pt x="110" y="117"/>
                  </a:cubicBezTo>
                  <a:cubicBezTo>
                    <a:pt x="111" y="115"/>
                    <a:pt x="111" y="113"/>
                    <a:pt x="111" y="112"/>
                  </a:cubicBezTo>
                  <a:cubicBezTo>
                    <a:pt x="112" y="108"/>
                    <a:pt x="112" y="105"/>
                    <a:pt x="112" y="102"/>
                  </a:cubicBezTo>
                  <a:cubicBezTo>
                    <a:pt x="112" y="102"/>
                    <a:pt x="112" y="101"/>
                    <a:pt x="111" y="101"/>
                  </a:cubicBezTo>
                  <a:cubicBezTo>
                    <a:pt x="111" y="100"/>
                    <a:pt x="111" y="99"/>
                    <a:pt x="111" y="98"/>
                  </a:cubicBezTo>
                  <a:cubicBezTo>
                    <a:pt x="112" y="97"/>
                    <a:pt x="112" y="97"/>
                    <a:pt x="113" y="97"/>
                  </a:cubicBezTo>
                  <a:cubicBezTo>
                    <a:pt x="113" y="96"/>
                    <a:pt x="114" y="96"/>
                    <a:pt x="114" y="96"/>
                  </a:cubicBezTo>
                  <a:cubicBezTo>
                    <a:pt x="114" y="96"/>
                    <a:pt x="114" y="96"/>
                    <a:pt x="114" y="96"/>
                  </a:cubicBezTo>
                  <a:cubicBezTo>
                    <a:pt x="114" y="95"/>
                    <a:pt x="114" y="95"/>
                    <a:pt x="114" y="95"/>
                  </a:cubicBezTo>
                  <a:cubicBezTo>
                    <a:pt x="116" y="92"/>
                    <a:pt x="113" y="90"/>
                    <a:pt x="110" y="87"/>
                  </a:cubicBezTo>
                  <a:cubicBezTo>
                    <a:pt x="109" y="86"/>
                    <a:pt x="107" y="84"/>
                    <a:pt x="107" y="83"/>
                  </a:cubicBezTo>
                  <a:cubicBezTo>
                    <a:pt x="106" y="81"/>
                    <a:pt x="107" y="80"/>
                    <a:pt x="108" y="79"/>
                  </a:cubicBezTo>
                  <a:cubicBezTo>
                    <a:pt x="108" y="78"/>
                    <a:pt x="109" y="78"/>
                    <a:pt x="109" y="76"/>
                  </a:cubicBezTo>
                  <a:cubicBezTo>
                    <a:pt x="109" y="75"/>
                    <a:pt x="109" y="74"/>
                    <a:pt x="108" y="72"/>
                  </a:cubicBezTo>
                  <a:cubicBezTo>
                    <a:pt x="108" y="71"/>
                    <a:pt x="107" y="69"/>
                    <a:pt x="107" y="68"/>
                  </a:cubicBezTo>
                  <a:cubicBezTo>
                    <a:pt x="107" y="67"/>
                    <a:pt x="108" y="65"/>
                    <a:pt x="108" y="64"/>
                  </a:cubicBezTo>
                  <a:cubicBezTo>
                    <a:pt x="109" y="62"/>
                    <a:pt x="110" y="60"/>
                    <a:pt x="109" y="59"/>
                  </a:cubicBezTo>
                  <a:cubicBezTo>
                    <a:pt x="109" y="58"/>
                    <a:pt x="108" y="56"/>
                    <a:pt x="106" y="56"/>
                  </a:cubicBezTo>
                  <a:cubicBezTo>
                    <a:pt x="105" y="56"/>
                    <a:pt x="105" y="56"/>
                    <a:pt x="104" y="56"/>
                  </a:cubicBezTo>
                  <a:cubicBezTo>
                    <a:pt x="103" y="56"/>
                    <a:pt x="102" y="57"/>
                    <a:pt x="101" y="57"/>
                  </a:cubicBezTo>
                  <a:cubicBezTo>
                    <a:pt x="101" y="56"/>
                    <a:pt x="101" y="56"/>
                    <a:pt x="101" y="56"/>
                  </a:cubicBezTo>
                  <a:cubicBezTo>
                    <a:pt x="101" y="53"/>
                    <a:pt x="101" y="53"/>
                    <a:pt x="102" y="50"/>
                  </a:cubicBezTo>
                  <a:cubicBezTo>
                    <a:pt x="103" y="49"/>
                    <a:pt x="103" y="47"/>
                    <a:pt x="104" y="45"/>
                  </a:cubicBezTo>
                  <a:cubicBezTo>
                    <a:pt x="104" y="44"/>
                    <a:pt x="104" y="44"/>
                    <a:pt x="104" y="44"/>
                  </a:cubicBezTo>
                  <a:cubicBezTo>
                    <a:pt x="105" y="40"/>
                    <a:pt x="105" y="33"/>
                    <a:pt x="105" y="30"/>
                  </a:cubicBezTo>
                  <a:cubicBezTo>
                    <a:pt x="105" y="29"/>
                    <a:pt x="105" y="29"/>
                    <a:pt x="105" y="29"/>
                  </a:cubicBezTo>
                  <a:cubicBezTo>
                    <a:pt x="93" y="17"/>
                    <a:pt x="93" y="17"/>
                    <a:pt x="93" y="17"/>
                  </a:cubicBezTo>
                  <a:cubicBezTo>
                    <a:pt x="96" y="3"/>
                    <a:pt x="96" y="3"/>
                    <a:pt x="96" y="3"/>
                  </a:cubicBezTo>
                  <a:cubicBezTo>
                    <a:pt x="88" y="0"/>
                    <a:pt x="88" y="0"/>
                    <a:pt x="88" y="0"/>
                  </a:cubicBezTo>
                  <a:cubicBezTo>
                    <a:pt x="77" y="8"/>
                    <a:pt x="77" y="8"/>
                    <a:pt x="77" y="8"/>
                  </a:cubicBezTo>
                  <a:cubicBezTo>
                    <a:pt x="13" y="6"/>
                    <a:pt x="13" y="6"/>
                    <a:pt x="13" y="6"/>
                  </a:cubicBezTo>
                  <a:cubicBezTo>
                    <a:pt x="12" y="7"/>
                    <a:pt x="12" y="7"/>
                    <a:pt x="12" y="7"/>
                  </a:cubicBezTo>
                  <a:cubicBezTo>
                    <a:pt x="10" y="11"/>
                    <a:pt x="7" y="21"/>
                    <a:pt x="13" y="27"/>
                  </a:cubicBezTo>
                  <a:cubicBezTo>
                    <a:pt x="13" y="56"/>
                    <a:pt x="13" y="56"/>
                    <a:pt x="13" y="56"/>
                  </a:cubicBezTo>
                  <a:cubicBezTo>
                    <a:pt x="13" y="57"/>
                    <a:pt x="13" y="57"/>
                    <a:pt x="13" y="57"/>
                  </a:cubicBezTo>
                  <a:cubicBezTo>
                    <a:pt x="14" y="58"/>
                    <a:pt x="14" y="59"/>
                    <a:pt x="14" y="60"/>
                  </a:cubicBezTo>
                  <a:cubicBezTo>
                    <a:pt x="15" y="62"/>
                    <a:pt x="14" y="63"/>
                    <a:pt x="14" y="65"/>
                  </a:cubicBezTo>
                  <a:cubicBezTo>
                    <a:pt x="14" y="67"/>
                    <a:pt x="14" y="69"/>
                    <a:pt x="15" y="71"/>
                  </a:cubicBezTo>
                  <a:cubicBezTo>
                    <a:pt x="15" y="72"/>
                    <a:pt x="16" y="73"/>
                    <a:pt x="16" y="74"/>
                  </a:cubicBezTo>
                  <a:cubicBezTo>
                    <a:pt x="17" y="75"/>
                    <a:pt x="18" y="77"/>
                    <a:pt x="19" y="80"/>
                  </a:cubicBezTo>
                  <a:cubicBezTo>
                    <a:pt x="20" y="88"/>
                    <a:pt x="21" y="94"/>
                    <a:pt x="17" y="101"/>
                  </a:cubicBezTo>
                  <a:cubicBezTo>
                    <a:pt x="12" y="110"/>
                    <a:pt x="8" y="117"/>
                    <a:pt x="5" y="126"/>
                  </a:cubicBezTo>
                  <a:cubicBezTo>
                    <a:pt x="3" y="134"/>
                    <a:pt x="0" y="142"/>
                    <a:pt x="0" y="150"/>
                  </a:cubicBezTo>
                  <a:cubicBezTo>
                    <a:pt x="0" y="156"/>
                    <a:pt x="2" y="161"/>
                    <a:pt x="4" y="167"/>
                  </a:cubicBezTo>
                  <a:cubicBezTo>
                    <a:pt x="4" y="168"/>
                    <a:pt x="5" y="170"/>
                    <a:pt x="5" y="171"/>
                  </a:cubicBezTo>
                  <a:cubicBezTo>
                    <a:pt x="6" y="173"/>
                    <a:pt x="6" y="173"/>
                    <a:pt x="6" y="173"/>
                  </a:cubicBezTo>
                  <a:cubicBezTo>
                    <a:pt x="6" y="175"/>
                    <a:pt x="7" y="177"/>
                    <a:pt x="8" y="179"/>
                  </a:cubicBezTo>
                  <a:cubicBezTo>
                    <a:pt x="9" y="180"/>
                    <a:pt x="10" y="181"/>
                    <a:pt x="11" y="182"/>
                  </a:cubicBezTo>
                  <a:cubicBezTo>
                    <a:pt x="12" y="183"/>
                    <a:pt x="13" y="184"/>
                    <a:pt x="13" y="186"/>
                  </a:cubicBezTo>
                  <a:cubicBezTo>
                    <a:pt x="15" y="190"/>
                    <a:pt x="14" y="197"/>
                    <a:pt x="13" y="202"/>
                  </a:cubicBezTo>
                  <a:cubicBezTo>
                    <a:pt x="12" y="204"/>
                    <a:pt x="12" y="204"/>
                    <a:pt x="12" y="204"/>
                  </a:cubicBezTo>
                  <a:cubicBezTo>
                    <a:pt x="14" y="205"/>
                    <a:pt x="14" y="205"/>
                    <a:pt x="14" y="205"/>
                  </a:cubicBezTo>
                  <a:cubicBezTo>
                    <a:pt x="16" y="205"/>
                    <a:pt x="17" y="205"/>
                    <a:pt x="18" y="205"/>
                  </a:cubicBezTo>
                  <a:cubicBezTo>
                    <a:pt x="19" y="205"/>
                    <a:pt x="20" y="205"/>
                    <a:pt x="21" y="206"/>
                  </a:cubicBezTo>
                  <a:cubicBezTo>
                    <a:pt x="24" y="207"/>
                    <a:pt x="26" y="209"/>
                    <a:pt x="29" y="212"/>
                  </a:cubicBezTo>
                  <a:cubicBezTo>
                    <a:pt x="30" y="213"/>
                    <a:pt x="30" y="213"/>
                    <a:pt x="30" y="213"/>
                  </a:cubicBezTo>
                  <a:cubicBezTo>
                    <a:pt x="31" y="214"/>
                    <a:pt x="32" y="215"/>
                    <a:pt x="33" y="215"/>
                  </a:cubicBezTo>
                  <a:cubicBezTo>
                    <a:pt x="34" y="215"/>
                    <a:pt x="35" y="214"/>
                    <a:pt x="36" y="213"/>
                  </a:cubicBezTo>
                  <a:cubicBezTo>
                    <a:pt x="38" y="212"/>
                    <a:pt x="40" y="210"/>
                    <a:pt x="41" y="209"/>
                  </a:cubicBezTo>
                  <a:cubicBezTo>
                    <a:pt x="42" y="208"/>
                    <a:pt x="43" y="207"/>
                    <a:pt x="44" y="206"/>
                  </a:cubicBezTo>
                  <a:cubicBezTo>
                    <a:pt x="46" y="205"/>
                    <a:pt x="47" y="204"/>
                    <a:pt x="49" y="204"/>
                  </a:cubicBezTo>
                  <a:cubicBezTo>
                    <a:pt x="50" y="204"/>
                    <a:pt x="50" y="203"/>
                    <a:pt x="51" y="203"/>
                  </a:cubicBezTo>
                  <a:cubicBezTo>
                    <a:pt x="52" y="203"/>
                    <a:pt x="52" y="203"/>
                    <a:pt x="53" y="203"/>
                  </a:cubicBezTo>
                  <a:cubicBezTo>
                    <a:pt x="53" y="202"/>
                    <a:pt x="54" y="202"/>
                    <a:pt x="55" y="202"/>
                  </a:cubicBezTo>
                  <a:cubicBezTo>
                    <a:pt x="56" y="201"/>
                    <a:pt x="57" y="201"/>
                    <a:pt x="57" y="200"/>
                  </a:cubicBezTo>
                  <a:cubicBezTo>
                    <a:pt x="58" y="200"/>
                    <a:pt x="58" y="200"/>
                    <a:pt x="58" y="200"/>
                  </a:cubicBezTo>
                  <a:cubicBezTo>
                    <a:pt x="58" y="200"/>
                    <a:pt x="59" y="200"/>
                    <a:pt x="59" y="200"/>
                  </a:cubicBezTo>
                  <a:cubicBezTo>
                    <a:pt x="59" y="200"/>
                    <a:pt x="60" y="200"/>
                    <a:pt x="60" y="200"/>
                  </a:cubicBezTo>
                  <a:cubicBezTo>
                    <a:pt x="60" y="200"/>
                    <a:pt x="61" y="200"/>
                    <a:pt x="61" y="200"/>
                  </a:cubicBezTo>
                  <a:cubicBezTo>
                    <a:pt x="62" y="200"/>
                    <a:pt x="62" y="200"/>
                    <a:pt x="62" y="200"/>
                  </a:cubicBezTo>
                  <a:cubicBezTo>
                    <a:pt x="63" y="199"/>
                    <a:pt x="64" y="199"/>
                    <a:pt x="65" y="199"/>
                  </a:cubicBezTo>
                  <a:cubicBezTo>
                    <a:pt x="66" y="199"/>
                    <a:pt x="66" y="199"/>
                    <a:pt x="67" y="198"/>
                  </a:cubicBezTo>
                  <a:cubicBezTo>
                    <a:pt x="69" y="198"/>
                    <a:pt x="71" y="197"/>
                    <a:pt x="73" y="195"/>
                  </a:cubicBezTo>
                  <a:cubicBezTo>
                    <a:pt x="73" y="195"/>
                    <a:pt x="74" y="194"/>
                    <a:pt x="75" y="194"/>
                  </a:cubicBezTo>
                  <a:cubicBezTo>
                    <a:pt x="79" y="191"/>
                    <a:pt x="84" y="188"/>
                    <a:pt x="90" y="185"/>
                  </a:cubicBezTo>
                  <a:cubicBezTo>
                    <a:pt x="93" y="184"/>
                    <a:pt x="96" y="183"/>
                    <a:pt x="99" y="181"/>
                  </a:cubicBezTo>
                  <a:cubicBezTo>
                    <a:pt x="100" y="181"/>
                    <a:pt x="101" y="181"/>
                    <a:pt x="102" y="181"/>
                  </a:cubicBezTo>
                  <a:cubicBezTo>
                    <a:pt x="103" y="181"/>
                    <a:pt x="103" y="181"/>
                    <a:pt x="104" y="181"/>
                  </a:cubicBezTo>
                  <a:cubicBezTo>
                    <a:pt x="105" y="181"/>
                    <a:pt x="106" y="181"/>
                    <a:pt x="107" y="181"/>
                  </a:cubicBezTo>
                  <a:cubicBezTo>
                    <a:pt x="107" y="181"/>
                    <a:pt x="107" y="181"/>
                    <a:pt x="107" y="181"/>
                  </a:cubicBezTo>
                  <a:cubicBezTo>
                    <a:pt x="109" y="181"/>
                    <a:pt x="110" y="180"/>
                    <a:pt x="112" y="180"/>
                  </a:cubicBezTo>
                  <a:cubicBezTo>
                    <a:pt x="112" y="180"/>
                    <a:pt x="113" y="179"/>
                    <a:pt x="114" y="179"/>
                  </a:cubicBezTo>
                  <a:cubicBezTo>
                    <a:pt x="115" y="179"/>
                    <a:pt x="115" y="179"/>
                    <a:pt x="116" y="179"/>
                  </a:cubicBezTo>
                  <a:cubicBezTo>
                    <a:pt x="118" y="179"/>
                    <a:pt x="120" y="179"/>
                    <a:pt x="122" y="178"/>
                  </a:cubicBezTo>
                  <a:cubicBezTo>
                    <a:pt x="123" y="177"/>
                    <a:pt x="125" y="175"/>
                    <a:pt x="126" y="173"/>
                  </a:cubicBezTo>
                  <a:cubicBezTo>
                    <a:pt x="126" y="173"/>
                    <a:pt x="127" y="172"/>
                    <a:pt x="127" y="172"/>
                  </a:cubicBezTo>
                  <a:cubicBezTo>
                    <a:pt x="129" y="170"/>
                    <a:pt x="129" y="170"/>
                    <a:pt x="129" y="170"/>
                  </a:cubicBezTo>
                  <a:lnTo>
                    <a:pt x="128" y="169"/>
                  </a:ln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81" name="Freeform 81">
              <a:extLst>
                <a:ext uri="{FF2B5EF4-FFF2-40B4-BE49-F238E27FC236}">
                  <a16:creationId xmlns:a16="http://schemas.microsoft.com/office/drawing/2014/main" id="{97AF402A-8BC9-424E-988A-90A9DDDBA9D9}"/>
                </a:ext>
              </a:extLst>
            </p:cNvPr>
            <p:cNvSpPr>
              <a:spLocks/>
            </p:cNvSpPr>
            <p:nvPr/>
          </p:nvSpPr>
          <p:spPr bwMode="auto">
            <a:xfrm>
              <a:off x="1972113" y="1829252"/>
              <a:ext cx="106022" cy="321561"/>
            </a:xfrm>
            <a:custGeom>
              <a:avLst/>
              <a:gdLst>
                <a:gd name="T0" fmla="*/ 48 w 52"/>
                <a:gd name="T1" fmla="*/ 155 h 173"/>
                <a:gd name="T2" fmla="*/ 48 w 52"/>
                <a:gd name="T3" fmla="*/ 137 h 173"/>
                <a:gd name="T4" fmla="*/ 48 w 52"/>
                <a:gd name="T5" fmla="*/ 100 h 173"/>
                <a:gd name="T6" fmla="*/ 48 w 52"/>
                <a:gd name="T7" fmla="*/ 78 h 173"/>
                <a:gd name="T8" fmla="*/ 41 w 52"/>
                <a:gd name="T9" fmla="*/ 62 h 173"/>
                <a:gd name="T10" fmla="*/ 39 w 52"/>
                <a:gd name="T11" fmla="*/ 43 h 173"/>
                <a:gd name="T12" fmla="*/ 29 w 52"/>
                <a:gd name="T13" fmla="*/ 34 h 173"/>
                <a:gd name="T14" fmla="*/ 32 w 52"/>
                <a:gd name="T15" fmla="*/ 11 h 173"/>
                <a:gd name="T16" fmla="*/ 34 w 52"/>
                <a:gd name="T17" fmla="*/ 0 h 173"/>
                <a:gd name="T18" fmla="*/ 29 w 52"/>
                <a:gd name="T19" fmla="*/ 5 h 173"/>
                <a:gd name="T20" fmla="*/ 23 w 52"/>
                <a:gd name="T21" fmla="*/ 9 h 173"/>
                <a:gd name="T22" fmla="*/ 17 w 52"/>
                <a:gd name="T23" fmla="*/ 10 h 173"/>
                <a:gd name="T24" fmla="*/ 13 w 52"/>
                <a:gd name="T25" fmla="*/ 9 h 173"/>
                <a:gd name="T26" fmla="*/ 5 w 52"/>
                <a:gd name="T27" fmla="*/ 7 h 173"/>
                <a:gd name="T28" fmla="*/ 0 w 52"/>
                <a:gd name="T29" fmla="*/ 20 h 173"/>
                <a:gd name="T30" fmla="*/ 11 w 52"/>
                <a:gd name="T31" fmla="*/ 47 h 173"/>
                <a:gd name="T32" fmla="*/ 9 w 52"/>
                <a:gd name="T33" fmla="*/ 53 h 173"/>
                <a:gd name="T34" fmla="*/ 8 w 52"/>
                <a:gd name="T35" fmla="*/ 60 h 173"/>
                <a:gd name="T36" fmla="*/ 13 w 52"/>
                <a:gd name="T37" fmla="*/ 59 h 173"/>
                <a:gd name="T38" fmla="*/ 15 w 52"/>
                <a:gd name="T39" fmla="*/ 67 h 173"/>
                <a:gd name="T40" fmla="*/ 15 w 52"/>
                <a:gd name="T41" fmla="*/ 75 h 173"/>
                <a:gd name="T42" fmla="*/ 14 w 52"/>
                <a:gd name="T43" fmla="*/ 82 h 173"/>
                <a:gd name="T44" fmla="*/ 17 w 52"/>
                <a:gd name="T45" fmla="*/ 90 h 173"/>
                <a:gd name="T46" fmla="*/ 20 w 52"/>
                <a:gd name="T47" fmla="*/ 99 h 173"/>
                <a:gd name="T48" fmla="*/ 18 w 52"/>
                <a:gd name="T49" fmla="*/ 104 h 173"/>
                <a:gd name="T50" fmla="*/ 18 w 52"/>
                <a:gd name="T51" fmla="*/ 114 h 173"/>
                <a:gd name="T52" fmla="*/ 16 w 52"/>
                <a:gd name="T53" fmla="*/ 126 h 173"/>
                <a:gd name="T54" fmla="*/ 19 w 52"/>
                <a:gd name="T55" fmla="*/ 134 h 173"/>
                <a:gd name="T56" fmla="*/ 16 w 52"/>
                <a:gd name="T57" fmla="*/ 139 h 173"/>
                <a:gd name="T58" fmla="*/ 28 w 52"/>
                <a:gd name="T59" fmla="*/ 163 h 173"/>
                <a:gd name="T60" fmla="*/ 34 w 52"/>
                <a:gd name="T61" fmla="*/ 170 h 173"/>
                <a:gd name="T62" fmla="*/ 37 w 52"/>
                <a:gd name="T63" fmla="*/ 171 h 173"/>
                <a:gd name="T64" fmla="*/ 45 w 52"/>
                <a:gd name="T65" fmla="*/ 168 h 173"/>
                <a:gd name="T66" fmla="*/ 50 w 52"/>
                <a:gd name="T67" fmla="*/ 167 h 173"/>
                <a:gd name="T68" fmla="*/ 51 w 52"/>
                <a:gd name="T69" fmla="*/ 161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173">
                  <a:moveTo>
                    <a:pt x="50" y="157"/>
                  </a:moveTo>
                  <a:cubicBezTo>
                    <a:pt x="49" y="156"/>
                    <a:pt x="49" y="156"/>
                    <a:pt x="48" y="155"/>
                  </a:cubicBezTo>
                  <a:cubicBezTo>
                    <a:pt x="46" y="151"/>
                    <a:pt x="47" y="146"/>
                    <a:pt x="47" y="142"/>
                  </a:cubicBezTo>
                  <a:cubicBezTo>
                    <a:pt x="48" y="141"/>
                    <a:pt x="48" y="139"/>
                    <a:pt x="48" y="137"/>
                  </a:cubicBezTo>
                  <a:cubicBezTo>
                    <a:pt x="48" y="129"/>
                    <a:pt x="48" y="121"/>
                    <a:pt x="48" y="113"/>
                  </a:cubicBezTo>
                  <a:cubicBezTo>
                    <a:pt x="48" y="108"/>
                    <a:pt x="48" y="104"/>
                    <a:pt x="48" y="100"/>
                  </a:cubicBezTo>
                  <a:cubicBezTo>
                    <a:pt x="48" y="98"/>
                    <a:pt x="48" y="96"/>
                    <a:pt x="48" y="94"/>
                  </a:cubicBezTo>
                  <a:cubicBezTo>
                    <a:pt x="49" y="88"/>
                    <a:pt x="49" y="83"/>
                    <a:pt x="48" y="78"/>
                  </a:cubicBezTo>
                  <a:cubicBezTo>
                    <a:pt x="47" y="76"/>
                    <a:pt x="46" y="73"/>
                    <a:pt x="44" y="71"/>
                  </a:cubicBezTo>
                  <a:cubicBezTo>
                    <a:pt x="43" y="68"/>
                    <a:pt x="41" y="65"/>
                    <a:pt x="41" y="62"/>
                  </a:cubicBezTo>
                  <a:cubicBezTo>
                    <a:pt x="40" y="59"/>
                    <a:pt x="40" y="57"/>
                    <a:pt x="41" y="55"/>
                  </a:cubicBezTo>
                  <a:cubicBezTo>
                    <a:pt x="41" y="51"/>
                    <a:pt x="41" y="47"/>
                    <a:pt x="39" y="43"/>
                  </a:cubicBezTo>
                  <a:cubicBezTo>
                    <a:pt x="38" y="40"/>
                    <a:pt x="34" y="38"/>
                    <a:pt x="31" y="35"/>
                  </a:cubicBezTo>
                  <a:cubicBezTo>
                    <a:pt x="31" y="35"/>
                    <a:pt x="30" y="34"/>
                    <a:pt x="29" y="34"/>
                  </a:cubicBezTo>
                  <a:cubicBezTo>
                    <a:pt x="24" y="29"/>
                    <a:pt x="23" y="27"/>
                    <a:pt x="25" y="20"/>
                  </a:cubicBezTo>
                  <a:cubicBezTo>
                    <a:pt x="25" y="17"/>
                    <a:pt x="27" y="12"/>
                    <a:pt x="32" y="11"/>
                  </a:cubicBezTo>
                  <a:cubicBezTo>
                    <a:pt x="35" y="9"/>
                    <a:pt x="35" y="7"/>
                    <a:pt x="34" y="5"/>
                  </a:cubicBezTo>
                  <a:cubicBezTo>
                    <a:pt x="34" y="0"/>
                    <a:pt x="34" y="0"/>
                    <a:pt x="34" y="0"/>
                  </a:cubicBezTo>
                  <a:cubicBezTo>
                    <a:pt x="31" y="4"/>
                    <a:pt x="31" y="4"/>
                    <a:pt x="31" y="4"/>
                  </a:cubicBezTo>
                  <a:cubicBezTo>
                    <a:pt x="30" y="4"/>
                    <a:pt x="30" y="5"/>
                    <a:pt x="29" y="5"/>
                  </a:cubicBezTo>
                  <a:cubicBezTo>
                    <a:pt x="29" y="6"/>
                    <a:pt x="29" y="6"/>
                    <a:pt x="28" y="7"/>
                  </a:cubicBezTo>
                  <a:cubicBezTo>
                    <a:pt x="26" y="9"/>
                    <a:pt x="26" y="9"/>
                    <a:pt x="23" y="9"/>
                  </a:cubicBezTo>
                  <a:cubicBezTo>
                    <a:pt x="23" y="9"/>
                    <a:pt x="22" y="10"/>
                    <a:pt x="21" y="10"/>
                  </a:cubicBezTo>
                  <a:cubicBezTo>
                    <a:pt x="20" y="10"/>
                    <a:pt x="18" y="10"/>
                    <a:pt x="17" y="10"/>
                  </a:cubicBezTo>
                  <a:cubicBezTo>
                    <a:pt x="17" y="10"/>
                    <a:pt x="17" y="10"/>
                    <a:pt x="16" y="10"/>
                  </a:cubicBezTo>
                  <a:cubicBezTo>
                    <a:pt x="15" y="10"/>
                    <a:pt x="14" y="9"/>
                    <a:pt x="13" y="9"/>
                  </a:cubicBezTo>
                  <a:cubicBezTo>
                    <a:pt x="12" y="8"/>
                    <a:pt x="11" y="8"/>
                    <a:pt x="10" y="7"/>
                  </a:cubicBezTo>
                  <a:cubicBezTo>
                    <a:pt x="9" y="7"/>
                    <a:pt x="7" y="7"/>
                    <a:pt x="5" y="7"/>
                  </a:cubicBezTo>
                  <a:cubicBezTo>
                    <a:pt x="3" y="7"/>
                    <a:pt x="3" y="7"/>
                    <a:pt x="3" y="7"/>
                  </a:cubicBezTo>
                  <a:cubicBezTo>
                    <a:pt x="0" y="20"/>
                    <a:pt x="0" y="20"/>
                    <a:pt x="0" y="20"/>
                  </a:cubicBezTo>
                  <a:cubicBezTo>
                    <a:pt x="12" y="32"/>
                    <a:pt x="12" y="32"/>
                    <a:pt x="12" y="32"/>
                  </a:cubicBezTo>
                  <a:cubicBezTo>
                    <a:pt x="12" y="36"/>
                    <a:pt x="12" y="42"/>
                    <a:pt x="11" y="47"/>
                  </a:cubicBezTo>
                  <a:cubicBezTo>
                    <a:pt x="10" y="48"/>
                    <a:pt x="10" y="48"/>
                    <a:pt x="10" y="48"/>
                  </a:cubicBezTo>
                  <a:cubicBezTo>
                    <a:pt x="10" y="50"/>
                    <a:pt x="9" y="52"/>
                    <a:pt x="9" y="53"/>
                  </a:cubicBezTo>
                  <a:cubicBezTo>
                    <a:pt x="8" y="55"/>
                    <a:pt x="8" y="56"/>
                    <a:pt x="8" y="58"/>
                  </a:cubicBezTo>
                  <a:cubicBezTo>
                    <a:pt x="8" y="60"/>
                    <a:pt x="8" y="60"/>
                    <a:pt x="8" y="60"/>
                  </a:cubicBezTo>
                  <a:cubicBezTo>
                    <a:pt x="11" y="60"/>
                    <a:pt x="11" y="60"/>
                    <a:pt x="11" y="60"/>
                  </a:cubicBezTo>
                  <a:cubicBezTo>
                    <a:pt x="11" y="59"/>
                    <a:pt x="12" y="59"/>
                    <a:pt x="13" y="59"/>
                  </a:cubicBezTo>
                  <a:cubicBezTo>
                    <a:pt x="14" y="59"/>
                    <a:pt x="15" y="59"/>
                    <a:pt x="16" y="62"/>
                  </a:cubicBezTo>
                  <a:cubicBezTo>
                    <a:pt x="16" y="63"/>
                    <a:pt x="16" y="65"/>
                    <a:pt x="15" y="67"/>
                  </a:cubicBezTo>
                  <a:cubicBezTo>
                    <a:pt x="14" y="68"/>
                    <a:pt x="14" y="70"/>
                    <a:pt x="14" y="71"/>
                  </a:cubicBezTo>
                  <a:cubicBezTo>
                    <a:pt x="14" y="72"/>
                    <a:pt x="14" y="74"/>
                    <a:pt x="15" y="75"/>
                  </a:cubicBezTo>
                  <a:cubicBezTo>
                    <a:pt x="15" y="77"/>
                    <a:pt x="16" y="78"/>
                    <a:pt x="16" y="79"/>
                  </a:cubicBezTo>
                  <a:cubicBezTo>
                    <a:pt x="16" y="80"/>
                    <a:pt x="15" y="81"/>
                    <a:pt x="14" y="82"/>
                  </a:cubicBezTo>
                  <a:cubicBezTo>
                    <a:pt x="13" y="83"/>
                    <a:pt x="13" y="84"/>
                    <a:pt x="13" y="86"/>
                  </a:cubicBezTo>
                  <a:cubicBezTo>
                    <a:pt x="14" y="87"/>
                    <a:pt x="16" y="89"/>
                    <a:pt x="17" y="90"/>
                  </a:cubicBezTo>
                  <a:cubicBezTo>
                    <a:pt x="20" y="93"/>
                    <a:pt x="22" y="95"/>
                    <a:pt x="21" y="98"/>
                  </a:cubicBezTo>
                  <a:cubicBezTo>
                    <a:pt x="20" y="99"/>
                    <a:pt x="20" y="99"/>
                    <a:pt x="20" y="99"/>
                  </a:cubicBezTo>
                  <a:cubicBezTo>
                    <a:pt x="19" y="100"/>
                    <a:pt x="18" y="100"/>
                    <a:pt x="18" y="101"/>
                  </a:cubicBezTo>
                  <a:cubicBezTo>
                    <a:pt x="18" y="102"/>
                    <a:pt x="18" y="103"/>
                    <a:pt x="18" y="104"/>
                  </a:cubicBezTo>
                  <a:cubicBezTo>
                    <a:pt x="18" y="105"/>
                    <a:pt x="18" y="105"/>
                    <a:pt x="18" y="105"/>
                  </a:cubicBezTo>
                  <a:cubicBezTo>
                    <a:pt x="18" y="108"/>
                    <a:pt x="18" y="111"/>
                    <a:pt x="18" y="114"/>
                  </a:cubicBezTo>
                  <a:cubicBezTo>
                    <a:pt x="18" y="116"/>
                    <a:pt x="17" y="118"/>
                    <a:pt x="17" y="120"/>
                  </a:cubicBezTo>
                  <a:cubicBezTo>
                    <a:pt x="16" y="122"/>
                    <a:pt x="15" y="124"/>
                    <a:pt x="16" y="126"/>
                  </a:cubicBezTo>
                  <a:cubicBezTo>
                    <a:pt x="17" y="127"/>
                    <a:pt x="18" y="127"/>
                    <a:pt x="20" y="128"/>
                  </a:cubicBezTo>
                  <a:cubicBezTo>
                    <a:pt x="19" y="130"/>
                    <a:pt x="19" y="132"/>
                    <a:pt x="19" y="134"/>
                  </a:cubicBezTo>
                  <a:cubicBezTo>
                    <a:pt x="18" y="135"/>
                    <a:pt x="18" y="136"/>
                    <a:pt x="17" y="137"/>
                  </a:cubicBezTo>
                  <a:cubicBezTo>
                    <a:pt x="17" y="138"/>
                    <a:pt x="17" y="139"/>
                    <a:pt x="16" y="139"/>
                  </a:cubicBezTo>
                  <a:cubicBezTo>
                    <a:pt x="14" y="147"/>
                    <a:pt x="19" y="157"/>
                    <a:pt x="24" y="161"/>
                  </a:cubicBezTo>
                  <a:cubicBezTo>
                    <a:pt x="25" y="162"/>
                    <a:pt x="26" y="163"/>
                    <a:pt x="28" y="163"/>
                  </a:cubicBezTo>
                  <a:cubicBezTo>
                    <a:pt x="29" y="164"/>
                    <a:pt x="31" y="165"/>
                    <a:pt x="32" y="167"/>
                  </a:cubicBezTo>
                  <a:cubicBezTo>
                    <a:pt x="33" y="167"/>
                    <a:pt x="33" y="169"/>
                    <a:pt x="34" y="170"/>
                  </a:cubicBezTo>
                  <a:cubicBezTo>
                    <a:pt x="35" y="173"/>
                    <a:pt x="35" y="173"/>
                    <a:pt x="35" y="173"/>
                  </a:cubicBezTo>
                  <a:cubicBezTo>
                    <a:pt x="37" y="171"/>
                    <a:pt x="37" y="171"/>
                    <a:pt x="37" y="171"/>
                  </a:cubicBezTo>
                  <a:cubicBezTo>
                    <a:pt x="38" y="170"/>
                    <a:pt x="39" y="170"/>
                    <a:pt x="40" y="170"/>
                  </a:cubicBezTo>
                  <a:cubicBezTo>
                    <a:pt x="41" y="169"/>
                    <a:pt x="43" y="168"/>
                    <a:pt x="45" y="168"/>
                  </a:cubicBezTo>
                  <a:cubicBezTo>
                    <a:pt x="46" y="168"/>
                    <a:pt x="47" y="168"/>
                    <a:pt x="48" y="167"/>
                  </a:cubicBezTo>
                  <a:cubicBezTo>
                    <a:pt x="48" y="167"/>
                    <a:pt x="50" y="167"/>
                    <a:pt x="50" y="167"/>
                  </a:cubicBezTo>
                  <a:cubicBezTo>
                    <a:pt x="50" y="166"/>
                    <a:pt x="50" y="166"/>
                    <a:pt x="50" y="166"/>
                  </a:cubicBezTo>
                  <a:cubicBezTo>
                    <a:pt x="51" y="164"/>
                    <a:pt x="52" y="163"/>
                    <a:pt x="51" y="161"/>
                  </a:cubicBezTo>
                  <a:cubicBezTo>
                    <a:pt x="51" y="159"/>
                    <a:pt x="51" y="158"/>
                    <a:pt x="50" y="157"/>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82" name="Freeform 82">
              <a:extLst>
                <a:ext uri="{FF2B5EF4-FFF2-40B4-BE49-F238E27FC236}">
                  <a16:creationId xmlns:a16="http://schemas.microsoft.com/office/drawing/2014/main" id="{966F2A76-E473-4671-B7AE-E1EF8597A36E}"/>
                </a:ext>
              </a:extLst>
            </p:cNvPr>
            <p:cNvSpPr>
              <a:spLocks/>
            </p:cNvSpPr>
            <p:nvPr/>
          </p:nvSpPr>
          <p:spPr bwMode="auto">
            <a:xfrm>
              <a:off x="1300268" y="1996710"/>
              <a:ext cx="241061" cy="258892"/>
            </a:xfrm>
            <a:custGeom>
              <a:avLst/>
              <a:gdLst>
                <a:gd name="T0" fmla="*/ 113 w 119"/>
                <a:gd name="T1" fmla="*/ 86 h 139"/>
                <a:gd name="T2" fmla="*/ 107 w 119"/>
                <a:gd name="T3" fmla="*/ 79 h 139"/>
                <a:gd name="T4" fmla="*/ 100 w 119"/>
                <a:gd name="T5" fmla="*/ 73 h 139"/>
                <a:gd name="T6" fmla="*/ 96 w 119"/>
                <a:gd name="T7" fmla="*/ 73 h 139"/>
                <a:gd name="T8" fmla="*/ 87 w 119"/>
                <a:gd name="T9" fmla="*/ 68 h 139"/>
                <a:gd name="T10" fmla="*/ 92 w 119"/>
                <a:gd name="T11" fmla="*/ 54 h 139"/>
                <a:gd name="T12" fmla="*/ 91 w 119"/>
                <a:gd name="T13" fmla="*/ 40 h 139"/>
                <a:gd name="T14" fmla="*/ 88 w 119"/>
                <a:gd name="T15" fmla="*/ 32 h 139"/>
                <a:gd name="T16" fmla="*/ 87 w 119"/>
                <a:gd name="T17" fmla="*/ 30 h 139"/>
                <a:gd name="T18" fmla="*/ 84 w 119"/>
                <a:gd name="T19" fmla="*/ 28 h 139"/>
                <a:gd name="T20" fmla="*/ 81 w 119"/>
                <a:gd name="T21" fmla="*/ 29 h 139"/>
                <a:gd name="T22" fmla="*/ 76 w 119"/>
                <a:gd name="T23" fmla="*/ 39 h 139"/>
                <a:gd name="T24" fmla="*/ 69 w 119"/>
                <a:gd name="T25" fmla="*/ 43 h 139"/>
                <a:gd name="T26" fmla="*/ 64 w 119"/>
                <a:gd name="T27" fmla="*/ 37 h 139"/>
                <a:gd name="T28" fmla="*/ 61 w 119"/>
                <a:gd name="T29" fmla="*/ 37 h 139"/>
                <a:gd name="T30" fmla="*/ 59 w 119"/>
                <a:gd name="T31" fmla="*/ 35 h 139"/>
                <a:gd name="T32" fmla="*/ 62 w 119"/>
                <a:gd name="T33" fmla="*/ 29 h 139"/>
                <a:gd name="T34" fmla="*/ 61 w 119"/>
                <a:gd name="T35" fmla="*/ 22 h 139"/>
                <a:gd name="T36" fmla="*/ 60 w 119"/>
                <a:gd name="T37" fmla="*/ 15 h 139"/>
                <a:gd name="T38" fmla="*/ 58 w 119"/>
                <a:gd name="T39" fmla="*/ 8 h 139"/>
                <a:gd name="T40" fmla="*/ 49 w 119"/>
                <a:gd name="T41" fmla="*/ 0 h 139"/>
                <a:gd name="T42" fmla="*/ 43 w 119"/>
                <a:gd name="T43" fmla="*/ 2 h 139"/>
                <a:gd name="T44" fmla="*/ 38 w 119"/>
                <a:gd name="T45" fmla="*/ 0 h 139"/>
                <a:gd name="T46" fmla="*/ 36 w 119"/>
                <a:gd name="T47" fmla="*/ 2 h 139"/>
                <a:gd name="T48" fmla="*/ 35 w 119"/>
                <a:gd name="T49" fmla="*/ 10 h 139"/>
                <a:gd name="T50" fmla="*/ 30 w 119"/>
                <a:gd name="T51" fmla="*/ 11 h 139"/>
                <a:gd name="T52" fmla="*/ 26 w 119"/>
                <a:gd name="T53" fmla="*/ 19 h 139"/>
                <a:gd name="T54" fmla="*/ 23 w 119"/>
                <a:gd name="T55" fmla="*/ 27 h 139"/>
                <a:gd name="T56" fmla="*/ 13 w 119"/>
                <a:gd name="T57" fmla="*/ 36 h 139"/>
                <a:gd name="T58" fmla="*/ 4 w 119"/>
                <a:gd name="T59" fmla="*/ 46 h 139"/>
                <a:gd name="T60" fmla="*/ 0 w 119"/>
                <a:gd name="T61" fmla="*/ 54 h 139"/>
                <a:gd name="T62" fmla="*/ 0 w 119"/>
                <a:gd name="T63" fmla="*/ 56 h 139"/>
                <a:gd name="T64" fmla="*/ 8 w 119"/>
                <a:gd name="T65" fmla="*/ 65 h 139"/>
                <a:gd name="T66" fmla="*/ 18 w 119"/>
                <a:gd name="T67" fmla="*/ 71 h 139"/>
                <a:gd name="T68" fmla="*/ 35 w 119"/>
                <a:gd name="T69" fmla="*/ 84 h 139"/>
                <a:gd name="T70" fmla="*/ 41 w 119"/>
                <a:gd name="T71" fmla="*/ 91 h 139"/>
                <a:gd name="T72" fmla="*/ 47 w 119"/>
                <a:gd name="T73" fmla="*/ 97 h 139"/>
                <a:gd name="T74" fmla="*/ 56 w 119"/>
                <a:gd name="T75" fmla="*/ 105 h 139"/>
                <a:gd name="T76" fmla="*/ 61 w 119"/>
                <a:gd name="T77" fmla="*/ 109 h 139"/>
                <a:gd name="T78" fmla="*/ 74 w 119"/>
                <a:gd name="T79" fmla="*/ 118 h 139"/>
                <a:gd name="T80" fmla="*/ 80 w 119"/>
                <a:gd name="T81" fmla="*/ 122 h 139"/>
                <a:gd name="T82" fmla="*/ 87 w 119"/>
                <a:gd name="T83" fmla="*/ 128 h 139"/>
                <a:gd name="T84" fmla="*/ 93 w 119"/>
                <a:gd name="T85" fmla="*/ 131 h 139"/>
                <a:gd name="T86" fmla="*/ 100 w 119"/>
                <a:gd name="T87" fmla="*/ 134 h 139"/>
                <a:gd name="T88" fmla="*/ 111 w 119"/>
                <a:gd name="T89" fmla="*/ 139 h 139"/>
                <a:gd name="T90" fmla="*/ 113 w 119"/>
                <a:gd name="T91" fmla="*/ 137 h 139"/>
                <a:gd name="T92" fmla="*/ 114 w 119"/>
                <a:gd name="T93" fmla="*/ 122 h 139"/>
                <a:gd name="T94" fmla="*/ 118 w 119"/>
                <a:gd name="T95" fmla="*/ 105 h 139"/>
                <a:gd name="T96" fmla="*/ 119 w 119"/>
                <a:gd name="T97" fmla="*/ 9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9" h="139">
                  <a:moveTo>
                    <a:pt x="116" y="87"/>
                  </a:moveTo>
                  <a:cubicBezTo>
                    <a:pt x="115" y="87"/>
                    <a:pt x="114" y="87"/>
                    <a:pt x="113" y="86"/>
                  </a:cubicBezTo>
                  <a:cubicBezTo>
                    <a:pt x="112" y="85"/>
                    <a:pt x="110" y="84"/>
                    <a:pt x="109" y="82"/>
                  </a:cubicBezTo>
                  <a:cubicBezTo>
                    <a:pt x="108" y="81"/>
                    <a:pt x="108" y="80"/>
                    <a:pt x="107" y="79"/>
                  </a:cubicBezTo>
                  <a:cubicBezTo>
                    <a:pt x="107" y="77"/>
                    <a:pt x="106" y="75"/>
                    <a:pt x="104" y="74"/>
                  </a:cubicBezTo>
                  <a:cubicBezTo>
                    <a:pt x="103" y="73"/>
                    <a:pt x="101" y="73"/>
                    <a:pt x="100" y="73"/>
                  </a:cubicBezTo>
                  <a:cubicBezTo>
                    <a:pt x="100" y="73"/>
                    <a:pt x="99" y="73"/>
                    <a:pt x="98" y="73"/>
                  </a:cubicBezTo>
                  <a:cubicBezTo>
                    <a:pt x="97" y="73"/>
                    <a:pt x="96" y="73"/>
                    <a:pt x="96" y="73"/>
                  </a:cubicBezTo>
                  <a:cubicBezTo>
                    <a:pt x="95" y="73"/>
                    <a:pt x="95" y="73"/>
                    <a:pt x="94" y="73"/>
                  </a:cubicBezTo>
                  <a:cubicBezTo>
                    <a:pt x="91" y="73"/>
                    <a:pt x="88" y="71"/>
                    <a:pt x="87" y="68"/>
                  </a:cubicBezTo>
                  <a:cubicBezTo>
                    <a:pt x="85" y="66"/>
                    <a:pt x="86" y="63"/>
                    <a:pt x="88" y="61"/>
                  </a:cubicBezTo>
                  <a:cubicBezTo>
                    <a:pt x="90" y="59"/>
                    <a:pt x="91" y="57"/>
                    <a:pt x="92" y="54"/>
                  </a:cubicBezTo>
                  <a:cubicBezTo>
                    <a:pt x="93" y="51"/>
                    <a:pt x="93" y="49"/>
                    <a:pt x="93" y="46"/>
                  </a:cubicBezTo>
                  <a:cubicBezTo>
                    <a:pt x="93" y="44"/>
                    <a:pt x="92" y="42"/>
                    <a:pt x="91" y="40"/>
                  </a:cubicBezTo>
                  <a:cubicBezTo>
                    <a:pt x="90" y="39"/>
                    <a:pt x="90" y="39"/>
                    <a:pt x="90" y="39"/>
                  </a:cubicBezTo>
                  <a:cubicBezTo>
                    <a:pt x="89" y="37"/>
                    <a:pt x="89" y="35"/>
                    <a:pt x="88" y="32"/>
                  </a:cubicBezTo>
                  <a:cubicBezTo>
                    <a:pt x="88" y="31"/>
                    <a:pt x="88" y="31"/>
                    <a:pt x="88" y="31"/>
                  </a:cubicBezTo>
                  <a:cubicBezTo>
                    <a:pt x="87" y="30"/>
                    <a:pt x="87" y="30"/>
                    <a:pt x="87" y="30"/>
                  </a:cubicBezTo>
                  <a:cubicBezTo>
                    <a:pt x="87" y="30"/>
                    <a:pt x="86" y="30"/>
                    <a:pt x="85" y="29"/>
                  </a:cubicBezTo>
                  <a:cubicBezTo>
                    <a:pt x="85" y="29"/>
                    <a:pt x="84" y="28"/>
                    <a:pt x="84" y="28"/>
                  </a:cubicBezTo>
                  <a:cubicBezTo>
                    <a:pt x="82" y="27"/>
                    <a:pt x="82" y="27"/>
                    <a:pt x="82" y="27"/>
                  </a:cubicBezTo>
                  <a:cubicBezTo>
                    <a:pt x="81" y="29"/>
                    <a:pt x="81" y="29"/>
                    <a:pt x="81" y="29"/>
                  </a:cubicBezTo>
                  <a:cubicBezTo>
                    <a:pt x="81" y="29"/>
                    <a:pt x="81" y="30"/>
                    <a:pt x="81" y="30"/>
                  </a:cubicBezTo>
                  <a:cubicBezTo>
                    <a:pt x="80" y="34"/>
                    <a:pt x="79" y="36"/>
                    <a:pt x="76" y="39"/>
                  </a:cubicBezTo>
                  <a:cubicBezTo>
                    <a:pt x="76" y="39"/>
                    <a:pt x="76" y="39"/>
                    <a:pt x="76" y="39"/>
                  </a:cubicBezTo>
                  <a:cubicBezTo>
                    <a:pt x="73" y="42"/>
                    <a:pt x="72" y="43"/>
                    <a:pt x="69" y="43"/>
                  </a:cubicBezTo>
                  <a:cubicBezTo>
                    <a:pt x="68" y="40"/>
                    <a:pt x="67" y="38"/>
                    <a:pt x="65" y="37"/>
                  </a:cubicBezTo>
                  <a:cubicBezTo>
                    <a:pt x="65" y="37"/>
                    <a:pt x="64" y="37"/>
                    <a:pt x="64" y="37"/>
                  </a:cubicBezTo>
                  <a:cubicBezTo>
                    <a:pt x="63" y="37"/>
                    <a:pt x="63" y="37"/>
                    <a:pt x="62" y="37"/>
                  </a:cubicBezTo>
                  <a:cubicBezTo>
                    <a:pt x="62" y="37"/>
                    <a:pt x="62" y="37"/>
                    <a:pt x="61" y="37"/>
                  </a:cubicBezTo>
                  <a:cubicBezTo>
                    <a:pt x="60" y="37"/>
                    <a:pt x="60" y="37"/>
                    <a:pt x="60" y="37"/>
                  </a:cubicBezTo>
                  <a:cubicBezTo>
                    <a:pt x="59" y="37"/>
                    <a:pt x="59" y="36"/>
                    <a:pt x="59" y="35"/>
                  </a:cubicBezTo>
                  <a:cubicBezTo>
                    <a:pt x="59" y="34"/>
                    <a:pt x="60" y="33"/>
                    <a:pt x="61" y="32"/>
                  </a:cubicBezTo>
                  <a:cubicBezTo>
                    <a:pt x="61" y="31"/>
                    <a:pt x="62" y="30"/>
                    <a:pt x="62" y="29"/>
                  </a:cubicBezTo>
                  <a:cubicBezTo>
                    <a:pt x="63" y="27"/>
                    <a:pt x="62" y="25"/>
                    <a:pt x="62" y="23"/>
                  </a:cubicBezTo>
                  <a:cubicBezTo>
                    <a:pt x="61" y="22"/>
                    <a:pt x="61" y="22"/>
                    <a:pt x="61" y="22"/>
                  </a:cubicBezTo>
                  <a:cubicBezTo>
                    <a:pt x="61" y="21"/>
                    <a:pt x="61" y="19"/>
                    <a:pt x="60" y="18"/>
                  </a:cubicBezTo>
                  <a:cubicBezTo>
                    <a:pt x="60" y="17"/>
                    <a:pt x="60" y="16"/>
                    <a:pt x="60" y="15"/>
                  </a:cubicBezTo>
                  <a:cubicBezTo>
                    <a:pt x="60" y="15"/>
                    <a:pt x="59" y="14"/>
                    <a:pt x="59" y="13"/>
                  </a:cubicBezTo>
                  <a:cubicBezTo>
                    <a:pt x="59" y="12"/>
                    <a:pt x="58" y="10"/>
                    <a:pt x="58" y="8"/>
                  </a:cubicBezTo>
                  <a:cubicBezTo>
                    <a:pt x="58" y="3"/>
                    <a:pt x="54" y="1"/>
                    <a:pt x="50" y="0"/>
                  </a:cubicBezTo>
                  <a:cubicBezTo>
                    <a:pt x="49" y="0"/>
                    <a:pt x="49" y="0"/>
                    <a:pt x="49" y="0"/>
                  </a:cubicBezTo>
                  <a:cubicBezTo>
                    <a:pt x="48" y="0"/>
                    <a:pt x="47" y="1"/>
                    <a:pt x="46" y="1"/>
                  </a:cubicBezTo>
                  <a:cubicBezTo>
                    <a:pt x="45" y="1"/>
                    <a:pt x="44" y="2"/>
                    <a:pt x="43" y="2"/>
                  </a:cubicBezTo>
                  <a:cubicBezTo>
                    <a:pt x="42" y="2"/>
                    <a:pt x="41" y="1"/>
                    <a:pt x="40" y="1"/>
                  </a:cubicBezTo>
                  <a:cubicBezTo>
                    <a:pt x="39" y="1"/>
                    <a:pt x="39" y="1"/>
                    <a:pt x="38" y="0"/>
                  </a:cubicBezTo>
                  <a:cubicBezTo>
                    <a:pt x="36" y="0"/>
                    <a:pt x="36" y="0"/>
                    <a:pt x="36" y="0"/>
                  </a:cubicBezTo>
                  <a:cubicBezTo>
                    <a:pt x="36" y="2"/>
                    <a:pt x="36" y="2"/>
                    <a:pt x="36" y="2"/>
                  </a:cubicBezTo>
                  <a:cubicBezTo>
                    <a:pt x="36" y="4"/>
                    <a:pt x="36" y="5"/>
                    <a:pt x="36" y="6"/>
                  </a:cubicBezTo>
                  <a:cubicBezTo>
                    <a:pt x="36" y="7"/>
                    <a:pt x="36" y="9"/>
                    <a:pt x="35" y="10"/>
                  </a:cubicBezTo>
                  <a:cubicBezTo>
                    <a:pt x="35" y="11"/>
                    <a:pt x="34" y="11"/>
                    <a:pt x="32" y="11"/>
                  </a:cubicBezTo>
                  <a:cubicBezTo>
                    <a:pt x="30" y="11"/>
                    <a:pt x="30" y="11"/>
                    <a:pt x="30" y="11"/>
                  </a:cubicBezTo>
                  <a:cubicBezTo>
                    <a:pt x="30" y="11"/>
                    <a:pt x="28" y="11"/>
                    <a:pt x="28" y="12"/>
                  </a:cubicBezTo>
                  <a:cubicBezTo>
                    <a:pt x="26" y="13"/>
                    <a:pt x="26" y="16"/>
                    <a:pt x="26" y="19"/>
                  </a:cubicBezTo>
                  <a:cubicBezTo>
                    <a:pt x="26" y="19"/>
                    <a:pt x="26" y="19"/>
                    <a:pt x="26" y="20"/>
                  </a:cubicBezTo>
                  <a:cubicBezTo>
                    <a:pt x="26" y="23"/>
                    <a:pt x="25" y="25"/>
                    <a:pt x="23" y="27"/>
                  </a:cubicBezTo>
                  <a:cubicBezTo>
                    <a:pt x="21" y="29"/>
                    <a:pt x="19" y="31"/>
                    <a:pt x="17" y="33"/>
                  </a:cubicBezTo>
                  <a:cubicBezTo>
                    <a:pt x="15" y="34"/>
                    <a:pt x="14" y="35"/>
                    <a:pt x="13" y="36"/>
                  </a:cubicBezTo>
                  <a:cubicBezTo>
                    <a:pt x="11" y="37"/>
                    <a:pt x="11" y="37"/>
                    <a:pt x="11" y="37"/>
                  </a:cubicBezTo>
                  <a:cubicBezTo>
                    <a:pt x="8" y="40"/>
                    <a:pt x="4" y="43"/>
                    <a:pt x="4" y="46"/>
                  </a:cubicBezTo>
                  <a:cubicBezTo>
                    <a:pt x="3" y="48"/>
                    <a:pt x="3" y="50"/>
                    <a:pt x="1" y="53"/>
                  </a:cubicBezTo>
                  <a:cubicBezTo>
                    <a:pt x="1" y="53"/>
                    <a:pt x="1" y="54"/>
                    <a:pt x="0" y="54"/>
                  </a:cubicBezTo>
                  <a:cubicBezTo>
                    <a:pt x="0" y="55"/>
                    <a:pt x="0" y="55"/>
                    <a:pt x="0" y="55"/>
                  </a:cubicBezTo>
                  <a:cubicBezTo>
                    <a:pt x="0" y="56"/>
                    <a:pt x="0" y="56"/>
                    <a:pt x="0" y="56"/>
                  </a:cubicBezTo>
                  <a:cubicBezTo>
                    <a:pt x="0" y="57"/>
                    <a:pt x="0" y="58"/>
                    <a:pt x="1" y="60"/>
                  </a:cubicBezTo>
                  <a:cubicBezTo>
                    <a:pt x="2" y="63"/>
                    <a:pt x="5" y="64"/>
                    <a:pt x="8" y="65"/>
                  </a:cubicBezTo>
                  <a:cubicBezTo>
                    <a:pt x="9" y="65"/>
                    <a:pt x="10" y="66"/>
                    <a:pt x="11" y="67"/>
                  </a:cubicBezTo>
                  <a:cubicBezTo>
                    <a:pt x="13" y="68"/>
                    <a:pt x="16" y="70"/>
                    <a:pt x="18" y="71"/>
                  </a:cubicBezTo>
                  <a:cubicBezTo>
                    <a:pt x="20" y="72"/>
                    <a:pt x="21" y="73"/>
                    <a:pt x="23" y="74"/>
                  </a:cubicBezTo>
                  <a:cubicBezTo>
                    <a:pt x="28" y="77"/>
                    <a:pt x="31" y="80"/>
                    <a:pt x="35" y="84"/>
                  </a:cubicBezTo>
                  <a:cubicBezTo>
                    <a:pt x="36" y="85"/>
                    <a:pt x="38" y="87"/>
                    <a:pt x="39" y="88"/>
                  </a:cubicBezTo>
                  <a:cubicBezTo>
                    <a:pt x="40" y="89"/>
                    <a:pt x="41" y="90"/>
                    <a:pt x="41" y="91"/>
                  </a:cubicBezTo>
                  <a:cubicBezTo>
                    <a:pt x="42" y="92"/>
                    <a:pt x="43" y="92"/>
                    <a:pt x="44" y="93"/>
                  </a:cubicBezTo>
                  <a:cubicBezTo>
                    <a:pt x="45" y="94"/>
                    <a:pt x="46" y="96"/>
                    <a:pt x="47" y="97"/>
                  </a:cubicBezTo>
                  <a:cubicBezTo>
                    <a:pt x="48" y="98"/>
                    <a:pt x="50" y="99"/>
                    <a:pt x="51" y="100"/>
                  </a:cubicBezTo>
                  <a:cubicBezTo>
                    <a:pt x="53" y="102"/>
                    <a:pt x="55" y="103"/>
                    <a:pt x="56" y="105"/>
                  </a:cubicBezTo>
                  <a:cubicBezTo>
                    <a:pt x="57" y="106"/>
                    <a:pt x="58" y="107"/>
                    <a:pt x="59" y="108"/>
                  </a:cubicBezTo>
                  <a:cubicBezTo>
                    <a:pt x="60" y="108"/>
                    <a:pt x="60" y="108"/>
                    <a:pt x="61" y="109"/>
                  </a:cubicBezTo>
                  <a:cubicBezTo>
                    <a:pt x="63" y="110"/>
                    <a:pt x="65" y="112"/>
                    <a:pt x="67" y="113"/>
                  </a:cubicBezTo>
                  <a:cubicBezTo>
                    <a:pt x="70" y="115"/>
                    <a:pt x="72" y="116"/>
                    <a:pt x="74" y="118"/>
                  </a:cubicBezTo>
                  <a:cubicBezTo>
                    <a:pt x="75" y="118"/>
                    <a:pt x="76" y="119"/>
                    <a:pt x="76" y="119"/>
                  </a:cubicBezTo>
                  <a:cubicBezTo>
                    <a:pt x="78" y="120"/>
                    <a:pt x="79" y="121"/>
                    <a:pt x="80" y="122"/>
                  </a:cubicBezTo>
                  <a:cubicBezTo>
                    <a:pt x="81" y="123"/>
                    <a:pt x="81" y="123"/>
                    <a:pt x="81" y="123"/>
                  </a:cubicBezTo>
                  <a:cubicBezTo>
                    <a:pt x="83" y="125"/>
                    <a:pt x="85" y="126"/>
                    <a:pt x="87" y="128"/>
                  </a:cubicBezTo>
                  <a:cubicBezTo>
                    <a:pt x="88" y="129"/>
                    <a:pt x="89" y="129"/>
                    <a:pt x="91" y="130"/>
                  </a:cubicBezTo>
                  <a:cubicBezTo>
                    <a:pt x="92" y="130"/>
                    <a:pt x="92" y="131"/>
                    <a:pt x="93" y="131"/>
                  </a:cubicBezTo>
                  <a:cubicBezTo>
                    <a:pt x="94" y="131"/>
                    <a:pt x="94" y="132"/>
                    <a:pt x="95" y="132"/>
                  </a:cubicBezTo>
                  <a:cubicBezTo>
                    <a:pt x="97" y="133"/>
                    <a:pt x="98" y="134"/>
                    <a:pt x="100" y="134"/>
                  </a:cubicBezTo>
                  <a:cubicBezTo>
                    <a:pt x="102" y="135"/>
                    <a:pt x="103" y="136"/>
                    <a:pt x="105" y="137"/>
                  </a:cubicBezTo>
                  <a:cubicBezTo>
                    <a:pt x="107" y="138"/>
                    <a:pt x="109" y="139"/>
                    <a:pt x="111" y="139"/>
                  </a:cubicBezTo>
                  <a:cubicBezTo>
                    <a:pt x="113" y="139"/>
                    <a:pt x="113" y="139"/>
                    <a:pt x="113" y="139"/>
                  </a:cubicBezTo>
                  <a:cubicBezTo>
                    <a:pt x="113" y="137"/>
                    <a:pt x="113" y="137"/>
                    <a:pt x="113" y="137"/>
                  </a:cubicBezTo>
                  <a:cubicBezTo>
                    <a:pt x="114" y="132"/>
                    <a:pt x="114" y="128"/>
                    <a:pt x="114" y="124"/>
                  </a:cubicBezTo>
                  <a:cubicBezTo>
                    <a:pt x="114" y="122"/>
                    <a:pt x="114" y="122"/>
                    <a:pt x="114" y="122"/>
                  </a:cubicBezTo>
                  <a:cubicBezTo>
                    <a:pt x="114" y="119"/>
                    <a:pt x="114" y="116"/>
                    <a:pt x="116" y="114"/>
                  </a:cubicBezTo>
                  <a:cubicBezTo>
                    <a:pt x="117" y="111"/>
                    <a:pt x="118" y="108"/>
                    <a:pt x="118" y="105"/>
                  </a:cubicBezTo>
                  <a:cubicBezTo>
                    <a:pt x="119" y="102"/>
                    <a:pt x="119" y="100"/>
                    <a:pt x="119" y="97"/>
                  </a:cubicBezTo>
                  <a:cubicBezTo>
                    <a:pt x="119" y="95"/>
                    <a:pt x="119" y="95"/>
                    <a:pt x="119" y="95"/>
                  </a:cubicBezTo>
                  <a:cubicBezTo>
                    <a:pt x="119" y="92"/>
                    <a:pt x="119" y="89"/>
                    <a:pt x="116" y="87"/>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sp>
          <p:nvSpPr>
            <p:cNvPr id="83" name="Freeform 83">
              <a:extLst>
                <a:ext uri="{FF2B5EF4-FFF2-40B4-BE49-F238E27FC236}">
                  <a16:creationId xmlns:a16="http://schemas.microsoft.com/office/drawing/2014/main" id="{B999367F-E60A-409F-9520-2CF26778EB99}"/>
                </a:ext>
              </a:extLst>
            </p:cNvPr>
            <p:cNvSpPr>
              <a:spLocks/>
            </p:cNvSpPr>
            <p:nvPr/>
          </p:nvSpPr>
          <p:spPr bwMode="auto">
            <a:xfrm>
              <a:off x="1190898" y="1901167"/>
              <a:ext cx="181912" cy="198279"/>
            </a:xfrm>
            <a:custGeom>
              <a:avLst/>
              <a:gdLst>
                <a:gd name="T0" fmla="*/ 90 w 90"/>
                <a:gd name="T1" fmla="*/ 51 h 106"/>
                <a:gd name="T2" fmla="*/ 84 w 90"/>
                <a:gd name="T3" fmla="*/ 55 h 106"/>
                <a:gd name="T4" fmla="*/ 79 w 90"/>
                <a:gd name="T5" fmla="*/ 58 h 106"/>
                <a:gd name="T6" fmla="*/ 79 w 90"/>
                <a:gd name="T7" fmla="*/ 58 h 106"/>
                <a:gd name="T8" fmla="*/ 81 w 90"/>
                <a:gd name="T9" fmla="*/ 49 h 106"/>
                <a:gd name="T10" fmla="*/ 81 w 90"/>
                <a:gd name="T11" fmla="*/ 41 h 106"/>
                <a:gd name="T12" fmla="*/ 80 w 90"/>
                <a:gd name="T13" fmla="*/ 36 h 106"/>
                <a:gd name="T14" fmla="*/ 80 w 90"/>
                <a:gd name="T15" fmla="*/ 34 h 106"/>
                <a:gd name="T16" fmla="*/ 78 w 90"/>
                <a:gd name="T17" fmla="*/ 32 h 106"/>
                <a:gd name="T18" fmla="*/ 78 w 90"/>
                <a:gd name="T19" fmla="*/ 28 h 106"/>
                <a:gd name="T20" fmla="*/ 76 w 90"/>
                <a:gd name="T21" fmla="*/ 22 h 106"/>
                <a:gd name="T22" fmla="*/ 66 w 90"/>
                <a:gd name="T23" fmla="*/ 6 h 106"/>
                <a:gd name="T24" fmla="*/ 64 w 90"/>
                <a:gd name="T25" fmla="*/ 4 h 106"/>
                <a:gd name="T26" fmla="*/ 54 w 90"/>
                <a:gd name="T27" fmla="*/ 0 h 106"/>
                <a:gd name="T28" fmla="*/ 38 w 90"/>
                <a:gd name="T29" fmla="*/ 6 h 106"/>
                <a:gd name="T30" fmla="*/ 34 w 90"/>
                <a:gd name="T31" fmla="*/ 5 h 106"/>
                <a:gd name="T32" fmla="*/ 30 w 90"/>
                <a:gd name="T33" fmla="*/ 4 h 106"/>
                <a:gd name="T34" fmla="*/ 25 w 90"/>
                <a:gd name="T35" fmla="*/ 11 h 106"/>
                <a:gd name="T36" fmla="*/ 21 w 90"/>
                <a:gd name="T37" fmla="*/ 19 h 106"/>
                <a:gd name="T38" fmla="*/ 16 w 90"/>
                <a:gd name="T39" fmla="*/ 25 h 106"/>
                <a:gd name="T40" fmla="*/ 8 w 90"/>
                <a:gd name="T41" fmla="*/ 32 h 106"/>
                <a:gd name="T42" fmla="*/ 3 w 90"/>
                <a:gd name="T43" fmla="*/ 33 h 106"/>
                <a:gd name="T44" fmla="*/ 2 w 90"/>
                <a:gd name="T45" fmla="*/ 36 h 106"/>
                <a:gd name="T46" fmla="*/ 3 w 90"/>
                <a:gd name="T47" fmla="*/ 38 h 106"/>
                <a:gd name="T48" fmla="*/ 3 w 90"/>
                <a:gd name="T49" fmla="*/ 49 h 106"/>
                <a:gd name="T50" fmla="*/ 3 w 90"/>
                <a:gd name="T51" fmla="*/ 52 h 106"/>
                <a:gd name="T52" fmla="*/ 7 w 90"/>
                <a:gd name="T53" fmla="*/ 63 h 106"/>
                <a:gd name="T54" fmla="*/ 10 w 90"/>
                <a:gd name="T55" fmla="*/ 65 h 106"/>
                <a:gd name="T56" fmla="*/ 11 w 90"/>
                <a:gd name="T57" fmla="*/ 72 h 106"/>
                <a:gd name="T58" fmla="*/ 15 w 90"/>
                <a:gd name="T59" fmla="*/ 78 h 106"/>
                <a:gd name="T60" fmla="*/ 16 w 90"/>
                <a:gd name="T61" fmla="*/ 83 h 106"/>
                <a:gd name="T62" fmla="*/ 21 w 90"/>
                <a:gd name="T63" fmla="*/ 84 h 106"/>
                <a:gd name="T64" fmla="*/ 22 w 90"/>
                <a:gd name="T65" fmla="*/ 84 h 106"/>
                <a:gd name="T66" fmla="*/ 29 w 90"/>
                <a:gd name="T67" fmla="*/ 91 h 106"/>
                <a:gd name="T68" fmla="*/ 37 w 90"/>
                <a:gd name="T69" fmla="*/ 96 h 106"/>
                <a:gd name="T70" fmla="*/ 48 w 90"/>
                <a:gd name="T71" fmla="*/ 102 h 106"/>
                <a:gd name="T72" fmla="*/ 54 w 90"/>
                <a:gd name="T73" fmla="*/ 106 h 106"/>
                <a:gd name="T74" fmla="*/ 58 w 90"/>
                <a:gd name="T75" fmla="*/ 97 h 106"/>
                <a:gd name="T76" fmla="*/ 67 w 90"/>
                <a:gd name="T77" fmla="*/ 87 h 106"/>
                <a:gd name="T78" fmla="*/ 78 w 90"/>
                <a:gd name="T79" fmla="*/ 78 h 106"/>
                <a:gd name="T80" fmla="*/ 80 w 90"/>
                <a:gd name="T81" fmla="*/ 70 h 106"/>
                <a:gd name="T82" fmla="*/ 85 w 90"/>
                <a:gd name="T83" fmla="*/ 63 h 106"/>
                <a:gd name="T84" fmla="*/ 89 w 90"/>
                <a:gd name="T85" fmla="*/ 61 h 106"/>
                <a:gd name="T86" fmla="*/ 90 w 90"/>
                <a:gd name="T87" fmla="*/ 5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0" h="106">
                  <a:moveTo>
                    <a:pt x="90" y="54"/>
                  </a:moveTo>
                  <a:cubicBezTo>
                    <a:pt x="90" y="51"/>
                    <a:pt x="90" y="51"/>
                    <a:pt x="90" y="51"/>
                  </a:cubicBezTo>
                  <a:cubicBezTo>
                    <a:pt x="87" y="53"/>
                    <a:pt x="87" y="53"/>
                    <a:pt x="87" y="53"/>
                  </a:cubicBezTo>
                  <a:cubicBezTo>
                    <a:pt x="86" y="53"/>
                    <a:pt x="85" y="54"/>
                    <a:pt x="84" y="55"/>
                  </a:cubicBezTo>
                  <a:cubicBezTo>
                    <a:pt x="84" y="55"/>
                    <a:pt x="83" y="55"/>
                    <a:pt x="83" y="56"/>
                  </a:cubicBezTo>
                  <a:cubicBezTo>
                    <a:pt x="82" y="57"/>
                    <a:pt x="81" y="58"/>
                    <a:pt x="79" y="58"/>
                  </a:cubicBezTo>
                  <a:cubicBezTo>
                    <a:pt x="79" y="58"/>
                    <a:pt x="79" y="58"/>
                    <a:pt x="79" y="58"/>
                  </a:cubicBezTo>
                  <a:cubicBezTo>
                    <a:pt x="79" y="58"/>
                    <a:pt x="79" y="58"/>
                    <a:pt x="79" y="58"/>
                  </a:cubicBezTo>
                  <a:cubicBezTo>
                    <a:pt x="79" y="56"/>
                    <a:pt x="79" y="53"/>
                    <a:pt x="80" y="51"/>
                  </a:cubicBezTo>
                  <a:cubicBezTo>
                    <a:pt x="80" y="50"/>
                    <a:pt x="81" y="50"/>
                    <a:pt x="81" y="49"/>
                  </a:cubicBezTo>
                  <a:cubicBezTo>
                    <a:pt x="82" y="47"/>
                    <a:pt x="83" y="46"/>
                    <a:pt x="82" y="43"/>
                  </a:cubicBezTo>
                  <a:cubicBezTo>
                    <a:pt x="82" y="43"/>
                    <a:pt x="82" y="42"/>
                    <a:pt x="81" y="41"/>
                  </a:cubicBezTo>
                  <a:cubicBezTo>
                    <a:pt x="81" y="40"/>
                    <a:pt x="80" y="39"/>
                    <a:pt x="80" y="38"/>
                  </a:cubicBezTo>
                  <a:cubicBezTo>
                    <a:pt x="80" y="37"/>
                    <a:pt x="80" y="36"/>
                    <a:pt x="80" y="36"/>
                  </a:cubicBezTo>
                  <a:cubicBezTo>
                    <a:pt x="80" y="35"/>
                    <a:pt x="80" y="35"/>
                    <a:pt x="80" y="34"/>
                  </a:cubicBezTo>
                  <a:cubicBezTo>
                    <a:pt x="80" y="34"/>
                    <a:pt x="80" y="34"/>
                    <a:pt x="80" y="34"/>
                  </a:cubicBezTo>
                  <a:cubicBezTo>
                    <a:pt x="80" y="34"/>
                    <a:pt x="80" y="34"/>
                    <a:pt x="80" y="34"/>
                  </a:cubicBezTo>
                  <a:cubicBezTo>
                    <a:pt x="80" y="33"/>
                    <a:pt x="79" y="33"/>
                    <a:pt x="78" y="32"/>
                  </a:cubicBezTo>
                  <a:cubicBezTo>
                    <a:pt x="76" y="31"/>
                    <a:pt x="76" y="30"/>
                    <a:pt x="77" y="29"/>
                  </a:cubicBezTo>
                  <a:cubicBezTo>
                    <a:pt x="77" y="29"/>
                    <a:pt x="77" y="28"/>
                    <a:pt x="78" y="28"/>
                  </a:cubicBezTo>
                  <a:cubicBezTo>
                    <a:pt x="79" y="26"/>
                    <a:pt x="78" y="25"/>
                    <a:pt x="76" y="23"/>
                  </a:cubicBezTo>
                  <a:cubicBezTo>
                    <a:pt x="76" y="22"/>
                    <a:pt x="76" y="22"/>
                    <a:pt x="76" y="22"/>
                  </a:cubicBezTo>
                  <a:cubicBezTo>
                    <a:pt x="73" y="20"/>
                    <a:pt x="71" y="16"/>
                    <a:pt x="70" y="12"/>
                  </a:cubicBezTo>
                  <a:cubicBezTo>
                    <a:pt x="69" y="10"/>
                    <a:pt x="67" y="8"/>
                    <a:pt x="66" y="6"/>
                  </a:cubicBezTo>
                  <a:cubicBezTo>
                    <a:pt x="66" y="6"/>
                    <a:pt x="66" y="6"/>
                    <a:pt x="66" y="6"/>
                  </a:cubicBezTo>
                  <a:cubicBezTo>
                    <a:pt x="65" y="5"/>
                    <a:pt x="65" y="4"/>
                    <a:pt x="64" y="4"/>
                  </a:cubicBezTo>
                  <a:cubicBezTo>
                    <a:pt x="62" y="1"/>
                    <a:pt x="61" y="1"/>
                    <a:pt x="58" y="1"/>
                  </a:cubicBezTo>
                  <a:cubicBezTo>
                    <a:pt x="57" y="1"/>
                    <a:pt x="56" y="0"/>
                    <a:pt x="54" y="0"/>
                  </a:cubicBezTo>
                  <a:cubicBezTo>
                    <a:pt x="49" y="0"/>
                    <a:pt x="45" y="1"/>
                    <a:pt x="43" y="4"/>
                  </a:cubicBezTo>
                  <a:cubicBezTo>
                    <a:pt x="42" y="5"/>
                    <a:pt x="40" y="6"/>
                    <a:pt x="38" y="6"/>
                  </a:cubicBezTo>
                  <a:cubicBezTo>
                    <a:pt x="37" y="6"/>
                    <a:pt x="37" y="6"/>
                    <a:pt x="37" y="6"/>
                  </a:cubicBezTo>
                  <a:cubicBezTo>
                    <a:pt x="36" y="6"/>
                    <a:pt x="35" y="5"/>
                    <a:pt x="34" y="5"/>
                  </a:cubicBezTo>
                  <a:cubicBezTo>
                    <a:pt x="34" y="4"/>
                    <a:pt x="33" y="4"/>
                    <a:pt x="32" y="4"/>
                  </a:cubicBezTo>
                  <a:cubicBezTo>
                    <a:pt x="31" y="4"/>
                    <a:pt x="30" y="4"/>
                    <a:pt x="30" y="4"/>
                  </a:cubicBezTo>
                  <a:cubicBezTo>
                    <a:pt x="28" y="5"/>
                    <a:pt x="27" y="7"/>
                    <a:pt x="26" y="9"/>
                  </a:cubicBezTo>
                  <a:cubicBezTo>
                    <a:pt x="26" y="9"/>
                    <a:pt x="25" y="10"/>
                    <a:pt x="25" y="11"/>
                  </a:cubicBezTo>
                  <a:cubicBezTo>
                    <a:pt x="24" y="13"/>
                    <a:pt x="22" y="15"/>
                    <a:pt x="22" y="17"/>
                  </a:cubicBezTo>
                  <a:cubicBezTo>
                    <a:pt x="21" y="17"/>
                    <a:pt x="21" y="18"/>
                    <a:pt x="21" y="19"/>
                  </a:cubicBezTo>
                  <a:cubicBezTo>
                    <a:pt x="20" y="21"/>
                    <a:pt x="19" y="23"/>
                    <a:pt x="18" y="24"/>
                  </a:cubicBezTo>
                  <a:cubicBezTo>
                    <a:pt x="17" y="24"/>
                    <a:pt x="16" y="25"/>
                    <a:pt x="16" y="25"/>
                  </a:cubicBezTo>
                  <a:cubicBezTo>
                    <a:pt x="14" y="26"/>
                    <a:pt x="13" y="26"/>
                    <a:pt x="13" y="29"/>
                  </a:cubicBezTo>
                  <a:cubicBezTo>
                    <a:pt x="12" y="32"/>
                    <a:pt x="11" y="32"/>
                    <a:pt x="8" y="32"/>
                  </a:cubicBezTo>
                  <a:cubicBezTo>
                    <a:pt x="6" y="32"/>
                    <a:pt x="6" y="32"/>
                    <a:pt x="6" y="32"/>
                  </a:cubicBezTo>
                  <a:cubicBezTo>
                    <a:pt x="5" y="32"/>
                    <a:pt x="4" y="33"/>
                    <a:pt x="3" y="33"/>
                  </a:cubicBezTo>
                  <a:cubicBezTo>
                    <a:pt x="0" y="34"/>
                    <a:pt x="0" y="34"/>
                    <a:pt x="0" y="34"/>
                  </a:cubicBezTo>
                  <a:cubicBezTo>
                    <a:pt x="2" y="36"/>
                    <a:pt x="2" y="36"/>
                    <a:pt x="2" y="36"/>
                  </a:cubicBezTo>
                  <a:cubicBezTo>
                    <a:pt x="3" y="37"/>
                    <a:pt x="4" y="37"/>
                    <a:pt x="4" y="38"/>
                  </a:cubicBezTo>
                  <a:cubicBezTo>
                    <a:pt x="4" y="38"/>
                    <a:pt x="4" y="38"/>
                    <a:pt x="3" y="38"/>
                  </a:cubicBezTo>
                  <a:cubicBezTo>
                    <a:pt x="2" y="39"/>
                    <a:pt x="1" y="39"/>
                    <a:pt x="1" y="42"/>
                  </a:cubicBezTo>
                  <a:cubicBezTo>
                    <a:pt x="1" y="42"/>
                    <a:pt x="0" y="48"/>
                    <a:pt x="3" y="49"/>
                  </a:cubicBezTo>
                  <a:cubicBezTo>
                    <a:pt x="3" y="50"/>
                    <a:pt x="4" y="50"/>
                    <a:pt x="5" y="50"/>
                  </a:cubicBezTo>
                  <a:cubicBezTo>
                    <a:pt x="4" y="51"/>
                    <a:pt x="3" y="51"/>
                    <a:pt x="3" y="52"/>
                  </a:cubicBezTo>
                  <a:cubicBezTo>
                    <a:pt x="2" y="55"/>
                    <a:pt x="2" y="58"/>
                    <a:pt x="3" y="60"/>
                  </a:cubicBezTo>
                  <a:cubicBezTo>
                    <a:pt x="4" y="61"/>
                    <a:pt x="5" y="62"/>
                    <a:pt x="7" y="63"/>
                  </a:cubicBezTo>
                  <a:cubicBezTo>
                    <a:pt x="8" y="63"/>
                    <a:pt x="8" y="63"/>
                    <a:pt x="8" y="63"/>
                  </a:cubicBezTo>
                  <a:cubicBezTo>
                    <a:pt x="10" y="63"/>
                    <a:pt x="10" y="64"/>
                    <a:pt x="10" y="65"/>
                  </a:cubicBezTo>
                  <a:cubicBezTo>
                    <a:pt x="11" y="67"/>
                    <a:pt x="11" y="68"/>
                    <a:pt x="11" y="70"/>
                  </a:cubicBezTo>
                  <a:cubicBezTo>
                    <a:pt x="11" y="70"/>
                    <a:pt x="11" y="71"/>
                    <a:pt x="11" y="72"/>
                  </a:cubicBezTo>
                  <a:cubicBezTo>
                    <a:pt x="12" y="75"/>
                    <a:pt x="13" y="76"/>
                    <a:pt x="14" y="77"/>
                  </a:cubicBezTo>
                  <a:cubicBezTo>
                    <a:pt x="15" y="77"/>
                    <a:pt x="15" y="77"/>
                    <a:pt x="15" y="78"/>
                  </a:cubicBezTo>
                  <a:cubicBezTo>
                    <a:pt x="15" y="78"/>
                    <a:pt x="15" y="79"/>
                    <a:pt x="15" y="79"/>
                  </a:cubicBezTo>
                  <a:cubicBezTo>
                    <a:pt x="15" y="80"/>
                    <a:pt x="15" y="82"/>
                    <a:pt x="16" y="83"/>
                  </a:cubicBezTo>
                  <a:cubicBezTo>
                    <a:pt x="17" y="84"/>
                    <a:pt x="18" y="84"/>
                    <a:pt x="19" y="84"/>
                  </a:cubicBezTo>
                  <a:cubicBezTo>
                    <a:pt x="19" y="84"/>
                    <a:pt x="20" y="84"/>
                    <a:pt x="21" y="84"/>
                  </a:cubicBezTo>
                  <a:cubicBezTo>
                    <a:pt x="21" y="84"/>
                    <a:pt x="21" y="83"/>
                    <a:pt x="22" y="83"/>
                  </a:cubicBezTo>
                  <a:cubicBezTo>
                    <a:pt x="22" y="84"/>
                    <a:pt x="22" y="84"/>
                    <a:pt x="22" y="84"/>
                  </a:cubicBezTo>
                  <a:cubicBezTo>
                    <a:pt x="22" y="85"/>
                    <a:pt x="22" y="87"/>
                    <a:pt x="24" y="88"/>
                  </a:cubicBezTo>
                  <a:cubicBezTo>
                    <a:pt x="25" y="89"/>
                    <a:pt x="27" y="90"/>
                    <a:pt x="29" y="91"/>
                  </a:cubicBezTo>
                  <a:cubicBezTo>
                    <a:pt x="30" y="91"/>
                    <a:pt x="30" y="92"/>
                    <a:pt x="31" y="92"/>
                  </a:cubicBezTo>
                  <a:cubicBezTo>
                    <a:pt x="33" y="93"/>
                    <a:pt x="35" y="94"/>
                    <a:pt x="37" y="96"/>
                  </a:cubicBezTo>
                  <a:cubicBezTo>
                    <a:pt x="39" y="97"/>
                    <a:pt x="41" y="98"/>
                    <a:pt x="43" y="99"/>
                  </a:cubicBezTo>
                  <a:cubicBezTo>
                    <a:pt x="45" y="100"/>
                    <a:pt x="47" y="101"/>
                    <a:pt x="48" y="102"/>
                  </a:cubicBezTo>
                  <a:cubicBezTo>
                    <a:pt x="50" y="103"/>
                    <a:pt x="51" y="104"/>
                    <a:pt x="52" y="105"/>
                  </a:cubicBezTo>
                  <a:cubicBezTo>
                    <a:pt x="54" y="106"/>
                    <a:pt x="54" y="106"/>
                    <a:pt x="54" y="106"/>
                  </a:cubicBezTo>
                  <a:cubicBezTo>
                    <a:pt x="55" y="104"/>
                    <a:pt x="55" y="104"/>
                    <a:pt x="55" y="104"/>
                  </a:cubicBezTo>
                  <a:cubicBezTo>
                    <a:pt x="57" y="101"/>
                    <a:pt x="57" y="100"/>
                    <a:pt x="58" y="97"/>
                  </a:cubicBezTo>
                  <a:cubicBezTo>
                    <a:pt x="59" y="94"/>
                    <a:pt x="63" y="91"/>
                    <a:pt x="66" y="88"/>
                  </a:cubicBezTo>
                  <a:cubicBezTo>
                    <a:pt x="67" y="87"/>
                    <a:pt x="67" y="87"/>
                    <a:pt x="67" y="87"/>
                  </a:cubicBezTo>
                  <a:cubicBezTo>
                    <a:pt x="68" y="86"/>
                    <a:pt x="70" y="85"/>
                    <a:pt x="71" y="84"/>
                  </a:cubicBezTo>
                  <a:cubicBezTo>
                    <a:pt x="73" y="82"/>
                    <a:pt x="76" y="81"/>
                    <a:pt x="78" y="78"/>
                  </a:cubicBezTo>
                  <a:cubicBezTo>
                    <a:pt x="79" y="76"/>
                    <a:pt x="80" y="74"/>
                    <a:pt x="80" y="71"/>
                  </a:cubicBezTo>
                  <a:cubicBezTo>
                    <a:pt x="80" y="70"/>
                    <a:pt x="80" y="70"/>
                    <a:pt x="80" y="70"/>
                  </a:cubicBezTo>
                  <a:cubicBezTo>
                    <a:pt x="80" y="67"/>
                    <a:pt x="80" y="65"/>
                    <a:pt x="82" y="63"/>
                  </a:cubicBezTo>
                  <a:cubicBezTo>
                    <a:pt x="82" y="63"/>
                    <a:pt x="83" y="63"/>
                    <a:pt x="85" y="63"/>
                  </a:cubicBezTo>
                  <a:cubicBezTo>
                    <a:pt x="86" y="63"/>
                    <a:pt x="86" y="63"/>
                    <a:pt x="86" y="63"/>
                  </a:cubicBezTo>
                  <a:cubicBezTo>
                    <a:pt x="87" y="63"/>
                    <a:pt x="89" y="62"/>
                    <a:pt x="89" y="61"/>
                  </a:cubicBezTo>
                  <a:cubicBezTo>
                    <a:pt x="90" y="60"/>
                    <a:pt x="90" y="58"/>
                    <a:pt x="90" y="57"/>
                  </a:cubicBezTo>
                  <a:cubicBezTo>
                    <a:pt x="90" y="56"/>
                    <a:pt x="90" y="55"/>
                    <a:pt x="90" y="54"/>
                  </a:cubicBezTo>
                  <a:close/>
                </a:path>
              </a:pathLst>
            </a:custGeom>
            <a:grpFill/>
            <a:ln w="3175" cap="rnd">
              <a:solidFill>
                <a:schemeClr val="bg1">
                  <a:lumMod val="50000"/>
                  <a:lumOff val="50000"/>
                </a:schemeClr>
              </a:solidFill>
            </a:ln>
          </p:spPr>
          <p:txBody>
            <a:bodyPr vert="horz" wrap="square" lIns="91440" tIns="45720" rIns="91440" bIns="45720" numCol="1" anchor="t" anchorCtr="0" compatLnSpc="1">
              <a:prstTxWarp prst="textNoShape">
                <a:avLst/>
              </a:prstTxWarp>
            </a:bodyPr>
            <a:lstStyle/>
            <a:p>
              <a:endParaRPr lang="en-US" sz="1800"/>
            </a:p>
          </p:txBody>
        </p:sp>
      </p:grpSp>
      <p:sp>
        <p:nvSpPr>
          <p:cNvPr id="2" name="Title 1">
            <a:extLst>
              <a:ext uri="{FF2B5EF4-FFF2-40B4-BE49-F238E27FC236}">
                <a16:creationId xmlns:a16="http://schemas.microsoft.com/office/drawing/2014/main" id="{48E9CD04-76AE-41F4-9DFC-F0D9474901EF}"/>
              </a:ext>
            </a:extLst>
          </p:cNvPr>
          <p:cNvSpPr>
            <a:spLocks noGrp="1"/>
          </p:cNvSpPr>
          <p:nvPr>
            <p:ph type="title"/>
          </p:nvPr>
        </p:nvSpPr>
        <p:spPr>
          <a:xfrm>
            <a:off x="404261" y="294200"/>
            <a:ext cx="11482939" cy="590400"/>
          </a:xfrm>
        </p:spPr>
        <p:txBody>
          <a:bodyPr/>
          <a:lstStyle/>
          <a:p>
            <a:r>
              <a:rPr lang="en-US" dirty="0"/>
              <a:t>The global economic impact from COVID-19 is severe. Africa has not been spared</a:t>
            </a:r>
            <a:br>
              <a:rPr lang="en-US" dirty="0"/>
            </a:br>
            <a:endParaRPr lang="en-US" dirty="0"/>
          </a:p>
        </p:txBody>
      </p:sp>
      <p:sp>
        <p:nvSpPr>
          <p:cNvPr id="5" name="Slide Number Placeholder 4">
            <a:extLst>
              <a:ext uri="{FF2B5EF4-FFF2-40B4-BE49-F238E27FC236}">
                <a16:creationId xmlns:a16="http://schemas.microsoft.com/office/drawing/2014/main" id="{77B08F09-DA69-4345-8721-EE3364F2B858}"/>
              </a:ext>
            </a:extLst>
          </p:cNvPr>
          <p:cNvSpPr>
            <a:spLocks noGrp="1"/>
          </p:cNvSpPr>
          <p:nvPr>
            <p:ph type="sldNum" sz="quarter" idx="12"/>
          </p:nvPr>
        </p:nvSpPr>
        <p:spPr/>
        <p:txBody>
          <a:bodyPr/>
          <a:lstStyle/>
          <a:p>
            <a:r>
              <a:rPr lang="en-GB"/>
              <a:t>Page </a:t>
            </a:r>
            <a:fld id="{F1BC30E3-FFE5-4B91-AA19-87A149EBB9EE}" type="slidenum">
              <a:rPr smtClean="0"/>
              <a:pPr/>
              <a:t>6</a:t>
            </a:fld>
            <a:endParaRPr dirty="0"/>
          </a:p>
        </p:txBody>
      </p:sp>
      <p:sp>
        <p:nvSpPr>
          <p:cNvPr id="9" name="TextBox 8">
            <a:extLst>
              <a:ext uri="{FF2B5EF4-FFF2-40B4-BE49-F238E27FC236}">
                <a16:creationId xmlns:a16="http://schemas.microsoft.com/office/drawing/2014/main" id="{C4DFB237-47A7-4EA2-AB6D-C1F8EA8419F2}"/>
              </a:ext>
            </a:extLst>
          </p:cNvPr>
          <p:cNvSpPr txBox="1"/>
          <p:nvPr/>
        </p:nvSpPr>
        <p:spPr>
          <a:xfrm>
            <a:off x="804821" y="3136219"/>
            <a:ext cx="3005179" cy="131728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6000" dirty="0">
                <a:solidFill>
                  <a:schemeClr val="tx2"/>
                </a:solidFill>
                <a:latin typeface="EYInterstate" panose="02000503020000020004" pitchFamily="2" charset="0"/>
              </a:rPr>
              <a:t>-10.9%</a:t>
            </a:r>
          </a:p>
          <a:p>
            <a:pPr>
              <a:lnSpc>
                <a:spcPct val="85000"/>
              </a:lnSpc>
              <a:spcAft>
                <a:spcPts val="600"/>
              </a:spcAft>
              <a:buClr>
                <a:schemeClr val="accent2"/>
              </a:buClr>
              <a:buSzPct val="70000"/>
            </a:pPr>
            <a:r>
              <a:rPr lang="en-US" sz="1600" dirty="0">
                <a:solidFill>
                  <a:schemeClr val="bg1"/>
                </a:solidFill>
                <a:latin typeface="EYInterstate" panose="02000503020000020004" pitchFamily="2" charset="0"/>
              </a:rPr>
              <a:t>GDP decline from previous year for OECD countries, 2020 Q2</a:t>
            </a:r>
          </a:p>
        </p:txBody>
      </p:sp>
      <p:sp>
        <p:nvSpPr>
          <p:cNvPr id="10" name="TextBox 9">
            <a:extLst>
              <a:ext uri="{FF2B5EF4-FFF2-40B4-BE49-F238E27FC236}">
                <a16:creationId xmlns:a16="http://schemas.microsoft.com/office/drawing/2014/main" id="{2865061E-8664-4DE4-A183-51FF50C3A7C4}"/>
              </a:ext>
            </a:extLst>
          </p:cNvPr>
          <p:cNvSpPr txBox="1"/>
          <p:nvPr/>
        </p:nvSpPr>
        <p:spPr>
          <a:xfrm>
            <a:off x="804821" y="1249236"/>
            <a:ext cx="3005179" cy="152657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6000" dirty="0">
                <a:solidFill>
                  <a:schemeClr val="tx2"/>
                </a:solidFill>
                <a:latin typeface="EYInterstate" panose="02000503020000020004" pitchFamily="2" charset="0"/>
              </a:rPr>
              <a:t>-5.2%</a:t>
            </a:r>
          </a:p>
          <a:p>
            <a:pPr>
              <a:lnSpc>
                <a:spcPct val="85000"/>
              </a:lnSpc>
              <a:spcAft>
                <a:spcPts val="600"/>
              </a:spcAft>
              <a:buClr>
                <a:schemeClr val="accent2"/>
              </a:buClr>
              <a:buSzPct val="70000"/>
            </a:pPr>
            <a:r>
              <a:rPr lang="en-US" sz="1600" dirty="0">
                <a:solidFill>
                  <a:schemeClr val="bg1"/>
                </a:solidFill>
                <a:latin typeface="EYInterstate" panose="02000503020000020004" pitchFamily="2" charset="0"/>
              </a:rPr>
              <a:t>Decline in global economic growth this year, more than in the past eight decades</a:t>
            </a:r>
          </a:p>
        </p:txBody>
      </p:sp>
      <p:sp>
        <p:nvSpPr>
          <p:cNvPr id="11" name="TextBox 10">
            <a:extLst>
              <a:ext uri="{FF2B5EF4-FFF2-40B4-BE49-F238E27FC236}">
                <a16:creationId xmlns:a16="http://schemas.microsoft.com/office/drawing/2014/main" id="{43E88F7A-4CAB-4B90-9B25-B3345572F678}"/>
              </a:ext>
            </a:extLst>
          </p:cNvPr>
          <p:cNvSpPr txBox="1"/>
          <p:nvPr/>
        </p:nvSpPr>
        <p:spPr>
          <a:xfrm>
            <a:off x="804821" y="4888743"/>
            <a:ext cx="3005179" cy="131728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6000" dirty="0">
                <a:solidFill>
                  <a:schemeClr val="tx2"/>
                </a:solidFill>
                <a:latin typeface="EYInterstate" panose="02000503020000020004" pitchFamily="2" charset="0"/>
              </a:rPr>
              <a:t>150m</a:t>
            </a:r>
          </a:p>
          <a:p>
            <a:pPr>
              <a:lnSpc>
                <a:spcPct val="85000"/>
              </a:lnSpc>
              <a:spcAft>
                <a:spcPts val="600"/>
              </a:spcAft>
              <a:buClr>
                <a:schemeClr val="accent2"/>
              </a:buClr>
              <a:buSzPct val="70000"/>
            </a:pPr>
            <a:r>
              <a:rPr lang="en-US" sz="1600" dirty="0">
                <a:solidFill>
                  <a:schemeClr val="bg1"/>
                </a:solidFill>
                <a:latin typeface="EYInterstate" panose="02000503020000020004" pitchFamily="2" charset="0"/>
              </a:rPr>
              <a:t>people could slip into extreme poverty by late next year</a:t>
            </a:r>
          </a:p>
        </p:txBody>
      </p:sp>
      <p:sp>
        <p:nvSpPr>
          <p:cNvPr id="12" name="TextBox 11">
            <a:extLst>
              <a:ext uri="{FF2B5EF4-FFF2-40B4-BE49-F238E27FC236}">
                <a16:creationId xmlns:a16="http://schemas.microsoft.com/office/drawing/2014/main" id="{66E7C14C-6CEE-4F0E-B75D-BA3179F7FE39}"/>
              </a:ext>
            </a:extLst>
          </p:cNvPr>
          <p:cNvSpPr txBox="1"/>
          <p:nvPr/>
        </p:nvSpPr>
        <p:spPr>
          <a:xfrm>
            <a:off x="5154620" y="1468534"/>
            <a:ext cx="3326912" cy="1526572"/>
          </a:xfrm>
          <a:prstGeom prst="rect">
            <a:avLst/>
          </a:prstGeom>
          <a:solidFill>
            <a:schemeClr val="bg2">
              <a:lumMod val="65000"/>
              <a:lumOff val="35000"/>
              <a:alpha val="60000"/>
            </a:schemeClr>
          </a:solidFill>
        </p:spPr>
        <p:txBody>
          <a:bodyPr wrap="square" lIns="0" tIns="36576" rIns="0" bIns="0" rtlCol="0">
            <a:spAutoFit/>
          </a:bodyPr>
          <a:lstStyle/>
          <a:p>
            <a:pPr>
              <a:lnSpc>
                <a:spcPct val="85000"/>
              </a:lnSpc>
              <a:spcAft>
                <a:spcPts val="600"/>
              </a:spcAft>
              <a:buClr>
                <a:schemeClr val="accent2"/>
              </a:buClr>
              <a:buSzPct val="70000"/>
            </a:pPr>
            <a:r>
              <a:rPr lang="en-US" sz="6000" dirty="0">
                <a:solidFill>
                  <a:schemeClr val="tx2"/>
                </a:solidFill>
                <a:latin typeface="EYInterstate" panose="02000503020000020004" pitchFamily="2" charset="0"/>
              </a:rPr>
              <a:t>-3.3%</a:t>
            </a:r>
          </a:p>
          <a:p>
            <a:pPr>
              <a:lnSpc>
                <a:spcPct val="85000"/>
              </a:lnSpc>
              <a:spcAft>
                <a:spcPts val="600"/>
              </a:spcAft>
              <a:buClr>
                <a:schemeClr val="accent2"/>
              </a:buClr>
              <a:buSzPct val="70000"/>
            </a:pPr>
            <a:r>
              <a:rPr lang="en-US" sz="1600" dirty="0">
                <a:solidFill>
                  <a:schemeClr val="bg1"/>
                </a:solidFill>
                <a:latin typeface="EYInterstate" panose="02000503020000020004" pitchFamily="2" charset="0"/>
              </a:rPr>
              <a:t>Economic activity in the Sub-Saharan African region is expected to contract by 3.3% in 2020</a:t>
            </a:r>
          </a:p>
        </p:txBody>
      </p:sp>
      <p:sp>
        <p:nvSpPr>
          <p:cNvPr id="13" name="TextBox 12">
            <a:extLst>
              <a:ext uri="{FF2B5EF4-FFF2-40B4-BE49-F238E27FC236}">
                <a16:creationId xmlns:a16="http://schemas.microsoft.com/office/drawing/2014/main" id="{B07F04C0-1951-42AF-9B54-0A1A39EEC7CF}"/>
              </a:ext>
            </a:extLst>
          </p:cNvPr>
          <p:cNvSpPr txBox="1"/>
          <p:nvPr/>
        </p:nvSpPr>
        <p:spPr>
          <a:xfrm>
            <a:off x="8314709" y="3108687"/>
            <a:ext cx="3326912" cy="978729"/>
          </a:xfrm>
          <a:prstGeom prst="rect">
            <a:avLst/>
          </a:prstGeom>
          <a:solidFill>
            <a:schemeClr val="bg2">
              <a:lumMod val="65000"/>
              <a:lumOff val="35000"/>
              <a:alpha val="60000"/>
            </a:schemeClr>
          </a:solidFill>
        </p:spPr>
        <p:txBody>
          <a:bodyPr wrap="square" lIns="0" tIns="36576" rIns="0" bIns="0" rtlCol="0">
            <a:spAutoFit/>
          </a:bodyPr>
          <a:lstStyle/>
          <a:p>
            <a:pPr>
              <a:lnSpc>
                <a:spcPct val="85000"/>
              </a:lnSpc>
              <a:spcAft>
                <a:spcPts val="600"/>
              </a:spcAft>
              <a:buClr>
                <a:schemeClr val="accent2"/>
              </a:buClr>
              <a:buSzPct val="70000"/>
            </a:pPr>
            <a:r>
              <a:rPr lang="en-US" dirty="0">
                <a:solidFill>
                  <a:schemeClr val="bg1"/>
                </a:solidFill>
              </a:rPr>
              <a:t>By the end of 2021, the region's </a:t>
            </a:r>
            <a:r>
              <a:rPr lang="en-US" dirty="0">
                <a:solidFill>
                  <a:schemeClr val="tx2"/>
                </a:solidFill>
              </a:rPr>
              <a:t>real gross domestic product (GDP) per capita will likely regress to its level in 2007</a:t>
            </a:r>
            <a:endParaRPr lang="en-US" sz="1600" dirty="0">
              <a:solidFill>
                <a:schemeClr val="tx2"/>
              </a:solidFill>
              <a:latin typeface="EYInterstate" panose="02000503020000020004" pitchFamily="2" charset="0"/>
            </a:endParaRPr>
          </a:p>
        </p:txBody>
      </p:sp>
      <p:sp>
        <p:nvSpPr>
          <p:cNvPr id="14" name="TextBox 13">
            <a:extLst>
              <a:ext uri="{FF2B5EF4-FFF2-40B4-BE49-F238E27FC236}">
                <a16:creationId xmlns:a16="http://schemas.microsoft.com/office/drawing/2014/main" id="{E05F5B2A-B6C1-440F-95E0-FEFF3FFE87DD}"/>
              </a:ext>
            </a:extLst>
          </p:cNvPr>
          <p:cNvSpPr txBox="1"/>
          <p:nvPr/>
        </p:nvSpPr>
        <p:spPr>
          <a:xfrm>
            <a:off x="6019362" y="4583346"/>
            <a:ext cx="4046577" cy="978729"/>
          </a:xfrm>
          <a:prstGeom prst="rect">
            <a:avLst/>
          </a:prstGeom>
          <a:solidFill>
            <a:schemeClr val="bg2">
              <a:lumMod val="65000"/>
              <a:lumOff val="35000"/>
              <a:alpha val="60000"/>
            </a:schemeClr>
          </a:solidFill>
        </p:spPr>
        <p:txBody>
          <a:bodyPr wrap="square" lIns="0" tIns="36576" rIns="0" bIns="0" rtlCol="0">
            <a:spAutoFit/>
          </a:bodyPr>
          <a:lstStyle/>
          <a:p>
            <a:pPr>
              <a:lnSpc>
                <a:spcPct val="85000"/>
              </a:lnSpc>
              <a:spcAft>
                <a:spcPts val="600"/>
              </a:spcAft>
              <a:buClr>
                <a:schemeClr val="accent2"/>
              </a:buClr>
              <a:buSzPct val="70000"/>
            </a:pPr>
            <a:r>
              <a:rPr lang="en-US" dirty="0">
                <a:solidFill>
                  <a:schemeClr val="bg1"/>
                </a:solidFill>
              </a:rPr>
              <a:t>COVID-19 could push up to </a:t>
            </a:r>
            <a:r>
              <a:rPr lang="en-US" dirty="0">
                <a:solidFill>
                  <a:schemeClr val="tx2"/>
                </a:solidFill>
              </a:rPr>
              <a:t>40 million </a:t>
            </a:r>
            <a:r>
              <a:rPr lang="en-US" dirty="0">
                <a:solidFill>
                  <a:schemeClr val="bg1"/>
                </a:solidFill>
              </a:rPr>
              <a:t>people into extreme poverty, erasing at least five years of progress in fighting poverty</a:t>
            </a:r>
            <a:endParaRPr lang="en-US" sz="1600" dirty="0">
              <a:solidFill>
                <a:schemeClr val="bg1"/>
              </a:solidFill>
              <a:latin typeface="EYInterstate" panose="02000503020000020004" pitchFamily="2" charset="0"/>
            </a:endParaRPr>
          </a:p>
        </p:txBody>
      </p:sp>
      <p:sp>
        <p:nvSpPr>
          <p:cNvPr id="84" name="TextBox 83">
            <a:extLst>
              <a:ext uri="{FF2B5EF4-FFF2-40B4-BE49-F238E27FC236}">
                <a16:creationId xmlns:a16="http://schemas.microsoft.com/office/drawing/2014/main" id="{645D3F4C-698F-4089-93D2-12DB01C066DE}"/>
              </a:ext>
            </a:extLst>
          </p:cNvPr>
          <p:cNvSpPr txBox="1"/>
          <p:nvPr/>
        </p:nvSpPr>
        <p:spPr>
          <a:xfrm>
            <a:off x="804821" y="6299896"/>
            <a:ext cx="1833835" cy="18081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100" i="1" dirty="0">
                <a:solidFill>
                  <a:schemeClr val="bg1"/>
                </a:solidFill>
              </a:rPr>
              <a:t>Source: </a:t>
            </a:r>
            <a:r>
              <a:rPr lang="en-US" sz="1100" i="1" dirty="0" err="1">
                <a:solidFill>
                  <a:schemeClr val="bg1"/>
                </a:solidFill>
              </a:rPr>
              <a:t>WorldBank</a:t>
            </a:r>
            <a:r>
              <a:rPr lang="en-US" sz="1100" i="1" dirty="0">
                <a:solidFill>
                  <a:schemeClr val="bg1"/>
                </a:solidFill>
              </a:rPr>
              <a:t>, Eurostat</a:t>
            </a:r>
          </a:p>
        </p:txBody>
      </p:sp>
    </p:spTree>
    <p:extLst>
      <p:ext uri="{BB962C8B-B14F-4D97-AF65-F5344CB8AC3E}">
        <p14:creationId xmlns:p14="http://schemas.microsoft.com/office/powerpoint/2010/main" val="8114611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4214DBF-4E67-442E-AC58-0738D4E7E463}"/>
              </a:ext>
            </a:extLst>
          </p:cNvPr>
          <p:cNvGraphicFramePr>
            <a:graphicFrameLocks noChangeAspect="1"/>
          </p:cNvGraphicFramePr>
          <p:nvPr>
            <p:custDataLst>
              <p:tags r:id="rId2"/>
            </p:custDataLst>
            <p:extLst>
              <p:ext uri="{D42A27DB-BD31-4B8C-83A1-F6EECF244321}">
                <p14:modId xmlns:p14="http://schemas.microsoft.com/office/powerpoint/2010/main" val="1349185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622" imgH="623" progId="TCLayout.ActiveDocument.1">
                  <p:embed/>
                </p:oleObj>
              </mc:Choice>
              <mc:Fallback>
                <p:oleObj name="think-cell Slide" r:id="rId5" imgW="622" imgH="623" progId="TCLayout.ActiveDocument.1">
                  <p:embed/>
                  <p:pic>
                    <p:nvPicPr>
                      <p:cNvPr id="9" name="Object 8" hidden="1">
                        <a:extLst>
                          <a:ext uri="{FF2B5EF4-FFF2-40B4-BE49-F238E27FC236}">
                            <a16:creationId xmlns:a16="http://schemas.microsoft.com/office/drawing/2014/main" id="{B4214DBF-4E67-442E-AC58-0738D4E7E4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78E70A5-EDCA-452A-B189-D70B434CD751}"/>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62DFB3D3-E968-4209-A9ED-3B48585BBCFE}"/>
              </a:ext>
            </a:extLst>
          </p:cNvPr>
          <p:cNvSpPr>
            <a:spLocks noGrp="1"/>
          </p:cNvSpPr>
          <p:nvPr>
            <p:ph type="title"/>
          </p:nvPr>
        </p:nvSpPr>
        <p:spPr/>
        <p:txBody>
          <a:bodyPr/>
          <a:lstStyle/>
          <a:p>
            <a:r>
              <a:rPr lang="en-US" dirty="0"/>
              <a:t>COVID-19: several lessons to be learned. How will Africa react? </a:t>
            </a:r>
            <a:br>
              <a:rPr lang="en-US" dirty="0"/>
            </a:br>
            <a:r>
              <a:rPr lang="en-US" dirty="0"/>
              <a:t>Are these imperatives for Africa’s post pandemic new normal? </a:t>
            </a:r>
          </a:p>
        </p:txBody>
      </p:sp>
      <p:sp>
        <p:nvSpPr>
          <p:cNvPr id="5" name="Slide Number Placeholder 4">
            <a:extLst>
              <a:ext uri="{FF2B5EF4-FFF2-40B4-BE49-F238E27FC236}">
                <a16:creationId xmlns:a16="http://schemas.microsoft.com/office/drawing/2014/main" id="{E2117A95-437F-4676-BAE6-036B40B0A895}"/>
              </a:ext>
            </a:extLst>
          </p:cNvPr>
          <p:cNvSpPr>
            <a:spLocks noGrp="1"/>
          </p:cNvSpPr>
          <p:nvPr>
            <p:ph type="sldNum" sz="quarter" idx="12"/>
          </p:nvPr>
        </p:nvSpPr>
        <p:spPr/>
        <p:txBody>
          <a:bodyPr/>
          <a:lstStyle/>
          <a:p>
            <a:r>
              <a:rPr lang="en-GB"/>
              <a:t>Page </a:t>
            </a:r>
            <a:fld id="{F1BC30E3-FFE5-4B91-AA19-87A149EBB9EE}" type="slidenum">
              <a:rPr smtClean="0"/>
              <a:pPr/>
              <a:t>7</a:t>
            </a:fld>
            <a:endParaRPr dirty="0"/>
          </a:p>
        </p:txBody>
      </p:sp>
      <p:sp>
        <p:nvSpPr>
          <p:cNvPr id="11" name="TextBox 10">
            <a:extLst>
              <a:ext uri="{FF2B5EF4-FFF2-40B4-BE49-F238E27FC236}">
                <a16:creationId xmlns:a16="http://schemas.microsoft.com/office/drawing/2014/main" id="{1946A4A4-BE5A-4B1D-B210-1B40C0601F2D}"/>
              </a:ext>
            </a:extLst>
          </p:cNvPr>
          <p:cNvSpPr txBox="1"/>
          <p:nvPr/>
        </p:nvSpPr>
        <p:spPr>
          <a:xfrm>
            <a:off x="617221" y="1540556"/>
            <a:ext cx="2651760" cy="720197"/>
          </a:xfrm>
          <a:prstGeom prst="rect">
            <a:avLst/>
          </a:prstGeom>
          <a:noFill/>
        </p:spPr>
        <p:txBody>
          <a:bodyPr wrap="square" lIns="0" tIns="91440" rIns="0" bIns="0" rtlCol="0">
            <a:spAutoFit/>
          </a:bodyPr>
          <a:lstStyle/>
          <a:p>
            <a:pPr algn="ctr">
              <a:lnSpc>
                <a:spcPct val="85000"/>
              </a:lnSpc>
              <a:spcAft>
                <a:spcPts val="600"/>
              </a:spcAft>
              <a:buClr>
                <a:schemeClr val="accent2"/>
              </a:buClr>
              <a:buSzPct val="70000"/>
            </a:pPr>
            <a:r>
              <a:rPr lang="en-US" sz="2400" dirty="0">
                <a:solidFill>
                  <a:schemeClr val="tx2"/>
                </a:solidFill>
              </a:rPr>
              <a:t>Leadership and governance matter</a:t>
            </a:r>
          </a:p>
        </p:txBody>
      </p:sp>
      <p:sp>
        <p:nvSpPr>
          <p:cNvPr id="12" name="TextBox 11">
            <a:extLst>
              <a:ext uri="{FF2B5EF4-FFF2-40B4-BE49-F238E27FC236}">
                <a16:creationId xmlns:a16="http://schemas.microsoft.com/office/drawing/2014/main" id="{440011C8-003A-4D3E-945A-7B9ED0A979DD}"/>
              </a:ext>
            </a:extLst>
          </p:cNvPr>
          <p:cNvSpPr txBox="1"/>
          <p:nvPr/>
        </p:nvSpPr>
        <p:spPr>
          <a:xfrm>
            <a:off x="6163523" y="1540556"/>
            <a:ext cx="2651760" cy="1034129"/>
          </a:xfrm>
          <a:prstGeom prst="rect">
            <a:avLst/>
          </a:prstGeom>
          <a:noFill/>
        </p:spPr>
        <p:txBody>
          <a:bodyPr wrap="square" lIns="0" tIns="91440" rIns="0" bIns="0" rtlCol="0">
            <a:spAutoFit/>
          </a:bodyPr>
          <a:lstStyle/>
          <a:p>
            <a:pPr algn="ctr">
              <a:lnSpc>
                <a:spcPct val="85000"/>
              </a:lnSpc>
              <a:spcAft>
                <a:spcPts val="600"/>
              </a:spcAft>
              <a:buClr>
                <a:schemeClr val="accent2"/>
              </a:buClr>
              <a:buSzPct val="70000"/>
            </a:pPr>
            <a:r>
              <a:rPr lang="en-US" sz="2400" dirty="0">
                <a:solidFill>
                  <a:schemeClr val="tx2"/>
                </a:solidFill>
              </a:rPr>
              <a:t>Opportunity to accelerate digital transformation</a:t>
            </a:r>
          </a:p>
        </p:txBody>
      </p:sp>
      <p:sp>
        <p:nvSpPr>
          <p:cNvPr id="13" name="TextBox 12">
            <a:extLst>
              <a:ext uri="{FF2B5EF4-FFF2-40B4-BE49-F238E27FC236}">
                <a16:creationId xmlns:a16="http://schemas.microsoft.com/office/drawing/2014/main" id="{B6AE88E5-763F-4C5A-9CE1-D140CC7943F8}"/>
              </a:ext>
            </a:extLst>
          </p:cNvPr>
          <p:cNvSpPr txBox="1"/>
          <p:nvPr/>
        </p:nvSpPr>
        <p:spPr>
          <a:xfrm>
            <a:off x="8936673" y="1540556"/>
            <a:ext cx="2651760" cy="2289858"/>
          </a:xfrm>
          <a:prstGeom prst="rect">
            <a:avLst/>
          </a:prstGeom>
          <a:noFill/>
        </p:spPr>
        <p:txBody>
          <a:bodyPr wrap="square" lIns="0" tIns="91440" rIns="0" bIns="0" rtlCol="0">
            <a:spAutoFit/>
          </a:bodyPr>
          <a:lstStyle/>
          <a:p>
            <a:pPr algn="ctr">
              <a:lnSpc>
                <a:spcPct val="85000"/>
              </a:lnSpc>
              <a:spcAft>
                <a:spcPts val="600"/>
              </a:spcAft>
              <a:buClr>
                <a:schemeClr val="accent2"/>
              </a:buClr>
              <a:buSzPct val="70000"/>
            </a:pPr>
            <a:r>
              <a:rPr lang="en-US" sz="2400" dirty="0">
                <a:solidFill>
                  <a:schemeClr val="tx2"/>
                </a:solidFill>
              </a:rPr>
              <a:t>Need for global strategy, infrastructure and logistics to support equitable distribution of drugs and vaccines</a:t>
            </a:r>
          </a:p>
        </p:txBody>
      </p:sp>
      <p:sp>
        <p:nvSpPr>
          <p:cNvPr id="3" name="Rectangle 2">
            <a:extLst>
              <a:ext uri="{FF2B5EF4-FFF2-40B4-BE49-F238E27FC236}">
                <a16:creationId xmlns:a16="http://schemas.microsoft.com/office/drawing/2014/main" id="{795B4A47-137E-4ED1-A65C-2FAB43142CFA}"/>
              </a:ext>
            </a:extLst>
          </p:cNvPr>
          <p:cNvSpPr/>
          <p:nvPr/>
        </p:nvSpPr>
        <p:spPr>
          <a:xfrm>
            <a:off x="3390372" y="1540556"/>
            <a:ext cx="2651760" cy="2649956"/>
          </a:xfrm>
          <a:prstGeom prst="rect">
            <a:avLst/>
          </a:prstGeom>
        </p:spPr>
        <p:txBody>
          <a:bodyPr wrap="square" tIns="91440">
            <a:spAutoFit/>
          </a:bodyPr>
          <a:lstStyle/>
          <a:p>
            <a:pPr algn="ctr">
              <a:lnSpc>
                <a:spcPct val="85000"/>
              </a:lnSpc>
              <a:spcAft>
                <a:spcPts val="600"/>
              </a:spcAft>
              <a:buClr>
                <a:schemeClr val="accent2"/>
              </a:buClr>
              <a:buSzPct val="70000"/>
            </a:pPr>
            <a:r>
              <a:rPr lang="en-US" sz="2400" dirty="0">
                <a:solidFill>
                  <a:schemeClr val="tx2"/>
                </a:solidFill>
              </a:rPr>
              <a:t>Urgency to prioritize in country health system and public health infrastructure, and care delivery competency</a:t>
            </a:r>
          </a:p>
        </p:txBody>
      </p:sp>
    </p:spTree>
    <p:extLst>
      <p:ext uri="{BB962C8B-B14F-4D97-AF65-F5344CB8AC3E}">
        <p14:creationId xmlns:p14="http://schemas.microsoft.com/office/powerpoint/2010/main" val="28669387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417E77-C858-8A48-89C0-AFE9F22BDA20}"/>
              </a:ext>
            </a:extLst>
          </p:cNvPr>
          <p:cNvSpPr/>
          <p:nvPr/>
        </p:nvSpPr>
        <p:spPr>
          <a:xfrm>
            <a:off x="546488" y="721963"/>
            <a:ext cx="4497613" cy="3909917"/>
          </a:xfrm>
          <a:prstGeom prst="rect">
            <a:avLst/>
          </a:prstGeom>
        </p:spPr>
        <p:txBody>
          <a:bodyPr wrap="square">
            <a:spAutoFit/>
          </a:bodyPr>
          <a:lstStyle/>
          <a:p>
            <a:r>
              <a:rPr lang="en-IN" sz="1199" b="1" dirty="0">
                <a:solidFill>
                  <a:srgbClr val="FFFFFF"/>
                </a:solidFill>
              </a:rPr>
              <a:t>EY</a:t>
            </a:r>
            <a:r>
              <a:rPr lang="en-IN" sz="1199" dirty="0">
                <a:solidFill>
                  <a:srgbClr val="FFFFFF"/>
                </a:solidFill>
              </a:rPr>
              <a:t> | Assurance | Tax | Strategy and Transactions | Consulting</a:t>
            </a:r>
            <a:endParaRPr lang="en-IN" sz="1196" dirty="0">
              <a:solidFill>
                <a:srgbClr val="FFFFFF"/>
              </a:solidFill>
            </a:endParaRPr>
          </a:p>
          <a:p>
            <a:endParaRPr lang="en-US" sz="1196" dirty="0">
              <a:solidFill>
                <a:srgbClr val="FFFFFF"/>
              </a:solidFill>
            </a:endParaRPr>
          </a:p>
          <a:p>
            <a:endParaRPr lang="en-US" sz="1196" dirty="0">
              <a:solidFill>
                <a:srgbClr val="FFFFFF"/>
              </a:solidFill>
            </a:endParaRPr>
          </a:p>
          <a:p>
            <a:r>
              <a:rPr lang="en-IN" sz="1046" b="1" dirty="0">
                <a:solidFill>
                  <a:srgbClr val="FFFFFF"/>
                </a:solidFill>
              </a:rPr>
              <a:t>About EY</a:t>
            </a:r>
          </a:p>
          <a:p>
            <a:r>
              <a:rPr lang="en-IN" sz="1046" dirty="0">
                <a:solidFill>
                  <a:srgbClr val="FFFFFF"/>
                </a:solidFill>
              </a:rPr>
              <a:t>EY is a global leader in assurance, tax, transaction and advisory</a:t>
            </a:r>
          </a:p>
          <a:p>
            <a:r>
              <a:rPr lang="en-IN" sz="1046" dirty="0">
                <a:solidFill>
                  <a:srgbClr val="FFFFFF"/>
                </a:solidFill>
              </a:rPr>
              <a:t>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endParaRPr lang="en-IN" sz="1046" dirty="0">
              <a:solidFill>
                <a:srgbClr val="FFFFFF"/>
              </a:solidFill>
            </a:endParaRPr>
          </a:p>
          <a:p>
            <a:r>
              <a:rPr lang="en-IN" sz="1046" dirty="0">
                <a:solidFill>
                  <a:srgbClr val="FFFFFF"/>
                </a:solidFill>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endParaRPr lang="en-IN" sz="1096" dirty="0">
              <a:solidFill>
                <a:srgbClr val="FFFFFF"/>
              </a:solidFill>
            </a:endParaRPr>
          </a:p>
          <a:p>
            <a:r>
              <a:rPr lang="en-IN" sz="1096" dirty="0">
                <a:solidFill>
                  <a:srgbClr val="FFFFFF"/>
                </a:solidFill>
              </a:rPr>
              <a:t>© 2020 EYGM Limited.</a:t>
            </a:r>
          </a:p>
          <a:p>
            <a:r>
              <a:rPr lang="en-IN" sz="1096" dirty="0">
                <a:solidFill>
                  <a:srgbClr val="FFFFFF"/>
                </a:solidFill>
              </a:rPr>
              <a:t>All Rights Reserved.</a:t>
            </a:r>
          </a:p>
          <a:p>
            <a:endParaRPr lang="en-IN" sz="1096" dirty="0">
              <a:solidFill>
                <a:srgbClr val="FFFFFF"/>
              </a:solidFill>
            </a:endParaRPr>
          </a:p>
          <a:p>
            <a:endParaRPr lang="en-IN" sz="1096" dirty="0">
              <a:solidFill>
                <a:srgbClr val="FFFFFF"/>
              </a:solidFill>
            </a:endParaRPr>
          </a:p>
          <a:p>
            <a:r>
              <a:rPr lang="en-IN" sz="1096" dirty="0">
                <a:solidFill>
                  <a:srgbClr val="FFFFFF"/>
                </a:solidFill>
              </a:rPr>
              <a:t>ey.com</a:t>
            </a:r>
          </a:p>
        </p:txBody>
      </p:sp>
      <p:sp>
        <p:nvSpPr>
          <p:cNvPr id="2" name="TextBox 1">
            <a:extLst>
              <a:ext uri="{FF2B5EF4-FFF2-40B4-BE49-F238E27FC236}">
                <a16:creationId xmlns:a16="http://schemas.microsoft.com/office/drawing/2014/main" id="{38BF17CD-DD1B-4EAE-BF60-59C12365269C}"/>
              </a:ext>
            </a:extLst>
          </p:cNvPr>
          <p:cNvSpPr txBox="1"/>
          <p:nvPr/>
        </p:nvSpPr>
        <p:spPr>
          <a:xfrm>
            <a:off x="7524206" y="4455843"/>
            <a:ext cx="4021678" cy="900246"/>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6600" b="1" dirty="0">
                <a:solidFill>
                  <a:schemeClr val="bg1"/>
                </a:solidFill>
              </a:rPr>
              <a:t>Thank you</a:t>
            </a:r>
          </a:p>
        </p:txBody>
      </p:sp>
    </p:spTree>
    <p:extLst>
      <p:ext uri="{BB962C8B-B14F-4D97-AF65-F5344CB8AC3E}">
        <p14:creationId xmlns:p14="http://schemas.microsoft.com/office/powerpoint/2010/main" val="715797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zLNIPAREKmxLyVCfX6.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7pGqkC5a87p9OehACzW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REbZoOaULwyhXUGVGYr9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vymm7rg_CE5fA6C6UN0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SumYIoF7hH0EsEcxtd2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C90nAJHbflJkW1YBnx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lUW5x5ZDhqUAa.0Kdfg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sJffnkIuVgY0svfysWf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KiNgRAdLmZcmVxfOet8bQ"/>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974AC421-4F2E-46A5-9C01-6F171E240785}"/>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C1504121-3530-4207-81A7-E4CD6CD6B81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664C84AAAD9E7478741B5F3A6FD5EE3" ma:contentTypeVersion="10" ma:contentTypeDescription="Create a new document." ma:contentTypeScope="" ma:versionID="59d17eb75f9f705528bd91744d18763f">
  <xsd:schema xmlns:xsd="http://www.w3.org/2001/XMLSchema" xmlns:xs="http://www.w3.org/2001/XMLSchema" xmlns:p="http://schemas.microsoft.com/office/2006/metadata/properties" xmlns:ns3="21479969-c426-46e1-86bd-4c2b49ddec62" xmlns:ns4="e42960f1-6e65-4322-8037-f5efade87e8d" targetNamespace="http://schemas.microsoft.com/office/2006/metadata/properties" ma:root="true" ma:fieldsID="cdf4cb980a0adaf2edd460fee79edaa7" ns3:_="" ns4:_="">
    <xsd:import namespace="21479969-c426-46e1-86bd-4c2b49ddec62"/>
    <xsd:import namespace="e42960f1-6e65-4322-8037-f5efade87e8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79969-c426-46e1-86bd-4c2b49ddec6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42960f1-6e65-4322-8037-f5efade87e8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6B09A59-FFDB-4593-B8F5-9EDB25220E01}">
  <ds:schemaRefs>
    <ds:schemaRef ds:uri="http://purl.org/dc/terms/"/>
    <ds:schemaRef ds:uri="e42960f1-6e65-4322-8037-f5efade87e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schemas.microsoft.com/office/2006/metadata/properties"/>
    <ds:schemaRef ds:uri="21479969-c426-46e1-86bd-4c2b49ddec62"/>
    <ds:schemaRef ds:uri="http://www.w3.org/XML/1998/namespace"/>
    <ds:schemaRef ds:uri="http://purl.org/dc/dcmitype/"/>
  </ds:schemaRefs>
</ds:datastoreItem>
</file>

<file path=customXml/itemProps2.xml><?xml version="1.0" encoding="utf-8"?>
<ds:datastoreItem xmlns:ds="http://schemas.openxmlformats.org/officeDocument/2006/customXml" ds:itemID="{909D9699-D5BD-4E39-BEE5-D5B8C9D83006}">
  <ds:schemaRefs>
    <ds:schemaRef ds:uri="http://schemas.microsoft.com/sharepoint/v3/contenttype/forms"/>
  </ds:schemaRefs>
</ds:datastoreItem>
</file>

<file path=customXml/itemProps3.xml><?xml version="1.0" encoding="utf-8"?>
<ds:datastoreItem xmlns:ds="http://schemas.openxmlformats.org/officeDocument/2006/customXml" ds:itemID="{0D7CDBFB-4281-4E3D-9B9A-3A0056F519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479969-c426-46e1-86bd-4c2b49ddec62"/>
    <ds:schemaRef ds:uri="e42960f1-6e65-4322-8037-f5efade87e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lobal_EY_widescreen_presentation_2019_v1.4</Template>
  <TotalTime>0</TotalTime>
  <Words>539</Words>
  <Application>Microsoft Office PowerPoint</Application>
  <PresentationFormat>Custom</PresentationFormat>
  <Paragraphs>80</Paragraphs>
  <Slides>8</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rial</vt:lpstr>
      <vt:lpstr>EYInterstate</vt:lpstr>
      <vt:lpstr>EYInterstate Light</vt:lpstr>
      <vt:lpstr>Georgia</vt:lpstr>
      <vt:lpstr>EY dark background</vt:lpstr>
      <vt:lpstr>EY light background</vt:lpstr>
      <vt:lpstr>think-cell Slide</vt:lpstr>
      <vt:lpstr>Global perspectives on COVID-19  Breaking the Vicious Cycle in Africa - Health Consequences  - Economic Impact  </vt:lpstr>
      <vt:lpstr>My experience  </vt:lpstr>
      <vt:lpstr>COVID-19 has placed significant pressure on global economies and health systems</vt:lpstr>
      <vt:lpstr>The incidence and mortality impact has varied across the world  The US, Brazil and India demonstrate leading indices and upward trajectories</vt:lpstr>
      <vt:lpstr>COVID-19 in Africa has been less deadly than initially projected </vt:lpstr>
      <vt:lpstr>The global economic impact from COVID-19 is severe. Africa has not been spared </vt:lpstr>
      <vt:lpstr>COVID-19: several lessons to be learned. How will Africa react?  Are these imperatives for Africa’s post pandemic new normal?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0-10-08T20:57:23Z</dcterms:created>
  <dcterms:modified xsi:type="dcterms:W3CDTF">2020-10-09T18:57:54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64C84AAAD9E7478741B5F3A6FD5EE3</vt:lpwstr>
  </property>
</Properties>
</file>